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3.xml" ContentType="application/vnd.openxmlformats-officedocument.drawingml.chartshape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4.xml" ContentType="application/vnd.openxmlformats-officedocument.drawingml.chartshapes+xml"/>
  <Override PartName="/ppt/charts/chart8.xml" ContentType="application/vnd.openxmlformats-officedocument.drawingml.chart+xml"/>
  <Override PartName="/ppt/drawings/drawing5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9.xml" ContentType="application/vnd.openxmlformats-officedocument.drawingml.chart+xml"/>
  <Override PartName="/ppt/theme/themeOverride3.xml" ContentType="application/vnd.openxmlformats-officedocument.themeOverride+xml"/>
  <Override PartName="/ppt/drawings/drawing6.xml" ContentType="application/vnd.openxmlformats-officedocument.drawingml.chartshape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charts/chart10.xml" ContentType="application/vnd.openxmlformats-officedocument.drawingml.chart+xml"/>
  <Override PartName="/ppt/theme/themeOverride4.xml" ContentType="application/vnd.openxmlformats-officedocument.themeOverride+xml"/>
  <Override PartName="/ppt/drawings/drawing7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theme/themeOverride5.xml" ContentType="application/vnd.openxmlformats-officedocument.themeOverride+xml"/>
  <Override PartName="/ppt/drawings/drawing8.xml" ContentType="application/vnd.openxmlformats-officedocument.drawingml.chartshapes+xml"/>
  <Override PartName="/ppt/charts/chart12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4.xml" ContentType="application/vnd.openxmlformats-officedocument.drawingml.chart+xml"/>
  <Override PartName="/ppt/theme/themeOverride7.xml" ContentType="application/vnd.openxmlformats-officedocument.themeOverride+xml"/>
  <Override PartName="/ppt/drawings/drawing9.xml" ContentType="application/vnd.openxmlformats-officedocument.drawingml.chartshapes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drawings/drawing10.xml" ContentType="application/vnd.openxmlformats-officedocument.drawingml.chartshapes+xml"/>
  <Override PartName="/ppt/charts/chart17.xml" ContentType="application/vnd.openxmlformats-officedocument.drawingml.chart+xml"/>
  <Override PartName="/ppt/theme/themeOverride8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8.xml" ContentType="application/vnd.openxmlformats-officedocument.drawingml.chart+xml"/>
  <Override PartName="/ppt/notesSlides/notesSlide17.xml" ContentType="application/vnd.openxmlformats-officedocument.presentationml.notesSlide+xml"/>
  <Override PartName="/ppt/charts/chart19.xml" ContentType="application/vnd.openxmlformats-officedocument.drawingml.chart+xml"/>
  <Override PartName="/ppt/notesSlides/notesSlide18.xml" ContentType="application/vnd.openxmlformats-officedocument.presentationml.notesSlide+xml"/>
  <Override PartName="/ppt/charts/chart20.xml" ContentType="application/vnd.openxmlformats-officedocument.drawingml.chart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2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2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11.xml" ContentType="application/vnd.openxmlformats-officedocument.drawingml.chartshape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charts/chart23.xml" ContentType="application/vnd.openxmlformats-officedocument.drawingml.chart+xml"/>
  <Override PartName="/ppt/theme/themeOverride9.xml" ContentType="application/vnd.openxmlformats-officedocument.themeOverr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sldIdLst>
    <p:sldId id="257" r:id="rId2"/>
    <p:sldId id="416" r:id="rId3"/>
    <p:sldId id="464" r:id="rId4"/>
    <p:sldId id="465" r:id="rId5"/>
    <p:sldId id="460" r:id="rId6"/>
    <p:sldId id="466" r:id="rId7"/>
    <p:sldId id="391" r:id="rId8"/>
    <p:sldId id="421" r:id="rId9"/>
    <p:sldId id="420" r:id="rId10"/>
    <p:sldId id="467" r:id="rId11"/>
    <p:sldId id="468" r:id="rId12"/>
    <p:sldId id="470" r:id="rId13"/>
    <p:sldId id="443" r:id="rId14"/>
    <p:sldId id="449" r:id="rId15"/>
    <p:sldId id="445" r:id="rId16"/>
    <p:sldId id="472" r:id="rId17"/>
    <p:sldId id="473" r:id="rId18"/>
    <p:sldId id="474" r:id="rId19"/>
    <p:sldId id="454" r:id="rId20"/>
    <p:sldId id="452" r:id="rId21"/>
    <p:sldId id="451" r:id="rId22"/>
    <p:sldId id="450" r:id="rId23"/>
    <p:sldId id="455" r:id="rId24"/>
    <p:sldId id="456" r:id="rId25"/>
    <p:sldId id="457" r:id="rId26"/>
    <p:sldId id="458" r:id="rId27"/>
    <p:sldId id="471" r:id="rId28"/>
    <p:sldId id="393" r:id="rId29"/>
    <p:sldId id="447" r:id="rId30"/>
    <p:sldId id="388" r:id="rId31"/>
    <p:sldId id="428" r:id="rId32"/>
    <p:sldId id="459" r:id="rId33"/>
    <p:sldId id="415" r:id="rId34"/>
    <p:sldId id="278" r:id="rId35"/>
  </p:sldIdLst>
  <p:sldSz cx="12192000" cy="6858000"/>
  <p:notesSz cx="6797675" cy="9872663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6"/>
    <a:srgbClr val="9900CC"/>
    <a:srgbClr val="FF33CC"/>
    <a:srgbClr val="8F398B"/>
    <a:srgbClr val="BDBDBD"/>
    <a:srgbClr val="FF9933"/>
    <a:srgbClr val="FAFAFA"/>
    <a:srgbClr val="912F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Közepesen sötét stílus 2 – 5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86938" autoAdjust="0"/>
  </p:normalViewPr>
  <p:slideViewPr>
    <p:cSldViewPr snapToGrid="0">
      <p:cViewPr varScale="1">
        <p:scale>
          <a:sx n="76" d="100"/>
          <a:sy n="76" d="100"/>
        </p:scale>
        <p:origin x="509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munkalap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7.xml"/><Relationship Id="rId2" Type="http://schemas.openxmlformats.org/officeDocument/2006/relationships/package" Target="../embeddings/Microsoft_Excel-munkalap5.xlsx"/><Relationship Id="rId1" Type="http://schemas.openxmlformats.org/officeDocument/2006/relationships/themeOverride" Target="../theme/themeOverrid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8.xml"/><Relationship Id="rId2" Type="http://schemas.openxmlformats.org/officeDocument/2006/relationships/oleObject" Target="file:///D:\Users\csomosd\Desktop\&#225;llamad&#243;ss&#225;g.xls" TargetMode="External"/><Relationship Id="rId1" Type="http://schemas.openxmlformats.org/officeDocument/2006/relationships/themeOverride" Target="../theme/themeOverride5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J:\&#225;br&#225;k.xls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munkalap6.xlsx"/><Relationship Id="rId1" Type="http://schemas.openxmlformats.org/officeDocument/2006/relationships/themeOverride" Target="../theme/themeOverride6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9.xml"/><Relationship Id="rId2" Type="http://schemas.openxmlformats.org/officeDocument/2006/relationships/package" Target="../embeddings/Microsoft_Excel-munkalap7.xlsx"/><Relationship Id="rId1" Type="http://schemas.openxmlformats.org/officeDocument/2006/relationships/themeOverride" Target="../theme/themeOverride7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d2131\reuters\Heti\FI\&#225;llampap&#237;r_&#225;br&#225;k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oleObject" Target="file:///\\Bakozsrv03v\tarhely_13$\Strat-Ig\Bloombergc\Szil&#225;rd\Ad&#243;ss&#225;g\ad&#243;ss&#225;g_fc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8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9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-munkalap2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munkalap10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\\P21J\HIVATAL\KTT\Kov&#225;cs%20&#193;rp&#225;d\el&#337;ad&#225;sok\2015\augusztus\IMD%20versenyk&#233;p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\\P21J\HIVATAL\KTT\Kov&#225;cs%20&#193;rp&#225;d\el&#337;ad&#225;sok\2015\augusztus\IMD%20versenyk&#233;p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11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-munkalap11.xlsx"/><Relationship Id="rId1" Type="http://schemas.openxmlformats.org/officeDocument/2006/relationships/themeOverride" Target="../theme/themeOverride9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5\Miskolc%20m&#225;rcius%2024\KKV-k,%20adatt&#225;bla.xls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5\Miskolc%20m&#225;rcius%2024\KKV-k,%20adatt&#225;bla.xls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Munkaf&#252;zet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P21j\hivatal\KTT\Kov&#225;cs%20&#193;rp&#225;d\el&#337;ad&#225;sok\2015\augusztus\&#193;RB%20GDP%20&#225;br&#225;k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P21j\hivatal\KTT\Kov&#225;cs%20&#193;rp&#225;d\el&#337;ad&#225;sok\2015\augusztus\&#193;RB%20GDP%20&#225;br&#225;k.xls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munkalap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P21j\hivatal\KTT\Kov&#225;cs%20&#193;rp&#225;d\el&#337;ad&#225;sok\2015\augusztus\&#193;RB%20GDP%20&#225;br&#225;k.xls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4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Microsoft%20PowerPoint%20programbeli%20%20diagram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6.xml"/><Relationship Id="rId2" Type="http://schemas.openxmlformats.org/officeDocument/2006/relationships/package" Target="../embeddings/Microsoft_Excel-munkalap4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788161993769474E-2"/>
          <c:y val="3.7351443123938878E-2"/>
          <c:w val="0.88992731048805851"/>
          <c:h val="0.64638617967451673"/>
        </c:manualLayout>
      </c:layout>
      <c:lineChart>
        <c:grouping val="standard"/>
        <c:varyColors val="0"/>
        <c:ser>
          <c:idx val="4"/>
          <c:order val="0"/>
          <c:tx>
            <c:v>eurózóna</c:v>
          </c:tx>
          <c:spPr>
            <a:ln w="38100">
              <a:solidFill>
                <a:srgbClr val="008000"/>
              </a:solidFill>
              <a:prstDash val="solid"/>
            </a:ln>
          </c:spPr>
          <c:marker>
            <c:symbol val="triangle"/>
            <c:size val="12"/>
            <c:spPr>
              <a:solidFill>
                <a:srgbClr val="C00000"/>
              </a:solidFill>
              <a:ln>
                <a:solidFill>
                  <a:srgbClr val="008000"/>
                </a:solidFill>
                <a:prstDash val="solid"/>
              </a:ln>
            </c:spPr>
          </c:marker>
          <c:dPt>
            <c:idx val="61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2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3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4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5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6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7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8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69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0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1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2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3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4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5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6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7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8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79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dPt>
            <c:idx val="80"/>
            <c:marker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  <a:prstDash val="solid"/>
                </a:ln>
              </c:spPr>
            </c:marker>
            <c:bubble3D val="0"/>
            <c:spPr>
              <a:ln w="38100">
                <a:solidFill>
                  <a:srgbClr val="C00000"/>
                </a:solidFill>
                <a:prstDash val="solid"/>
              </a:ln>
            </c:spPr>
          </c:dPt>
          <c:cat>
            <c:numRef>
              <c:f>macro_out!$A$29:$A$128</c:f>
              <c:numCache>
                <c:formatCode>m/d/yyyy</c:formatCode>
                <c:ptCount val="100"/>
                <c:pt idx="0">
                  <c:v>39871</c:v>
                </c:pt>
                <c:pt idx="1">
                  <c:v>39903</c:v>
                </c:pt>
                <c:pt idx="2">
                  <c:v>39933</c:v>
                </c:pt>
                <c:pt idx="3">
                  <c:v>39962</c:v>
                </c:pt>
                <c:pt idx="4">
                  <c:v>39994</c:v>
                </c:pt>
                <c:pt idx="5">
                  <c:v>40025</c:v>
                </c:pt>
                <c:pt idx="6">
                  <c:v>40056</c:v>
                </c:pt>
                <c:pt idx="7">
                  <c:v>40086</c:v>
                </c:pt>
                <c:pt idx="8">
                  <c:v>40116</c:v>
                </c:pt>
                <c:pt idx="9">
                  <c:v>40147</c:v>
                </c:pt>
                <c:pt idx="10">
                  <c:v>40178</c:v>
                </c:pt>
                <c:pt idx="11">
                  <c:v>40207</c:v>
                </c:pt>
                <c:pt idx="12">
                  <c:v>40235</c:v>
                </c:pt>
                <c:pt idx="13">
                  <c:v>40268</c:v>
                </c:pt>
                <c:pt idx="14">
                  <c:v>40298</c:v>
                </c:pt>
                <c:pt idx="15">
                  <c:v>40329</c:v>
                </c:pt>
                <c:pt idx="16">
                  <c:v>40359</c:v>
                </c:pt>
                <c:pt idx="17">
                  <c:v>40389</c:v>
                </c:pt>
                <c:pt idx="18">
                  <c:v>40421</c:v>
                </c:pt>
                <c:pt idx="19">
                  <c:v>40451</c:v>
                </c:pt>
                <c:pt idx="20">
                  <c:v>40480</c:v>
                </c:pt>
                <c:pt idx="21">
                  <c:v>40512</c:v>
                </c:pt>
                <c:pt idx="22">
                  <c:v>40543</c:v>
                </c:pt>
                <c:pt idx="23">
                  <c:v>40574</c:v>
                </c:pt>
                <c:pt idx="24">
                  <c:v>40602</c:v>
                </c:pt>
                <c:pt idx="25">
                  <c:v>40633</c:v>
                </c:pt>
                <c:pt idx="26">
                  <c:v>40662</c:v>
                </c:pt>
                <c:pt idx="27">
                  <c:v>40694</c:v>
                </c:pt>
                <c:pt idx="28">
                  <c:v>40724</c:v>
                </c:pt>
                <c:pt idx="29">
                  <c:v>40753</c:v>
                </c:pt>
                <c:pt idx="30">
                  <c:v>40786</c:v>
                </c:pt>
                <c:pt idx="31">
                  <c:v>40816</c:v>
                </c:pt>
                <c:pt idx="32">
                  <c:v>40847</c:v>
                </c:pt>
                <c:pt idx="33">
                  <c:v>40877</c:v>
                </c:pt>
                <c:pt idx="34">
                  <c:v>40907</c:v>
                </c:pt>
                <c:pt idx="35">
                  <c:v>40939</c:v>
                </c:pt>
                <c:pt idx="36">
                  <c:v>40968</c:v>
                </c:pt>
                <c:pt idx="37">
                  <c:v>40998</c:v>
                </c:pt>
                <c:pt idx="38">
                  <c:v>41029</c:v>
                </c:pt>
                <c:pt idx="39">
                  <c:v>41060</c:v>
                </c:pt>
                <c:pt idx="40">
                  <c:v>41089</c:v>
                </c:pt>
                <c:pt idx="41">
                  <c:v>41121</c:v>
                </c:pt>
                <c:pt idx="42">
                  <c:v>41152</c:v>
                </c:pt>
                <c:pt idx="43">
                  <c:v>41180</c:v>
                </c:pt>
                <c:pt idx="44">
                  <c:v>41213</c:v>
                </c:pt>
                <c:pt idx="45">
                  <c:v>41243</c:v>
                </c:pt>
                <c:pt idx="46">
                  <c:v>41274</c:v>
                </c:pt>
                <c:pt idx="47">
                  <c:v>41305</c:v>
                </c:pt>
                <c:pt idx="48">
                  <c:v>41333</c:v>
                </c:pt>
                <c:pt idx="49">
                  <c:v>41362</c:v>
                </c:pt>
                <c:pt idx="50">
                  <c:v>41394</c:v>
                </c:pt>
                <c:pt idx="51">
                  <c:v>41425</c:v>
                </c:pt>
                <c:pt idx="52">
                  <c:v>41453</c:v>
                </c:pt>
                <c:pt idx="53">
                  <c:v>41486</c:v>
                </c:pt>
                <c:pt idx="54">
                  <c:v>41516</c:v>
                </c:pt>
                <c:pt idx="55">
                  <c:v>41547</c:v>
                </c:pt>
                <c:pt idx="56">
                  <c:v>41578</c:v>
                </c:pt>
                <c:pt idx="57">
                  <c:v>41607</c:v>
                </c:pt>
                <c:pt idx="58">
                  <c:v>41639</c:v>
                </c:pt>
                <c:pt idx="59">
                  <c:v>41670</c:v>
                </c:pt>
                <c:pt idx="60">
                  <c:v>41698</c:v>
                </c:pt>
                <c:pt idx="61">
                  <c:v>41729</c:v>
                </c:pt>
                <c:pt idx="62">
                  <c:v>41759</c:v>
                </c:pt>
                <c:pt idx="63">
                  <c:v>41789</c:v>
                </c:pt>
                <c:pt idx="64">
                  <c:v>41820</c:v>
                </c:pt>
                <c:pt idx="65">
                  <c:v>41851</c:v>
                </c:pt>
                <c:pt idx="66">
                  <c:v>41880</c:v>
                </c:pt>
                <c:pt idx="67">
                  <c:v>41912</c:v>
                </c:pt>
                <c:pt idx="68">
                  <c:v>41943</c:v>
                </c:pt>
                <c:pt idx="69">
                  <c:v>41971</c:v>
                </c:pt>
                <c:pt idx="70">
                  <c:v>42004</c:v>
                </c:pt>
                <c:pt idx="71">
                  <c:v>42034</c:v>
                </c:pt>
                <c:pt idx="72">
                  <c:v>42062</c:v>
                </c:pt>
                <c:pt idx="73">
                  <c:v>42094</c:v>
                </c:pt>
                <c:pt idx="74">
                  <c:v>42124</c:v>
                </c:pt>
                <c:pt idx="75">
                  <c:v>42153</c:v>
                </c:pt>
                <c:pt idx="76">
                  <c:v>42185</c:v>
                </c:pt>
                <c:pt idx="77">
                  <c:v>42216</c:v>
                </c:pt>
                <c:pt idx="78">
                  <c:v>42247</c:v>
                </c:pt>
                <c:pt idx="79">
                  <c:v>42277</c:v>
                </c:pt>
                <c:pt idx="80">
                  <c:v>42307</c:v>
                </c:pt>
              </c:numCache>
            </c:numRef>
          </c:cat>
          <c:val>
            <c:numRef>
              <c:f>macro_out!$U$29:$U$128</c:f>
              <c:numCache>
                <c:formatCode>General</c:formatCode>
                <c:ptCount val="100"/>
                <c:pt idx="60">
                  <c:v>1.5</c:v>
                </c:pt>
                <c:pt idx="61">
                  <c:v>1.5</c:v>
                </c:pt>
                <c:pt idx="62">
                  <c:v>1.7</c:v>
                </c:pt>
                <c:pt idx="63">
                  <c:v>1.5</c:v>
                </c:pt>
                <c:pt idx="64">
                  <c:v>1.5</c:v>
                </c:pt>
                <c:pt idx="65">
                  <c:v>1.6</c:v>
                </c:pt>
                <c:pt idx="66">
                  <c:v>1.6</c:v>
                </c:pt>
                <c:pt idx="67">
                  <c:v>1.7</c:v>
                </c:pt>
                <c:pt idx="68">
                  <c:v>1.6</c:v>
                </c:pt>
                <c:pt idx="69">
                  <c:v>1.5</c:v>
                </c:pt>
                <c:pt idx="70">
                  <c:v>1.5</c:v>
                </c:pt>
                <c:pt idx="71">
                  <c:v>1.5</c:v>
                </c:pt>
                <c:pt idx="72">
                  <c:v>1.6</c:v>
                </c:pt>
                <c:pt idx="73">
                  <c:v>1.6</c:v>
                </c:pt>
                <c:pt idx="74">
                  <c:v>1.7</c:v>
                </c:pt>
                <c:pt idx="75">
                  <c:v>1.8</c:v>
                </c:pt>
                <c:pt idx="76">
                  <c:v>1.7</c:v>
                </c:pt>
                <c:pt idx="77">
                  <c:v>1.7</c:v>
                </c:pt>
                <c:pt idx="78">
                  <c:v>1.7</c:v>
                </c:pt>
                <c:pt idx="79">
                  <c:v>1.7</c:v>
                </c:pt>
                <c:pt idx="80">
                  <c:v>1.6</c:v>
                </c:pt>
              </c:numCache>
            </c:numRef>
          </c:val>
          <c:smooth val="0"/>
        </c:ser>
        <c:ser>
          <c:idx val="5"/>
          <c:order val="1"/>
          <c:tx>
            <c:v>USA</c:v>
          </c:tx>
          <c:spPr>
            <a:ln w="38100">
              <a:solidFill>
                <a:srgbClr val="99CC00"/>
              </a:solidFill>
              <a:prstDash val="solid"/>
            </a:ln>
          </c:spPr>
          <c:marker>
            <c:symbol val="diamond"/>
            <c:size val="12"/>
            <c:spPr>
              <a:solidFill>
                <a:srgbClr val="99CC00"/>
              </a:solidFill>
              <a:ln>
                <a:solidFill>
                  <a:srgbClr val="99CC00"/>
                </a:solidFill>
                <a:prstDash val="solid"/>
              </a:ln>
            </c:spPr>
          </c:marker>
          <c:cat>
            <c:numRef>
              <c:f>macro_out!$A$29:$A$128</c:f>
              <c:numCache>
                <c:formatCode>m/d/yyyy</c:formatCode>
                <c:ptCount val="100"/>
                <c:pt idx="0">
                  <c:v>39871</c:v>
                </c:pt>
                <c:pt idx="1">
                  <c:v>39903</c:v>
                </c:pt>
                <c:pt idx="2">
                  <c:v>39933</c:v>
                </c:pt>
                <c:pt idx="3">
                  <c:v>39962</c:v>
                </c:pt>
                <c:pt idx="4">
                  <c:v>39994</c:v>
                </c:pt>
                <c:pt idx="5">
                  <c:v>40025</c:v>
                </c:pt>
                <c:pt idx="6">
                  <c:v>40056</c:v>
                </c:pt>
                <c:pt idx="7">
                  <c:v>40086</c:v>
                </c:pt>
                <c:pt idx="8">
                  <c:v>40116</c:v>
                </c:pt>
                <c:pt idx="9">
                  <c:v>40147</c:v>
                </c:pt>
                <c:pt idx="10">
                  <c:v>40178</c:v>
                </c:pt>
                <c:pt idx="11">
                  <c:v>40207</c:v>
                </c:pt>
                <c:pt idx="12">
                  <c:v>40235</c:v>
                </c:pt>
                <c:pt idx="13">
                  <c:v>40268</c:v>
                </c:pt>
                <c:pt idx="14">
                  <c:v>40298</c:v>
                </c:pt>
                <c:pt idx="15">
                  <c:v>40329</c:v>
                </c:pt>
                <c:pt idx="16">
                  <c:v>40359</c:v>
                </c:pt>
                <c:pt idx="17">
                  <c:v>40389</c:v>
                </c:pt>
                <c:pt idx="18">
                  <c:v>40421</c:v>
                </c:pt>
                <c:pt idx="19">
                  <c:v>40451</c:v>
                </c:pt>
                <c:pt idx="20">
                  <c:v>40480</c:v>
                </c:pt>
                <c:pt idx="21">
                  <c:v>40512</c:v>
                </c:pt>
                <c:pt idx="22">
                  <c:v>40543</c:v>
                </c:pt>
                <c:pt idx="23">
                  <c:v>40574</c:v>
                </c:pt>
                <c:pt idx="24">
                  <c:v>40602</c:v>
                </c:pt>
                <c:pt idx="25">
                  <c:v>40633</c:v>
                </c:pt>
                <c:pt idx="26">
                  <c:v>40662</c:v>
                </c:pt>
                <c:pt idx="27">
                  <c:v>40694</c:v>
                </c:pt>
                <c:pt idx="28">
                  <c:v>40724</c:v>
                </c:pt>
                <c:pt idx="29">
                  <c:v>40753</c:v>
                </c:pt>
                <c:pt idx="30">
                  <c:v>40786</c:v>
                </c:pt>
                <c:pt idx="31">
                  <c:v>40816</c:v>
                </c:pt>
                <c:pt idx="32">
                  <c:v>40847</c:v>
                </c:pt>
                <c:pt idx="33">
                  <c:v>40877</c:v>
                </c:pt>
                <c:pt idx="34">
                  <c:v>40907</c:v>
                </c:pt>
                <c:pt idx="35">
                  <c:v>40939</c:v>
                </c:pt>
                <c:pt idx="36">
                  <c:v>40968</c:v>
                </c:pt>
                <c:pt idx="37">
                  <c:v>40998</c:v>
                </c:pt>
                <c:pt idx="38">
                  <c:v>41029</c:v>
                </c:pt>
                <c:pt idx="39">
                  <c:v>41060</c:v>
                </c:pt>
                <c:pt idx="40">
                  <c:v>41089</c:v>
                </c:pt>
                <c:pt idx="41">
                  <c:v>41121</c:v>
                </c:pt>
                <c:pt idx="42">
                  <c:v>41152</c:v>
                </c:pt>
                <c:pt idx="43">
                  <c:v>41180</c:v>
                </c:pt>
                <c:pt idx="44">
                  <c:v>41213</c:v>
                </c:pt>
                <c:pt idx="45">
                  <c:v>41243</c:v>
                </c:pt>
                <c:pt idx="46">
                  <c:v>41274</c:v>
                </c:pt>
                <c:pt idx="47">
                  <c:v>41305</c:v>
                </c:pt>
                <c:pt idx="48">
                  <c:v>41333</c:v>
                </c:pt>
                <c:pt idx="49">
                  <c:v>41362</c:v>
                </c:pt>
                <c:pt idx="50">
                  <c:v>41394</c:v>
                </c:pt>
                <c:pt idx="51">
                  <c:v>41425</c:v>
                </c:pt>
                <c:pt idx="52">
                  <c:v>41453</c:v>
                </c:pt>
                <c:pt idx="53">
                  <c:v>41486</c:v>
                </c:pt>
                <c:pt idx="54">
                  <c:v>41516</c:v>
                </c:pt>
                <c:pt idx="55">
                  <c:v>41547</c:v>
                </c:pt>
                <c:pt idx="56">
                  <c:v>41578</c:v>
                </c:pt>
                <c:pt idx="57">
                  <c:v>41607</c:v>
                </c:pt>
                <c:pt idx="58">
                  <c:v>41639</c:v>
                </c:pt>
                <c:pt idx="59">
                  <c:v>41670</c:v>
                </c:pt>
                <c:pt idx="60">
                  <c:v>41698</c:v>
                </c:pt>
                <c:pt idx="61">
                  <c:v>41729</c:v>
                </c:pt>
                <c:pt idx="62">
                  <c:v>41759</c:v>
                </c:pt>
                <c:pt idx="63">
                  <c:v>41789</c:v>
                </c:pt>
                <c:pt idx="64">
                  <c:v>41820</c:v>
                </c:pt>
                <c:pt idx="65">
                  <c:v>41851</c:v>
                </c:pt>
                <c:pt idx="66">
                  <c:v>41880</c:v>
                </c:pt>
                <c:pt idx="67">
                  <c:v>41912</c:v>
                </c:pt>
                <c:pt idx="68">
                  <c:v>41943</c:v>
                </c:pt>
                <c:pt idx="69">
                  <c:v>41971</c:v>
                </c:pt>
                <c:pt idx="70">
                  <c:v>42004</c:v>
                </c:pt>
                <c:pt idx="71">
                  <c:v>42034</c:v>
                </c:pt>
                <c:pt idx="72">
                  <c:v>42062</c:v>
                </c:pt>
                <c:pt idx="73">
                  <c:v>42094</c:v>
                </c:pt>
                <c:pt idx="74">
                  <c:v>42124</c:v>
                </c:pt>
                <c:pt idx="75">
                  <c:v>42153</c:v>
                </c:pt>
                <c:pt idx="76">
                  <c:v>42185</c:v>
                </c:pt>
                <c:pt idx="77">
                  <c:v>42216</c:v>
                </c:pt>
                <c:pt idx="78">
                  <c:v>42247</c:v>
                </c:pt>
                <c:pt idx="79">
                  <c:v>42277</c:v>
                </c:pt>
                <c:pt idx="80">
                  <c:v>42307</c:v>
                </c:pt>
              </c:numCache>
            </c:numRef>
          </c:cat>
          <c:val>
            <c:numRef>
              <c:f>macro_out!$K$29:$K$128</c:f>
              <c:numCache>
                <c:formatCode>General</c:formatCode>
                <c:ptCount val="100"/>
                <c:pt idx="60">
                  <c:v>3</c:v>
                </c:pt>
                <c:pt idx="61">
                  <c:v>3</c:v>
                </c:pt>
                <c:pt idx="62">
                  <c:v>3</c:v>
                </c:pt>
                <c:pt idx="63">
                  <c:v>3</c:v>
                </c:pt>
                <c:pt idx="64">
                  <c:v>3</c:v>
                </c:pt>
                <c:pt idx="65">
                  <c:v>3</c:v>
                </c:pt>
                <c:pt idx="66">
                  <c:v>2.9</c:v>
                </c:pt>
                <c:pt idx="67">
                  <c:v>2.9</c:v>
                </c:pt>
                <c:pt idx="68">
                  <c:v>2.9</c:v>
                </c:pt>
                <c:pt idx="69">
                  <c:v>2.9</c:v>
                </c:pt>
                <c:pt idx="70">
                  <c:v>2.8</c:v>
                </c:pt>
                <c:pt idx="71">
                  <c:v>2.8</c:v>
                </c:pt>
                <c:pt idx="72">
                  <c:v>2.8</c:v>
                </c:pt>
                <c:pt idx="73">
                  <c:v>2.8</c:v>
                </c:pt>
                <c:pt idx="74">
                  <c:v>2.8</c:v>
                </c:pt>
                <c:pt idx="75">
                  <c:v>2.8</c:v>
                </c:pt>
                <c:pt idx="76">
                  <c:v>2.8</c:v>
                </c:pt>
                <c:pt idx="77">
                  <c:v>2.8</c:v>
                </c:pt>
                <c:pt idx="78">
                  <c:v>2.7</c:v>
                </c:pt>
                <c:pt idx="79">
                  <c:v>2.7</c:v>
                </c:pt>
                <c:pt idx="80">
                  <c:v>2.6</c:v>
                </c:pt>
              </c:numCache>
            </c:numRef>
          </c:val>
          <c:smooth val="0"/>
        </c:ser>
        <c:ser>
          <c:idx val="0"/>
          <c:order val="2"/>
          <c:tx>
            <c:v>Németország</c:v>
          </c:tx>
          <c:spPr>
            <a:ln w="38100">
              <a:solidFill>
                <a:srgbClr val="000000"/>
              </a:solidFill>
              <a:prstDash val="solid"/>
            </a:ln>
          </c:spPr>
          <c:marker>
            <c:symbol val="circle"/>
            <c:size val="9"/>
            <c:spPr>
              <a:solidFill>
                <a:srgbClr val="0000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macro_out!$A$29:$A$128</c:f>
              <c:numCache>
                <c:formatCode>m/d/yyyy</c:formatCode>
                <c:ptCount val="100"/>
                <c:pt idx="0">
                  <c:v>39871</c:v>
                </c:pt>
                <c:pt idx="1">
                  <c:v>39903</c:v>
                </c:pt>
                <c:pt idx="2">
                  <c:v>39933</c:v>
                </c:pt>
                <c:pt idx="3">
                  <c:v>39962</c:v>
                </c:pt>
                <c:pt idx="4">
                  <c:v>39994</c:v>
                </c:pt>
                <c:pt idx="5">
                  <c:v>40025</c:v>
                </c:pt>
                <c:pt idx="6">
                  <c:v>40056</c:v>
                </c:pt>
                <c:pt idx="7">
                  <c:v>40086</c:v>
                </c:pt>
                <c:pt idx="8">
                  <c:v>40116</c:v>
                </c:pt>
                <c:pt idx="9">
                  <c:v>40147</c:v>
                </c:pt>
                <c:pt idx="10">
                  <c:v>40178</c:v>
                </c:pt>
                <c:pt idx="11">
                  <c:v>40207</c:v>
                </c:pt>
                <c:pt idx="12">
                  <c:v>40235</c:v>
                </c:pt>
                <c:pt idx="13">
                  <c:v>40268</c:v>
                </c:pt>
                <c:pt idx="14">
                  <c:v>40298</c:v>
                </c:pt>
                <c:pt idx="15">
                  <c:v>40329</c:v>
                </c:pt>
                <c:pt idx="16">
                  <c:v>40359</c:v>
                </c:pt>
                <c:pt idx="17">
                  <c:v>40389</c:v>
                </c:pt>
                <c:pt idx="18">
                  <c:v>40421</c:v>
                </c:pt>
                <c:pt idx="19">
                  <c:v>40451</c:v>
                </c:pt>
                <c:pt idx="20">
                  <c:v>40480</c:v>
                </c:pt>
                <c:pt idx="21">
                  <c:v>40512</c:v>
                </c:pt>
                <c:pt idx="22">
                  <c:v>40543</c:v>
                </c:pt>
                <c:pt idx="23">
                  <c:v>40574</c:v>
                </c:pt>
                <c:pt idx="24">
                  <c:v>40602</c:v>
                </c:pt>
                <c:pt idx="25">
                  <c:v>40633</c:v>
                </c:pt>
                <c:pt idx="26">
                  <c:v>40662</c:v>
                </c:pt>
                <c:pt idx="27">
                  <c:v>40694</c:v>
                </c:pt>
                <c:pt idx="28">
                  <c:v>40724</c:v>
                </c:pt>
                <c:pt idx="29">
                  <c:v>40753</c:v>
                </c:pt>
                <c:pt idx="30">
                  <c:v>40786</c:v>
                </c:pt>
                <c:pt idx="31">
                  <c:v>40816</c:v>
                </c:pt>
                <c:pt idx="32">
                  <c:v>40847</c:v>
                </c:pt>
                <c:pt idx="33">
                  <c:v>40877</c:v>
                </c:pt>
                <c:pt idx="34">
                  <c:v>40907</c:v>
                </c:pt>
                <c:pt idx="35">
                  <c:v>40939</c:v>
                </c:pt>
                <c:pt idx="36">
                  <c:v>40968</c:v>
                </c:pt>
                <c:pt idx="37">
                  <c:v>40998</c:v>
                </c:pt>
                <c:pt idx="38">
                  <c:v>41029</c:v>
                </c:pt>
                <c:pt idx="39">
                  <c:v>41060</c:v>
                </c:pt>
                <c:pt idx="40">
                  <c:v>41089</c:v>
                </c:pt>
                <c:pt idx="41">
                  <c:v>41121</c:v>
                </c:pt>
                <c:pt idx="42">
                  <c:v>41152</c:v>
                </c:pt>
                <c:pt idx="43">
                  <c:v>41180</c:v>
                </c:pt>
                <c:pt idx="44">
                  <c:v>41213</c:v>
                </c:pt>
                <c:pt idx="45">
                  <c:v>41243</c:v>
                </c:pt>
                <c:pt idx="46">
                  <c:v>41274</c:v>
                </c:pt>
                <c:pt idx="47">
                  <c:v>41305</c:v>
                </c:pt>
                <c:pt idx="48">
                  <c:v>41333</c:v>
                </c:pt>
                <c:pt idx="49">
                  <c:v>41362</c:v>
                </c:pt>
                <c:pt idx="50">
                  <c:v>41394</c:v>
                </c:pt>
                <c:pt idx="51">
                  <c:v>41425</c:v>
                </c:pt>
                <c:pt idx="52">
                  <c:v>41453</c:v>
                </c:pt>
                <c:pt idx="53">
                  <c:v>41486</c:v>
                </c:pt>
                <c:pt idx="54">
                  <c:v>41516</c:v>
                </c:pt>
                <c:pt idx="55">
                  <c:v>41547</c:v>
                </c:pt>
                <c:pt idx="56">
                  <c:v>41578</c:v>
                </c:pt>
                <c:pt idx="57">
                  <c:v>41607</c:v>
                </c:pt>
                <c:pt idx="58">
                  <c:v>41639</c:v>
                </c:pt>
                <c:pt idx="59">
                  <c:v>41670</c:v>
                </c:pt>
                <c:pt idx="60">
                  <c:v>41698</c:v>
                </c:pt>
                <c:pt idx="61">
                  <c:v>41729</c:v>
                </c:pt>
                <c:pt idx="62">
                  <c:v>41759</c:v>
                </c:pt>
                <c:pt idx="63">
                  <c:v>41789</c:v>
                </c:pt>
                <c:pt idx="64">
                  <c:v>41820</c:v>
                </c:pt>
                <c:pt idx="65">
                  <c:v>41851</c:v>
                </c:pt>
                <c:pt idx="66">
                  <c:v>41880</c:v>
                </c:pt>
                <c:pt idx="67">
                  <c:v>41912</c:v>
                </c:pt>
                <c:pt idx="68">
                  <c:v>41943</c:v>
                </c:pt>
                <c:pt idx="69">
                  <c:v>41971</c:v>
                </c:pt>
                <c:pt idx="70">
                  <c:v>42004</c:v>
                </c:pt>
                <c:pt idx="71">
                  <c:v>42034</c:v>
                </c:pt>
                <c:pt idx="72">
                  <c:v>42062</c:v>
                </c:pt>
                <c:pt idx="73">
                  <c:v>42094</c:v>
                </c:pt>
                <c:pt idx="74">
                  <c:v>42124</c:v>
                </c:pt>
                <c:pt idx="75">
                  <c:v>42153</c:v>
                </c:pt>
                <c:pt idx="76">
                  <c:v>42185</c:v>
                </c:pt>
                <c:pt idx="77">
                  <c:v>42216</c:v>
                </c:pt>
                <c:pt idx="78">
                  <c:v>42247</c:v>
                </c:pt>
                <c:pt idx="79">
                  <c:v>42277</c:v>
                </c:pt>
                <c:pt idx="80">
                  <c:v>42307</c:v>
                </c:pt>
              </c:numCache>
            </c:numRef>
          </c:cat>
          <c:val>
            <c:numRef>
              <c:f>macro_out!$AD$29:$AD$128</c:f>
              <c:numCache>
                <c:formatCode>General</c:formatCode>
                <c:ptCount val="100"/>
                <c:pt idx="60">
                  <c:v>1.7</c:v>
                </c:pt>
                <c:pt idx="61">
                  <c:v>1.7</c:v>
                </c:pt>
                <c:pt idx="62">
                  <c:v>1.8</c:v>
                </c:pt>
                <c:pt idx="63">
                  <c:v>1.7</c:v>
                </c:pt>
                <c:pt idx="64">
                  <c:v>1.6</c:v>
                </c:pt>
                <c:pt idx="65">
                  <c:v>1.7</c:v>
                </c:pt>
                <c:pt idx="66">
                  <c:v>1.7</c:v>
                </c:pt>
                <c:pt idx="67">
                  <c:v>1.8</c:v>
                </c:pt>
                <c:pt idx="68">
                  <c:v>1.8</c:v>
                </c:pt>
                <c:pt idx="69">
                  <c:v>1.8</c:v>
                </c:pt>
                <c:pt idx="70">
                  <c:v>1.7</c:v>
                </c:pt>
                <c:pt idx="71">
                  <c:v>1.7</c:v>
                </c:pt>
                <c:pt idx="72">
                  <c:v>1.7</c:v>
                </c:pt>
                <c:pt idx="73">
                  <c:v>1.8</c:v>
                </c:pt>
                <c:pt idx="74">
                  <c:v>1.8</c:v>
                </c:pt>
                <c:pt idx="75">
                  <c:v>2</c:v>
                </c:pt>
                <c:pt idx="76">
                  <c:v>1.9</c:v>
                </c:pt>
                <c:pt idx="77">
                  <c:v>1.9</c:v>
                </c:pt>
                <c:pt idx="78">
                  <c:v>1.9</c:v>
                </c:pt>
                <c:pt idx="79">
                  <c:v>1.9</c:v>
                </c:pt>
                <c:pt idx="80">
                  <c:v>1.8</c:v>
                </c:pt>
              </c:numCache>
            </c:numRef>
          </c:val>
          <c:smooth val="0"/>
        </c:ser>
        <c:ser>
          <c:idx val="1"/>
          <c:order val="3"/>
          <c:tx>
            <c:v>Egyesült Királyság</c:v>
          </c:tx>
          <c:spPr>
            <a:ln w="38100">
              <a:solidFill>
                <a:schemeClr val="bg1">
                  <a:lumMod val="75000"/>
                </a:schemeClr>
              </a:solidFill>
            </a:ln>
          </c:spPr>
          <c:marker>
            <c:symbol val="circle"/>
            <c:size val="1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</c:marker>
          <c:val>
            <c:numRef>
              <c:f>macro_out!$AI$29:$AI$128</c:f>
              <c:numCache>
                <c:formatCode>General</c:formatCode>
                <c:ptCount val="100"/>
                <c:pt idx="60">
                  <c:v>2.4</c:v>
                </c:pt>
                <c:pt idx="61">
                  <c:v>2.4</c:v>
                </c:pt>
                <c:pt idx="62">
                  <c:v>2.4</c:v>
                </c:pt>
                <c:pt idx="63">
                  <c:v>2.4</c:v>
                </c:pt>
                <c:pt idx="64">
                  <c:v>2.4</c:v>
                </c:pt>
                <c:pt idx="65">
                  <c:v>2.4</c:v>
                </c:pt>
                <c:pt idx="66">
                  <c:v>2.5</c:v>
                </c:pt>
                <c:pt idx="67">
                  <c:v>2.4</c:v>
                </c:pt>
                <c:pt idx="68">
                  <c:v>2.2999999999999998</c:v>
                </c:pt>
                <c:pt idx="69">
                  <c:v>2.2999999999999998</c:v>
                </c:pt>
                <c:pt idx="70">
                  <c:v>2.2999999999999998</c:v>
                </c:pt>
                <c:pt idx="71">
                  <c:v>2.4</c:v>
                </c:pt>
                <c:pt idx="72">
                  <c:v>2.4</c:v>
                </c:pt>
                <c:pt idx="73">
                  <c:v>2.4</c:v>
                </c:pt>
                <c:pt idx="74">
                  <c:v>2.4</c:v>
                </c:pt>
                <c:pt idx="75">
                  <c:v>2.4</c:v>
                </c:pt>
                <c:pt idx="76">
                  <c:v>2.4</c:v>
                </c:pt>
                <c:pt idx="77">
                  <c:v>2.4</c:v>
                </c:pt>
                <c:pt idx="78">
                  <c:v>2.4</c:v>
                </c:pt>
                <c:pt idx="79">
                  <c:v>2.4</c:v>
                </c:pt>
                <c:pt idx="80">
                  <c:v>2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2832512"/>
        <c:axId val="292834688"/>
      </c:lineChart>
      <c:dateAx>
        <c:axId val="292832512"/>
        <c:scaling>
          <c:orientation val="minMax"/>
          <c:min val="41640"/>
        </c:scaling>
        <c:delete val="0"/>
        <c:axPos val="b"/>
        <c:numFmt formatCode="yyyy/mm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292834688"/>
        <c:crossesAt val="0"/>
        <c:auto val="1"/>
        <c:lblOffset val="100"/>
        <c:baseTimeUnit val="months"/>
        <c:majorUnit val="3"/>
        <c:majorTimeUnit val="months"/>
        <c:minorUnit val="1"/>
        <c:minorTimeUnit val="months"/>
      </c:dateAx>
      <c:valAx>
        <c:axId val="292834688"/>
        <c:scaling>
          <c:orientation val="minMax"/>
          <c:max val="3.5"/>
          <c:min val="0"/>
        </c:scaling>
        <c:delete val="0"/>
        <c:axPos val="l"/>
        <c:majorGridlines>
          <c:spPr>
            <a:ln w="3175">
              <a:solidFill>
                <a:srgbClr val="969696"/>
              </a:solidFill>
              <a:prstDash val="sysDash"/>
            </a:ln>
          </c:spPr>
        </c:majorGridlines>
        <c:numFmt formatCode="0.0" sourceLinked="0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hu-HU"/>
          </a:p>
        </c:txPr>
        <c:crossAx val="292832512"/>
        <c:crosses val="autoZero"/>
        <c:crossBetween val="between"/>
        <c:majorUnit val="0.5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5.1922266193409764E-3"/>
          <c:y val="0.92520621512791112"/>
          <c:w val="0.95745224593039868"/>
          <c:h val="7.4793784872088917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hu-HU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800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hu-H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189209383947063E-2"/>
          <c:y val="3.5961283159298411E-2"/>
          <c:w val="0.91120978920554063"/>
          <c:h val="0.67922874628130381"/>
        </c:manualLayout>
      </c:layout>
      <c:areaChart>
        <c:grouping val="standard"/>
        <c:varyColors val="0"/>
        <c:ser>
          <c:idx val="2"/>
          <c:order val="0"/>
          <c:tx>
            <c:strRef>
              <c:f>cons!$A$13</c:f>
              <c:strCache>
                <c:ptCount val="1"/>
                <c:pt idx="0">
                  <c:v>CEE max (ex Hun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c:spPr>
          <c:cat>
            <c:numRef>
              <c:f>cons!$B$5:$BR$5</c:f>
              <c:numCache>
                <c:formatCode>m/d/yyyy</c:formatCode>
                <c:ptCount val="44"/>
                <c:pt idx="0">
                  <c:v>38807</c:v>
                </c:pt>
                <c:pt idx="1">
                  <c:v>38898</c:v>
                </c:pt>
                <c:pt idx="2">
                  <c:v>38990</c:v>
                </c:pt>
                <c:pt idx="3">
                  <c:v>39082</c:v>
                </c:pt>
                <c:pt idx="4">
                  <c:v>39172</c:v>
                </c:pt>
                <c:pt idx="5">
                  <c:v>39263</c:v>
                </c:pt>
                <c:pt idx="6">
                  <c:v>39355</c:v>
                </c:pt>
                <c:pt idx="7">
                  <c:v>39447</c:v>
                </c:pt>
                <c:pt idx="8">
                  <c:v>39538</c:v>
                </c:pt>
                <c:pt idx="9">
                  <c:v>39629</c:v>
                </c:pt>
                <c:pt idx="10">
                  <c:v>39721</c:v>
                </c:pt>
                <c:pt idx="11">
                  <c:v>39813</c:v>
                </c:pt>
                <c:pt idx="12">
                  <c:v>39903</c:v>
                </c:pt>
                <c:pt idx="13">
                  <c:v>39994</c:v>
                </c:pt>
                <c:pt idx="14">
                  <c:v>40086</c:v>
                </c:pt>
                <c:pt idx="15">
                  <c:v>40178</c:v>
                </c:pt>
                <c:pt idx="16">
                  <c:v>40268</c:v>
                </c:pt>
                <c:pt idx="17">
                  <c:v>40359</c:v>
                </c:pt>
                <c:pt idx="18">
                  <c:v>40451</c:v>
                </c:pt>
                <c:pt idx="19">
                  <c:v>40543</c:v>
                </c:pt>
                <c:pt idx="20">
                  <c:v>40633</c:v>
                </c:pt>
                <c:pt idx="21">
                  <c:v>40724</c:v>
                </c:pt>
                <c:pt idx="22">
                  <c:v>40816</c:v>
                </c:pt>
                <c:pt idx="23">
                  <c:v>40908</c:v>
                </c:pt>
                <c:pt idx="24">
                  <c:v>40999</c:v>
                </c:pt>
                <c:pt idx="25">
                  <c:v>41090</c:v>
                </c:pt>
                <c:pt idx="26">
                  <c:v>41182</c:v>
                </c:pt>
                <c:pt idx="27">
                  <c:v>41274</c:v>
                </c:pt>
                <c:pt idx="28">
                  <c:v>41364</c:v>
                </c:pt>
                <c:pt idx="29">
                  <c:v>41455</c:v>
                </c:pt>
                <c:pt idx="30">
                  <c:v>41547</c:v>
                </c:pt>
                <c:pt idx="31">
                  <c:v>41639</c:v>
                </c:pt>
                <c:pt idx="32">
                  <c:v>41729</c:v>
                </c:pt>
                <c:pt idx="33">
                  <c:v>41820</c:v>
                </c:pt>
                <c:pt idx="34">
                  <c:v>41912</c:v>
                </c:pt>
                <c:pt idx="35">
                  <c:v>42004</c:v>
                </c:pt>
                <c:pt idx="36">
                  <c:v>42094</c:v>
                </c:pt>
                <c:pt idx="37">
                  <c:v>42185</c:v>
                </c:pt>
                <c:pt idx="38">
                  <c:v>42277</c:v>
                </c:pt>
                <c:pt idx="39">
                  <c:v>42369</c:v>
                </c:pt>
                <c:pt idx="40">
                  <c:v>42460</c:v>
                </c:pt>
                <c:pt idx="41">
                  <c:v>42551</c:v>
                </c:pt>
                <c:pt idx="42">
                  <c:v>42643</c:v>
                </c:pt>
                <c:pt idx="43">
                  <c:v>42735</c:v>
                </c:pt>
              </c:numCache>
            </c:numRef>
          </c:cat>
          <c:val>
            <c:numRef>
              <c:f>cons!$B$13:$BR$13</c:f>
              <c:numCache>
                <c:formatCode>#,##0.0</c:formatCode>
                <c:ptCount val="44"/>
                <c:pt idx="0">
                  <c:v>12</c:v>
                </c:pt>
                <c:pt idx="1">
                  <c:v>13.4</c:v>
                </c:pt>
                <c:pt idx="2">
                  <c:v>14.3</c:v>
                </c:pt>
                <c:pt idx="3">
                  <c:v>11.4</c:v>
                </c:pt>
                <c:pt idx="4">
                  <c:v>15.8</c:v>
                </c:pt>
                <c:pt idx="5">
                  <c:v>13.1</c:v>
                </c:pt>
                <c:pt idx="6">
                  <c:v>15.7</c:v>
                </c:pt>
                <c:pt idx="7">
                  <c:v>12.3</c:v>
                </c:pt>
                <c:pt idx="8">
                  <c:v>12</c:v>
                </c:pt>
                <c:pt idx="9">
                  <c:v>10.3</c:v>
                </c:pt>
                <c:pt idx="10">
                  <c:v>13</c:v>
                </c:pt>
                <c:pt idx="11">
                  <c:v>6.4</c:v>
                </c:pt>
                <c:pt idx="12">
                  <c:v>4.5999999999999996</c:v>
                </c:pt>
                <c:pt idx="13">
                  <c:v>2.5</c:v>
                </c:pt>
                <c:pt idx="14">
                  <c:v>4</c:v>
                </c:pt>
                <c:pt idx="15">
                  <c:v>2.7</c:v>
                </c:pt>
                <c:pt idx="16">
                  <c:v>2</c:v>
                </c:pt>
                <c:pt idx="17">
                  <c:v>2.9</c:v>
                </c:pt>
                <c:pt idx="18">
                  <c:v>3.8</c:v>
                </c:pt>
                <c:pt idx="19">
                  <c:v>2.9</c:v>
                </c:pt>
                <c:pt idx="20">
                  <c:v>2.9</c:v>
                </c:pt>
                <c:pt idx="21">
                  <c:v>3.6</c:v>
                </c:pt>
                <c:pt idx="22">
                  <c:v>3.4</c:v>
                </c:pt>
                <c:pt idx="23">
                  <c:v>2.7</c:v>
                </c:pt>
                <c:pt idx="24">
                  <c:v>3.9</c:v>
                </c:pt>
                <c:pt idx="25">
                  <c:v>5.7</c:v>
                </c:pt>
                <c:pt idx="26">
                  <c:v>4</c:v>
                </c:pt>
                <c:pt idx="27">
                  <c:v>2.2000000000000002</c:v>
                </c:pt>
                <c:pt idx="28">
                  <c:v>0.3</c:v>
                </c:pt>
                <c:pt idx="29">
                  <c:v>0.6</c:v>
                </c:pt>
                <c:pt idx="30">
                  <c:v>1.8</c:v>
                </c:pt>
                <c:pt idx="31">
                  <c:v>2.7</c:v>
                </c:pt>
                <c:pt idx="32">
                  <c:v>6.5</c:v>
                </c:pt>
                <c:pt idx="33">
                  <c:v>4.3</c:v>
                </c:pt>
                <c:pt idx="34">
                  <c:v>4.5999999999999996</c:v>
                </c:pt>
                <c:pt idx="35">
                  <c:v>4.3</c:v>
                </c:pt>
                <c:pt idx="36">
                  <c:v>3.8029485141203114</c:v>
                </c:pt>
                <c:pt idx="37">
                  <c:v>3.3058970282406235</c:v>
                </c:pt>
                <c:pt idx="38">
                  <c:v>3.125</c:v>
                </c:pt>
                <c:pt idx="39">
                  <c:v>3.1</c:v>
                </c:pt>
                <c:pt idx="40">
                  <c:v>3.125</c:v>
                </c:pt>
                <c:pt idx="41">
                  <c:v>3.1500000000000004</c:v>
                </c:pt>
                <c:pt idx="42">
                  <c:v>3.1750000000000003</c:v>
                </c:pt>
                <c:pt idx="43">
                  <c:v>3.2437611514256588</c:v>
                </c:pt>
              </c:numCache>
            </c:numRef>
          </c:val>
        </c:ser>
        <c:ser>
          <c:idx val="1"/>
          <c:order val="1"/>
          <c:tx>
            <c:strRef>
              <c:f>cons!$A$12</c:f>
              <c:strCache>
                <c:ptCount val="1"/>
                <c:pt idx="0">
                  <c:v>CEE min (ex Hun)</c:v>
                </c:pt>
              </c:strCache>
            </c:strRef>
          </c:tx>
          <c:spPr>
            <a:solidFill>
              <a:schemeClr val="bg1"/>
            </a:solidFill>
            <a:ln>
              <a:noFill/>
              <a:prstDash val="dashDot"/>
            </a:ln>
          </c:spPr>
          <c:cat>
            <c:numRef>
              <c:f>cons!$B$5:$BR$5</c:f>
              <c:numCache>
                <c:formatCode>m/d/yyyy</c:formatCode>
                <c:ptCount val="44"/>
                <c:pt idx="0">
                  <c:v>38807</c:v>
                </c:pt>
                <c:pt idx="1">
                  <c:v>38898</c:v>
                </c:pt>
                <c:pt idx="2">
                  <c:v>38990</c:v>
                </c:pt>
                <c:pt idx="3">
                  <c:v>39082</c:v>
                </c:pt>
                <c:pt idx="4">
                  <c:v>39172</c:v>
                </c:pt>
                <c:pt idx="5">
                  <c:v>39263</c:v>
                </c:pt>
                <c:pt idx="6">
                  <c:v>39355</c:v>
                </c:pt>
                <c:pt idx="7">
                  <c:v>39447</c:v>
                </c:pt>
                <c:pt idx="8">
                  <c:v>39538</c:v>
                </c:pt>
                <c:pt idx="9">
                  <c:v>39629</c:v>
                </c:pt>
                <c:pt idx="10">
                  <c:v>39721</c:v>
                </c:pt>
                <c:pt idx="11">
                  <c:v>39813</c:v>
                </c:pt>
                <c:pt idx="12">
                  <c:v>39903</c:v>
                </c:pt>
                <c:pt idx="13">
                  <c:v>39994</c:v>
                </c:pt>
                <c:pt idx="14">
                  <c:v>40086</c:v>
                </c:pt>
                <c:pt idx="15">
                  <c:v>40178</c:v>
                </c:pt>
                <c:pt idx="16">
                  <c:v>40268</c:v>
                </c:pt>
                <c:pt idx="17">
                  <c:v>40359</c:v>
                </c:pt>
                <c:pt idx="18">
                  <c:v>40451</c:v>
                </c:pt>
                <c:pt idx="19">
                  <c:v>40543</c:v>
                </c:pt>
                <c:pt idx="20">
                  <c:v>40633</c:v>
                </c:pt>
                <c:pt idx="21">
                  <c:v>40724</c:v>
                </c:pt>
                <c:pt idx="22">
                  <c:v>40816</c:v>
                </c:pt>
                <c:pt idx="23">
                  <c:v>40908</c:v>
                </c:pt>
                <c:pt idx="24">
                  <c:v>40999</c:v>
                </c:pt>
                <c:pt idx="25">
                  <c:v>41090</c:v>
                </c:pt>
                <c:pt idx="26">
                  <c:v>41182</c:v>
                </c:pt>
                <c:pt idx="27">
                  <c:v>41274</c:v>
                </c:pt>
                <c:pt idx="28">
                  <c:v>41364</c:v>
                </c:pt>
                <c:pt idx="29">
                  <c:v>41455</c:v>
                </c:pt>
                <c:pt idx="30">
                  <c:v>41547</c:v>
                </c:pt>
                <c:pt idx="31">
                  <c:v>41639</c:v>
                </c:pt>
                <c:pt idx="32">
                  <c:v>41729</c:v>
                </c:pt>
                <c:pt idx="33">
                  <c:v>41820</c:v>
                </c:pt>
                <c:pt idx="34">
                  <c:v>41912</c:v>
                </c:pt>
                <c:pt idx="35">
                  <c:v>42004</c:v>
                </c:pt>
                <c:pt idx="36">
                  <c:v>42094</c:v>
                </c:pt>
                <c:pt idx="37">
                  <c:v>42185</c:v>
                </c:pt>
                <c:pt idx="38">
                  <c:v>42277</c:v>
                </c:pt>
                <c:pt idx="39">
                  <c:v>42369</c:v>
                </c:pt>
                <c:pt idx="40">
                  <c:v>42460</c:v>
                </c:pt>
                <c:pt idx="41">
                  <c:v>42551</c:v>
                </c:pt>
                <c:pt idx="42">
                  <c:v>42643</c:v>
                </c:pt>
                <c:pt idx="43">
                  <c:v>42735</c:v>
                </c:pt>
              </c:numCache>
            </c:numRef>
          </c:cat>
          <c:val>
            <c:numRef>
              <c:f>cons!$B$12:$BR$12</c:f>
              <c:numCache>
                <c:formatCode>#,##0.0</c:formatCode>
                <c:ptCount val="44"/>
                <c:pt idx="0">
                  <c:v>3.5</c:v>
                </c:pt>
                <c:pt idx="1">
                  <c:v>3.5</c:v>
                </c:pt>
                <c:pt idx="2">
                  <c:v>3.9</c:v>
                </c:pt>
                <c:pt idx="3">
                  <c:v>4.0999999999999996</c:v>
                </c:pt>
                <c:pt idx="4">
                  <c:v>5.2</c:v>
                </c:pt>
                <c:pt idx="5">
                  <c:v>4.3</c:v>
                </c:pt>
                <c:pt idx="6">
                  <c:v>3.8</c:v>
                </c:pt>
                <c:pt idx="7">
                  <c:v>3.4</c:v>
                </c:pt>
                <c:pt idx="8">
                  <c:v>1.9</c:v>
                </c:pt>
                <c:pt idx="9">
                  <c:v>3.5</c:v>
                </c:pt>
                <c:pt idx="10">
                  <c:v>2.7</c:v>
                </c:pt>
                <c:pt idx="11">
                  <c:v>-5</c:v>
                </c:pt>
                <c:pt idx="12">
                  <c:v>-11.8</c:v>
                </c:pt>
                <c:pt idx="13">
                  <c:v>-13.5</c:v>
                </c:pt>
                <c:pt idx="14">
                  <c:v>-11.9</c:v>
                </c:pt>
                <c:pt idx="15">
                  <c:v>-6.1</c:v>
                </c:pt>
                <c:pt idx="16">
                  <c:v>-3</c:v>
                </c:pt>
                <c:pt idx="17">
                  <c:v>-0.1</c:v>
                </c:pt>
                <c:pt idx="18">
                  <c:v>-0.9</c:v>
                </c:pt>
                <c:pt idx="19">
                  <c:v>0.3</c:v>
                </c:pt>
                <c:pt idx="20">
                  <c:v>-0.4</c:v>
                </c:pt>
                <c:pt idx="21">
                  <c:v>-1.1000000000000001</c:v>
                </c:pt>
                <c:pt idx="22">
                  <c:v>-1</c:v>
                </c:pt>
                <c:pt idx="23">
                  <c:v>-0.6</c:v>
                </c:pt>
                <c:pt idx="24">
                  <c:v>-1</c:v>
                </c:pt>
                <c:pt idx="25">
                  <c:v>-1.9</c:v>
                </c:pt>
                <c:pt idx="26">
                  <c:v>-1.7</c:v>
                </c:pt>
                <c:pt idx="27">
                  <c:v>-2.4</c:v>
                </c:pt>
                <c:pt idx="28">
                  <c:v>-2.1</c:v>
                </c:pt>
                <c:pt idx="29">
                  <c:v>-3</c:v>
                </c:pt>
                <c:pt idx="30">
                  <c:v>-2.2000000000000002</c:v>
                </c:pt>
                <c:pt idx="31">
                  <c:v>-1.8</c:v>
                </c:pt>
                <c:pt idx="32">
                  <c:v>0.9</c:v>
                </c:pt>
                <c:pt idx="33">
                  <c:v>0.3</c:v>
                </c:pt>
                <c:pt idx="34">
                  <c:v>1.4</c:v>
                </c:pt>
                <c:pt idx="35">
                  <c:v>2</c:v>
                </c:pt>
                <c:pt idx="36">
                  <c:v>1.9750000000000001</c:v>
                </c:pt>
                <c:pt idx="37">
                  <c:v>1.9300959600731347</c:v>
                </c:pt>
                <c:pt idx="38">
                  <c:v>1.4451439401097019</c:v>
                </c:pt>
                <c:pt idx="39">
                  <c:v>0.96019192014626942</c:v>
                </c:pt>
                <c:pt idx="40">
                  <c:v>1.1345573913147555</c:v>
                </c:pt>
                <c:pt idx="41">
                  <c:v>1.3089228624832416</c:v>
                </c:pt>
                <c:pt idx="42">
                  <c:v>1.4832883336517277</c:v>
                </c:pt>
                <c:pt idx="43">
                  <c:v>1.65765380482021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6188976"/>
        <c:axId val="606185712"/>
      </c:areaChart>
      <c:lineChart>
        <c:grouping val="standard"/>
        <c:varyColors val="0"/>
        <c:ser>
          <c:idx val="4"/>
          <c:order val="3"/>
          <c:tx>
            <c:v>KKE átlag</c:v>
          </c:tx>
          <c:spPr>
            <a:ln w="76200">
              <a:solidFill>
                <a:srgbClr val="70AD47">
                  <a:lumMod val="60000"/>
                  <a:lumOff val="40000"/>
                </a:srgbClr>
              </a:solidFill>
            </a:ln>
          </c:spPr>
          <c:marker>
            <c:symbol val="none"/>
          </c:marker>
          <c:val>
            <c:numRef>
              <c:f>cons!$B$11:$BR$11</c:f>
              <c:numCache>
                <c:formatCode>#,##0.0</c:formatCode>
                <c:ptCount val="44"/>
                <c:pt idx="0">
                  <c:v>6.3</c:v>
                </c:pt>
                <c:pt idx="1">
                  <c:v>7.32</c:v>
                </c:pt>
                <c:pt idx="2">
                  <c:v>7.4799999999999995</c:v>
                </c:pt>
                <c:pt idx="3">
                  <c:v>7.4399999999999995</c:v>
                </c:pt>
                <c:pt idx="4">
                  <c:v>9.48</c:v>
                </c:pt>
                <c:pt idx="5">
                  <c:v>9.0400000000000009</c:v>
                </c:pt>
                <c:pt idx="6">
                  <c:v>9.2399999999999984</c:v>
                </c:pt>
                <c:pt idx="7">
                  <c:v>7.2</c:v>
                </c:pt>
                <c:pt idx="8">
                  <c:v>7.6599999999999993</c:v>
                </c:pt>
                <c:pt idx="9">
                  <c:v>5.92</c:v>
                </c:pt>
                <c:pt idx="10">
                  <c:v>6.1400000000000006</c:v>
                </c:pt>
                <c:pt idx="11">
                  <c:v>1.52</c:v>
                </c:pt>
                <c:pt idx="12">
                  <c:v>-3.0200000000000005</c:v>
                </c:pt>
                <c:pt idx="13">
                  <c:v>-2.8</c:v>
                </c:pt>
                <c:pt idx="14">
                  <c:v>-3.2400000000000007</c:v>
                </c:pt>
                <c:pt idx="15">
                  <c:v>-2.2599999999999998</c:v>
                </c:pt>
                <c:pt idx="16">
                  <c:v>0.24</c:v>
                </c:pt>
                <c:pt idx="17">
                  <c:v>1.32</c:v>
                </c:pt>
                <c:pt idx="18">
                  <c:v>0.93999999999999984</c:v>
                </c:pt>
                <c:pt idx="19">
                  <c:v>1.6199999999999999</c:v>
                </c:pt>
                <c:pt idx="20">
                  <c:v>0.45999999999999996</c:v>
                </c:pt>
                <c:pt idx="21">
                  <c:v>0.84000000000000019</c:v>
                </c:pt>
                <c:pt idx="22">
                  <c:v>1.7600000000000002</c:v>
                </c:pt>
                <c:pt idx="23">
                  <c:v>0.88000000000000012</c:v>
                </c:pt>
                <c:pt idx="24">
                  <c:v>1.24</c:v>
                </c:pt>
                <c:pt idx="25">
                  <c:v>1.46</c:v>
                </c:pt>
                <c:pt idx="26">
                  <c:v>0.51999999999999991</c:v>
                </c:pt>
                <c:pt idx="27">
                  <c:v>-0.19999999999999996</c:v>
                </c:pt>
                <c:pt idx="28">
                  <c:v>-1.04</c:v>
                </c:pt>
                <c:pt idx="29">
                  <c:v>-0.35999999999999993</c:v>
                </c:pt>
                <c:pt idx="30">
                  <c:v>0.27999999999999997</c:v>
                </c:pt>
                <c:pt idx="31">
                  <c:v>0.7</c:v>
                </c:pt>
                <c:pt idx="32">
                  <c:v>3.22</c:v>
                </c:pt>
                <c:pt idx="33">
                  <c:v>2.2799999999999998</c:v>
                </c:pt>
                <c:pt idx="34">
                  <c:v>2.6599999999999997</c:v>
                </c:pt>
                <c:pt idx="35">
                  <c:v>2.9200000000000004</c:v>
                </c:pt>
                <c:pt idx="36">
                  <c:v>2.7235992988313762</c:v>
                </c:pt>
                <c:pt idx="37">
                  <c:v>2.527198597662752</c:v>
                </c:pt>
                <c:pt idx="38">
                  <c:v>2.3307978964941278</c:v>
                </c:pt>
                <c:pt idx="39">
                  <c:v>2.1343971953255036</c:v>
                </c:pt>
                <c:pt idx="40">
                  <c:v>2.2358686443064206</c:v>
                </c:pt>
                <c:pt idx="41">
                  <c:v>2.337340093287338</c:v>
                </c:pt>
                <c:pt idx="42">
                  <c:v>2.4388115422682555</c:v>
                </c:pt>
                <c:pt idx="43">
                  <c:v>2.54028299124917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6188976"/>
        <c:axId val="606185712"/>
      </c:lineChart>
      <c:lineChart>
        <c:grouping val="standard"/>
        <c:varyColors val="0"/>
        <c:ser>
          <c:idx val="3"/>
          <c:order val="2"/>
          <c:tx>
            <c:v>Magyarország</c:v>
          </c:tx>
          <c:spPr>
            <a:ln w="88900">
              <a:solidFill>
                <a:srgbClr val="FF0000"/>
              </a:solidFill>
            </a:ln>
          </c:spPr>
          <c:marker>
            <c:symbol val="none"/>
          </c:marker>
          <c:val>
            <c:numRef>
              <c:f>cons!$B$14:$BR$14</c:f>
              <c:numCache>
                <c:formatCode>#,##0.0</c:formatCode>
                <c:ptCount val="44"/>
                <c:pt idx="0">
                  <c:v>3.2</c:v>
                </c:pt>
                <c:pt idx="1">
                  <c:v>1.4</c:v>
                </c:pt>
                <c:pt idx="2">
                  <c:v>1.5</c:v>
                </c:pt>
                <c:pt idx="3">
                  <c:v>0</c:v>
                </c:pt>
                <c:pt idx="4">
                  <c:v>1.8</c:v>
                </c:pt>
                <c:pt idx="5">
                  <c:v>1</c:v>
                </c:pt>
                <c:pt idx="6">
                  <c:v>0.4</c:v>
                </c:pt>
                <c:pt idx="7">
                  <c:v>1.2</c:v>
                </c:pt>
                <c:pt idx="8">
                  <c:v>0.2</c:v>
                </c:pt>
                <c:pt idx="9">
                  <c:v>1.1000000000000001</c:v>
                </c:pt>
                <c:pt idx="10">
                  <c:v>-1.2</c:v>
                </c:pt>
                <c:pt idx="11">
                  <c:v>-4.5</c:v>
                </c:pt>
                <c:pt idx="12">
                  <c:v>-6.7</c:v>
                </c:pt>
                <c:pt idx="13">
                  <c:v>-6.9</c:v>
                </c:pt>
                <c:pt idx="14">
                  <c:v>-8.1</c:v>
                </c:pt>
                <c:pt idx="15">
                  <c:v>-5</c:v>
                </c:pt>
                <c:pt idx="16">
                  <c:v>-3.1</c:v>
                </c:pt>
                <c:pt idx="17">
                  <c:v>-5</c:v>
                </c:pt>
                <c:pt idx="18">
                  <c:v>-0.6</c:v>
                </c:pt>
                <c:pt idx="19">
                  <c:v>-2.4</c:v>
                </c:pt>
                <c:pt idx="20">
                  <c:v>-0.9</c:v>
                </c:pt>
                <c:pt idx="21">
                  <c:v>2.2000000000000002</c:v>
                </c:pt>
                <c:pt idx="22">
                  <c:v>1.3</c:v>
                </c:pt>
                <c:pt idx="23">
                  <c:v>0.8</c:v>
                </c:pt>
                <c:pt idx="24">
                  <c:v>-0.3</c:v>
                </c:pt>
                <c:pt idx="25">
                  <c:v>-2.1</c:v>
                </c:pt>
                <c:pt idx="26">
                  <c:v>-5</c:v>
                </c:pt>
                <c:pt idx="27">
                  <c:v>0</c:v>
                </c:pt>
                <c:pt idx="28">
                  <c:v>-1</c:v>
                </c:pt>
                <c:pt idx="29">
                  <c:v>0.6</c:v>
                </c:pt>
                <c:pt idx="30">
                  <c:v>-0.6</c:v>
                </c:pt>
                <c:pt idx="31">
                  <c:v>0.6</c:v>
                </c:pt>
                <c:pt idx="32">
                  <c:v>1.2</c:v>
                </c:pt>
                <c:pt idx="33">
                  <c:v>2.4</c:v>
                </c:pt>
                <c:pt idx="34">
                  <c:v>0.9</c:v>
                </c:pt>
                <c:pt idx="35">
                  <c:v>1.8</c:v>
                </c:pt>
                <c:pt idx="36">
                  <c:v>1.85</c:v>
                </c:pt>
                <c:pt idx="37">
                  <c:v>1.9</c:v>
                </c:pt>
                <c:pt idx="38">
                  <c:v>1.95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2</c:v>
                </c:pt>
                <c:pt idx="43">
                  <c:v>2</c:v>
                </c:pt>
              </c:numCache>
            </c:numRef>
          </c:val>
          <c:smooth val="0"/>
        </c:ser>
        <c:ser>
          <c:idx val="0"/>
          <c:order val="4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cons!$B$15:$BR$15</c:f>
              <c:numCache>
                <c:formatCode>General</c:formatCode>
                <c:ptCount val="4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2</c:v>
                </c:pt>
                <c:pt idx="31">
                  <c:v>12</c:v>
                </c:pt>
                <c:pt idx="32">
                  <c:v>12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2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</c:numCache>
            </c:numRef>
          </c:val>
          <c:smooth val="0"/>
        </c:ser>
        <c:ser>
          <c:idx val="5"/>
          <c:order val="5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cons!$B$16:$BR$16</c:f>
              <c:numCache>
                <c:formatCode>General</c:formatCode>
                <c:ptCount val="44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9</c:v>
                </c:pt>
                <c:pt idx="39">
                  <c:v>9</c:v>
                </c:pt>
                <c:pt idx="40">
                  <c:v>9</c:v>
                </c:pt>
                <c:pt idx="41">
                  <c:v>9</c:v>
                </c:pt>
                <c:pt idx="42">
                  <c:v>9</c:v>
                </c:pt>
                <c:pt idx="43">
                  <c:v>9</c:v>
                </c:pt>
              </c:numCache>
            </c:numRef>
          </c:val>
          <c:smooth val="0"/>
        </c:ser>
        <c:ser>
          <c:idx val="6"/>
          <c:order val="6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cons!$B$17:$BR$17</c:f>
              <c:numCache>
                <c:formatCode>General</c:formatCode>
                <c:ptCount val="4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</c:numCache>
            </c:numRef>
          </c:val>
          <c:smooth val="0"/>
        </c:ser>
        <c:ser>
          <c:idx val="7"/>
          <c:order val="7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cons!$B$18:$BR$18</c:f>
              <c:numCache>
                <c:formatCode>General</c:formatCode>
                <c:ptCount val="4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</c:numCache>
            </c:numRef>
          </c:val>
          <c:smooth val="0"/>
        </c:ser>
        <c:ser>
          <c:idx val="8"/>
          <c:order val="8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cons!$B$19:$BR$19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smooth val="0"/>
        </c:ser>
        <c:ser>
          <c:idx val="9"/>
          <c:order val="9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cons!$B$20:$BR$20</c:f>
              <c:numCache>
                <c:formatCode>General</c:formatCode>
                <c:ptCount val="44"/>
                <c:pt idx="0">
                  <c:v>-3</c:v>
                </c:pt>
                <c:pt idx="1">
                  <c:v>-3</c:v>
                </c:pt>
                <c:pt idx="2">
                  <c:v>-3</c:v>
                </c:pt>
                <c:pt idx="3">
                  <c:v>-3</c:v>
                </c:pt>
                <c:pt idx="4">
                  <c:v>-3</c:v>
                </c:pt>
                <c:pt idx="5">
                  <c:v>-3</c:v>
                </c:pt>
                <c:pt idx="6">
                  <c:v>-3</c:v>
                </c:pt>
                <c:pt idx="7">
                  <c:v>-3</c:v>
                </c:pt>
                <c:pt idx="8">
                  <c:v>-3</c:v>
                </c:pt>
                <c:pt idx="9">
                  <c:v>-3</c:v>
                </c:pt>
                <c:pt idx="10">
                  <c:v>-3</c:v>
                </c:pt>
                <c:pt idx="11">
                  <c:v>-3</c:v>
                </c:pt>
                <c:pt idx="12">
                  <c:v>-3</c:v>
                </c:pt>
                <c:pt idx="13">
                  <c:v>-3</c:v>
                </c:pt>
                <c:pt idx="14">
                  <c:v>-3</c:v>
                </c:pt>
                <c:pt idx="15">
                  <c:v>-3</c:v>
                </c:pt>
                <c:pt idx="16">
                  <c:v>-3</c:v>
                </c:pt>
                <c:pt idx="17">
                  <c:v>-3</c:v>
                </c:pt>
                <c:pt idx="18">
                  <c:v>-3</c:v>
                </c:pt>
                <c:pt idx="19">
                  <c:v>-3</c:v>
                </c:pt>
                <c:pt idx="20">
                  <c:v>-3</c:v>
                </c:pt>
                <c:pt idx="21">
                  <c:v>-3</c:v>
                </c:pt>
                <c:pt idx="22">
                  <c:v>-3</c:v>
                </c:pt>
                <c:pt idx="23">
                  <c:v>-3</c:v>
                </c:pt>
                <c:pt idx="24">
                  <c:v>-3</c:v>
                </c:pt>
                <c:pt idx="25">
                  <c:v>-3</c:v>
                </c:pt>
                <c:pt idx="26">
                  <c:v>-3</c:v>
                </c:pt>
                <c:pt idx="27">
                  <c:v>-3</c:v>
                </c:pt>
                <c:pt idx="28">
                  <c:v>-3</c:v>
                </c:pt>
                <c:pt idx="29">
                  <c:v>-3</c:v>
                </c:pt>
                <c:pt idx="30">
                  <c:v>-3</c:v>
                </c:pt>
                <c:pt idx="31">
                  <c:v>-3</c:v>
                </c:pt>
                <c:pt idx="32">
                  <c:v>-3</c:v>
                </c:pt>
                <c:pt idx="33">
                  <c:v>-3</c:v>
                </c:pt>
                <c:pt idx="34">
                  <c:v>-3</c:v>
                </c:pt>
                <c:pt idx="35">
                  <c:v>-3</c:v>
                </c:pt>
                <c:pt idx="36">
                  <c:v>-3</c:v>
                </c:pt>
                <c:pt idx="37">
                  <c:v>-3</c:v>
                </c:pt>
                <c:pt idx="38">
                  <c:v>-3</c:v>
                </c:pt>
                <c:pt idx="39">
                  <c:v>-3</c:v>
                </c:pt>
                <c:pt idx="40">
                  <c:v>-3</c:v>
                </c:pt>
                <c:pt idx="41">
                  <c:v>-3</c:v>
                </c:pt>
                <c:pt idx="42">
                  <c:v>-3</c:v>
                </c:pt>
                <c:pt idx="43">
                  <c:v>-3</c:v>
                </c:pt>
              </c:numCache>
            </c:numRef>
          </c:val>
          <c:smooth val="0"/>
        </c:ser>
        <c:ser>
          <c:idx val="10"/>
          <c:order val="10"/>
          <c:spPr>
            <a:ln w="12700">
              <a:prstDash val="sysDash"/>
            </a:ln>
          </c:spPr>
          <c:marker>
            <c:symbol val="none"/>
          </c:marker>
          <c:val>
            <c:numRef>
              <c:f>cons!$B$21:$BR$21</c:f>
              <c:numCache>
                <c:formatCode>General</c:formatCode>
                <c:ptCount val="44"/>
                <c:pt idx="0">
                  <c:v>-6</c:v>
                </c:pt>
                <c:pt idx="1">
                  <c:v>-6</c:v>
                </c:pt>
                <c:pt idx="2">
                  <c:v>-6</c:v>
                </c:pt>
                <c:pt idx="3">
                  <c:v>-6</c:v>
                </c:pt>
                <c:pt idx="4">
                  <c:v>-6</c:v>
                </c:pt>
                <c:pt idx="5">
                  <c:v>-6</c:v>
                </c:pt>
                <c:pt idx="6">
                  <c:v>-6</c:v>
                </c:pt>
                <c:pt idx="7">
                  <c:v>-6</c:v>
                </c:pt>
                <c:pt idx="8">
                  <c:v>-6</c:v>
                </c:pt>
                <c:pt idx="9">
                  <c:v>-6</c:v>
                </c:pt>
                <c:pt idx="10">
                  <c:v>-6</c:v>
                </c:pt>
                <c:pt idx="11">
                  <c:v>-6</c:v>
                </c:pt>
                <c:pt idx="12">
                  <c:v>-6</c:v>
                </c:pt>
                <c:pt idx="13">
                  <c:v>-6</c:v>
                </c:pt>
                <c:pt idx="14">
                  <c:v>-6</c:v>
                </c:pt>
                <c:pt idx="15">
                  <c:v>-6</c:v>
                </c:pt>
                <c:pt idx="16">
                  <c:v>-6</c:v>
                </c:pt>
                <c:pt idx="17">
                  <c:v>-6</c:v>
                </c:pt>
                <c:pt idx="18">
                  <c:v>-6</c:v>
                </c:pt>
                <c:pt idx="19">
                  <c:v>-6</c:v>
                </c:pt>
                <c:pt idx="20">
                  <c:v>-6</c:v>
                </c:pt>
                <c:pt idx="21">
                  <c:v>-6</c:v>
                </c:pt>
                <c:pt idx="22">
                  <c:v>-6</c:v>
                </c:pt>
                <c:pt idx="23">
                  <c:v>-6</c:v>
                </c:pt>
                <c:pt idx="24">
                  <c:v>-6</c:v>
                </c:pt>
                <c:pt idx="25">
                  <c:v>-6</c:v>
                </c:pt>
                <c:pt idx="26">
                  <c:v>-6</c:v>
                </c:pt>
                <c:pt idx="27">
                  <c:v>-6</c:v>
                </c:pt>
                <c:pt idx="28">
                  <c:v>-6</c:v>
                </c:pt>
                <c:pt idx="29">
                  <c:v>-6</c:v>
                </c:pt>
                <c:pt idx="30">
                  <c:v>-6</c:v>
                </c:pt>
                <c:pt idx="31">
                  <c:v>-6</c:v>
                </c:pt>
                <c:pt idx="32">
                  <c:v>-6</c:v>
                </c:pt>
                <c:pt idx="33">
                  <c:v>-6</c:v>
                </c:pt>
                <c:pt idx="34">
                  <c:v>-6</c:v>
                </c:pt>
                <c:pt idx="35">
                  <c:v>-6</c:v>
                </c:pt>
                <c:pt idx="36">
                  <c:v>-6</c:v>
                </c:pt>
                <c:pt idx="37">
                  <c:v>-6</c:v>
                </c:pt>
                <c:pt idx="38">
                  <c:v>-6</c:v>
                </c:pt>
                <c:pt idx="39">
                  <c:v>-6</c:v>
                </c:pt>
                <c:pt idx="40">
                  <c:v>-6</c:v>
                </c:pt>
                <c:pt idx="41">
                  <c:v>-6</c:v>
                </c:pt>
                <c:pt idx="42">
                  <c:v>-6</c:v>
                </c:pt>
                <c:pt idx="43">
                  <c:v>-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6190608"/>
        <c:axId val="606188432"/>
      </c:lineChart>
      <c:dateAx>
        <c:axId val="606188976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txPr>
          <a:bodyPr rot="-540000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606185712"/>
        <c:crossesAt val="-30"/>
        <c:auto val="1"/>
        <c:lblOffset val="100"/>
        <c:baseTimeUnit val="months"/>
        <c:majorUnit val="12"/>
        <c:majorTimeUnit val="months"/>
        <c:minorUnit val="9"/>
        <c:minorTimeUnit val="days"/>
      </c:dateAx>
      <c:valAx>
        <c:axId val="606185712"/>
        <c:scaling>
          <c:orientation val="minMax"/>
          <c:max val="12"/>
          <c:min val="-9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8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606188976"/>
        <c:crosses val="autoZero"/>
        <c:crossBetween val="midCat"/>
        <c:majorUnit val="3"/>
      </c:valAx>
      <c:catAx>
        <c:axId val="606190608"/>
        <c:scaling>
          <c:orientation val="minMax"/>
        </c:scaling>
        <c:delete val="1"/>
        <c:axPos val="b"/>
        <c:majorTickMark val="out"/>
        <c:minorTickMark val="none"/>
        <c:tickLblPos val="nextTo"/>
        <c:crossAx val="606188432"/>
        <c:crosses val="autoZero"/>
        <c:auto val="1"/>
        <c:lblAlgn val="ctr"/>
        <c:lblOffset val="100"/>
        <c:noMultiLvlLbl val="0"/>
      </c:catAx>
      <c:valAx>
        <c:axId val="606188432"/>
        <c:scaling>
          <c:orientation val="minMax"/>
          <c:max val="12"/>
          <c:min val="-9"/>
        </c:scaling>
        <c:delete val="0"/>
        <c:axPos val="r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8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606190608"/>
        <c:crosses val="max"/>
        <c:crossBetween val="midCat"/>
        <c:majorUnit val="3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egendEntry>
        <c:idx val="3"/>
        <c:txPr>
          <a:bodyPr/>
          <a:lstStyle/>
          <a:p>
            <a:pPr>
              <a:defRPr sz="2205" b="1" i="0" u="none" strike="noStrike" baseline="0">
                <a:solidFill>
                  <a:srgbClr val="FF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50952407236701369"/>
          <c:y val="5.2432361049208467E-2"/>
          <c:w val="0.23972128442573828"/>
          <c:h val="0.15215520895911872"/>
        </c:manualLayout>
      </c:layout>
      <c:overlay val="0"/>
      <c:txPr>
        <a:bodyPr/>
        <a:lstStyle/>
        <a:p>
          <a:pPr>
            <a:defRPr sz="2205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2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hu-HU"/>
    </a:p>
  </c:txPr>
  <c:externalData r:id="rId2">
    <c:autoUpdate val="0"/>
  </c:externalData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9649404687153653E-2"/>
          <c:y val="1.5198152852953771E-2"/>
          <c:w val="0.9425974279825452"/>
          <c:h val="0.889457077895842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államadósság.xls]HU!$A$2</c:f>
              <c:strCache>
                <c:ptCount val="1"/>
                <c:pt idx="0">
                  <c:v>Bruttó államadósság a GDP %-ában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[államadósság.xls]HU!$B$1:$Y$1</c:f>
              <c:strCache>
                <c:ptCount val="24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*</c:v>
                </c:pt>
              </c:strCache>
            </c:strRef>
          </c:cat>
          <c:val>
            <c:numRef>
              <c:f>[államadósság.xls]HU!$B$2:$Y$2</c:f>
              <c:numCache>
                <c:formatCode>General</c:formatCode>
                <c:ptCount val="24"/>
                <c:pt idx="0">
                  <c:v>76.599999999999994</c:v>
                </c:pt>
                <c:pt idx="1">
                  <c:v>79.900000000000006</c:v>
                </c:pt>
                <c:pt idx="2">
                  <c:v>90.5</c:v>
                </c:pt>
                <c:pt idx="3">
                  <c:v>89.1</c:v>
                </c:pt>
                <c:pt idx="4">
                  <c:v>85.6</c:v>
                </c:pt>
                <c:pt idx="5">
                  <c:v>72.400000000000006</c:v>
                </c:pt>
                <c:pt idx="6">
                  <c:v>62.9</c:v>
                </c:pt>
                <c:pt idx="7">
                  <c:v>60.9</c:v>
                </c:pt>
                <c:pt idx="8">
                  <c:v>60.8</c:v>
                </c:pt>
                <c:pt idx="9">
                  <c:v>56.1</c:v>
                </c:pt>
                <c:pt idx="10">
                  <c:v>52.7</c:v>
                </c:pt>
                <c:pt idx="11">
                  <c:v>55.9</c:v>
                </c:pt>
                <c:pt idx="12">
                  <c:v>58.6</c:v>
                </c:pt>
                <c:pt idx="13">
                  <c:v>59.5</c:v>
                </c:pt>
                <c:pt idx="14">
                  <c:v>61.7</c:v>
                </c:pt>
                <c:pt idx="15">
                  <c:v>65.900000000000006</c:v>
                </c:pt>
                <c:pt idx="16">
                  <c:v>67</c:v>
                </c:pt>
                <c:pt idx="17">
                  <c:v>73</c:v>
                </c:pt>
                <c:pt idx="18">
                  <c:v>79.8</c:v>
                </c:pt>
                <c:pt idx="19">
                  <c:v>82.2</c:v>
                </c:pt>
                <c:pt idx="20">
                  <c:v>82.1</c:v>
                </c:pt>
                <c:pt idx="21">
                  <c:v>79.8</c:v>
                </c:pt>
                <c:pt idx="22">
                  <c:v>79.2</c:v>
                </c:pt>
                <c:pt idx="23">
                  <c:v>79.09999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6176464"/>
        <c:axId val="606177008"/>
      </c:barChart>
      <c:catAx>
        <c:axId val="606176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606177008"/>
        <c:crosses val="autoZero"/>
        <c:auto val="1"/>
        <c:lblAlgn val="ctr"/>
        <c:lblOffset val="100"/>
        <c:noMultiLvlLbl val="0"/>
      </c:catAx>
      <c:valAx>
        <c:axId val="606177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ysClr val="windowText" lastClr="000000">
                  <a:lumMod val="15000"/>
                  <a:lumOff val="85000"/>
                </a:sys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617646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solidFill>
      <a:sysClr val="window" lastClr="FFFFFF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2">
    <c:autoUpdate val="0"/>
  </c:externalData>
  <c:userShapes r:id="rId3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övekedési ütem'!$A$2</c:f>
              <c:strCache>
                <c:ptCount val="1"/>
                <c:pt idx="0">
                  <c:v>Cseh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2:$AI$2</c:f>
              <c:numCache>
                <c:formatCode>0%</c:formatCode>
                <c:ptCount val="1"/>
                <c:pt idx="0">
                  <c:v>3.9167644533924082</c:v>
                </c:pt>
              </c:numCache>
            </c:numRef>
          </c:val>
        </c:ser>
        <c:ser>
          <c:idx val="1"/>
          <c:order val="1"/>
          <c:tx>
            <c:strRef>
              <c:f>'növekedési ütem'!$A$3</c:f>
              <c:strCache>
                <c:ptCount val="1"/>
                <c:pt idx="0">
                  <c:v>Észt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3:$AI$3</c:f>
              <c:numCache>
                <c:formatCode>0%</c:formatCode>
                <c:ptCount val="1"/>
                <c:pt idx="0">
                  <c:v>0.76768044529804114</c:v>
                </c:pt>
              </c:numCache>
            </c:numRef>
          </c:val>
        </c:ser>
        <c:ser>
          <c:idx val="2"/>
          <c:order val="2"/>
          <c:tx>
            <c:strRef>
              <c:f>'növekedési ütem'!$A$4</c:f>
              <c:strCache>
                <c:ptCount val="1"/>
                <c:pt idx="0">
                  <c:v>Horvát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4:$AI$4</c:f>
              <c:numCache>
                <c:formatCode>0%</c:formatCode>
                <c:ptCount val="1"/>
                <c:pt idx="0">
                  <c:v>0.44684438986685054</c:v>
                </c:pt>
              </c:numCache>
            </c:numRef>
          </c:val>
        </c:ser>
        <c:ser>
          <c:idx val="3"/>
          <c:order val="3"/>
          <c:tx>
            <c:strRef>
              <c:f>'növekedési ütem'!$A$5</c:f>
              <c:strCache>
                <c:ptCount val="1"/>
                <c:pt idx="0">
                  <c:v>Lett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5:$AI$5</c:f>
              <c:numCache>
                <c:formatCode>0%</c:formatCode>
                <c:ptCount val="1"/>
                <c:pt idx="0">
                  <c:v>1.0781389971241635</c:v>
                </c:pt>
              </c:numCache>
            </c:numRef>
          </c:val>
        </c:ser>
        <c:ser>
          <c:idx val="4"/>
          <c:order val="4"/>
          <c:tx>
            <c:strRef>
              <c:f>'növekedési ütem'!$A$6</c:f>
              <c:strCache>
                <c:ptCount val="1"/>
                <c:pt idx="0">
                  <c:v>Litván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6:$AI$6</c:f>
              <c:numCache>
                <c:formatCode>0%</c:formatCode>
                <c:ptCount val="1"/>
                <c:pt idx="0">
                  <c:v>1.2432500037540686</c:v>
                </c:pt>
              </c:numCache>
            </c:numRef>
          </c:val>
        </c:ser>
        <c:ser>
          <c:idx val="5"/>
          <c:order val="5"/>
          <c:tx>
            <c:strRef>
              <c:f>'növekedési ütem'!$A$7</c:f>
              <c:strCache>
                <c:ptCount val="1"/>
                <c:pt idx="0">
                  <c:v>Magyar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7:$AI$7</c:f>
              <c:numCache>
                <c:formatCode>0%</c:formatCode>
                <c:ptCount val="1"/>
                <c:pt idx="0">
                  <c:v>2.4828637995608966</c:v>
                </c:pt>
              </c:numCache>
            </c:numRef>
          </c:val>
        </c:ser>
        <c:ser>
          <c:idx val="6"/>
          <c:order val="6"/>
          <c:tx>
            <c:strRef>
              <c:f>'növekedési ütem'!$A$8</c:f>
              <c:strCache>
                <c:ptCount val="1"/>
                <c:pt idx="0">
                  <c:v>Lengyel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8:$AI$8</c:f>
              <c:numCache>
                <c:formatCode>0%</c:formatCode>
                <c:ptCount val="1"/>
                <c:pt idx="0">
                  <c:v>3.7564769692491415</c:v>
                </c:pt>
              </c:numCache>
            </c:numRef>
          </c:val>
        </c:ser>
        <c:ser>
          <c:idx val="7"/>
          <c:order val="7"/>
          <c:tx>
            <c:strRef>
              <c:f>'növekedési ütem'!$A$9</c:f>
              <c:strCache>
                <c:ptCount val="1"/>
                <c:pt idx="0">
                  <c:v>Román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9:$AI$9</c:f>
              <c:numCache>
                <c:formatCode>0%</c:formatCode>
                <c:ptCount val="1"/>
                <c:pt idx="0">
                  <c:v>0.25625099456087941</c:v>
                </c:pt>
              </c:numCache>
            </c:numRef>
          </c:val>
        </c:ser>
        <c:ser>
          <c:idx val="8"/>
          <c:order val="8"/>
          <c:tx>
            <c:strRef>
              <c:f>'növekedési ütem'!$A$10</c:f>
              <c:strCache>
                <c:ptCount val="1"/>
                <c:pt idx="0">
                  <c:v>Szlovén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10:$AI$10</c:f>
              <c:numCache>
                <c:formatCode>0%</c:formatCode>
                <c:ptCount val="1"/>
                <c:pt idx="0">
                  <c:v>1.1192795989244659</c:v>
                </c:pt>
              </c:numCache>
            </c:numRef>
          </c:val>
        </c:ser>
        <c:ser>
          <c:idx val="9"/>
          <c:order val="9"/>
          <c:tx>
            <c:strRef>
              <c:f>'növekedési ütem'!$A$11</c:f>
              <c:strCache>
                <c:ptCount val="1"/>
                <c:pt idx="0">
                  <c:v>Szlovák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vert="horz"/>
              <a:lstStyle/>
              <a:p>
                <a:pPr>
                  <a:defRPr/>
                </a:pPr>
                <a:endParaRPr lang="hu-HU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övekedési ütem'!$B$1:$AI$1</c:f>
              <c:strCache>
                <c:ptCount val="1"/>
                <c:pt idx="0">
                  <c:v>Államadósság növekedése a GDP növekedési üteméhez viszonyítva 2000Q1 - 2008Q2</c:v>
                </c:pt>
              </c:strCache>
            </c:strRef>
          </c:cat>
          <c:val>
            <c:numRef>
              <c:f>'növekedési ütem'!$B$11:$AI$11</c:f>
              <c:numCache>
                <c:formatCode>0%</c:formatCode>
                <c:ptCount val="1"/>
                <c:pt idx="0">
                  <c:v>1.17145428542369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6182448"/>
        <c:axId val="606182992"/>
      </c:barChart>
      <c:catAx>
        <c:axId val="6061824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06182992"/>
        <c:crosses val="autoZero"/>
        <c:auto val="1"/>
        <c:lblAlgn val="ctr"/>
        <c:lblOffset val="100"/>
        <c:noMultiLvlLbl val="0"/>
      </c:catAx>
      <c:valAx>
        <c:axId val="60618299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60618244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hu-H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3"/>
          <c:order val="0"/>
          <c:tx>
            <c:strRef>
              <c:f>'10é'!$A$12</c:f>
              <c:strCache>
                <c:ptCount val="1"/>
                <c:pt idx="0">
                  <c:v>Magyarország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2:$AU$12</c:f>
              <c:numCache>
                <c:formatCode>#,##0.00</c:formatCode>
                <c:ptCount val="46"/>
                <c:pt idx="0">
                  <c:v>9.51</c:v>
                </c:pt>
                <c:pt idx="1">
                  <c:v>8.6</c:v>
                </c:pt>
                <c:pt idx="2">
                  <c:v>8.73</c:v>
                </c:pt>
                <c:pt idx="3">
                  <c:v>8.77</c:v>
                </c:pt>
                <c:pt idx="4">
                  <c:v>8.33</c:v>
                </c:pt>
                <c:pt idx="5">
                  <c:v>8.3000000000000007</c:v>
                </c:pt>
                <c:pt idx="6">
                  <c:v>7.56</c:v>
                </c:pt>
                <c:pt idx="7">
                  <c:v>7.36</c:v>
                </c:pt>
                <c:pt idx="8">
                  <c:v>7.28</c:v>
                </c:pt>
                <c:pt idx="9">
                  <c:v>6.94</c:v>
                </c:pt>
                <c:pt idx="10">
                  <c:v>6.87</c:v>
                </c:pt>
                <c:pt idx="11">
                  <c:v>6.44</c:v>
                </c:pt>
                <c:pt idx="12">
                  <c:v>6.23</c:v>
                </c:pt>
                <c:pt idx="13">
                  <c:v>6.29</c:v>
                </c:pt>
                <c:pt idx="14">
                  <c:v>6.38</c:v>
                </c:pt>
                <c:pt idx="15">
                  <c:v>5.65</c:v>
                </c:pt>
                <c:pt idx="16">
                  <c:v>5.08</c:v>
                </c:pt>
                <c:pt idx="17">
                  <c:v>6.02</c:v>
                </c:pt>
                <c:pt idx="18">
                  <c:v>5.78</c:v>
                </c:pt>
                <c:pt idx="19">
                  <c:v>6.31</c:v>
                </c:pt>
                <c:pt idx="20">
                  <c:v>6.16</c:v>
                </c:pt>
                <c:pt idx="21">
                  <c:v>5.58</c:v>
                </c:pt>
                <c:pt idx="22">
                  <c:v>5.82</c:v>
                </c:pt>
                <c:pt idx="23">
                  <c:v>5.78</c:v>
                </c:pt>
                <c:pt idx="24">
                  <c:v>5.6</c:v>
                </c:pt>
                <c:pt idx="25">
                  <c:v>6.03</c:v>
                </c:pt>
                <c:pt idx="26">
                  <c:v>5.83</c:v>
                </c:pt>
                <c:pt idx="27">
                  <c:v>5.56</c:v>
                </c:pt>
                <c:pt idx="28">
                  <c:v>5.01</c:v>
                </c:pt>
                <c:pt idx="29">
                  <c:v>4.5</c:v>
                </c:pt>
                <c:pt idx="30">
                  <c:v>4.33</c:v>
                </c:pt>
                <c:pt idx="31">
                  <c:v>4.7300000000000004</c:v>
                </c:pt>
                <c:pt idx="32">
                  <c:v>4.59</c:v>
                </c:pt>
                <c:pt idx="33">
                  <c:v>4.21</c:v>
                </c:pt>
                <c:pt idx="34">
                  <c:v>3.7</c:v>
                </c:pt>
                <c:pt idx="35">
                  <c:v>3.62</c:v>
                </c:pt>
                <c:pt idx="36">
                  <c:v>3.18</c:v>
                </c:pt>
                <c:pt idx="37">
                  <c:v>3.07</c:v>
                </c:pt>
                <c:pt idx="38">
                  <c:v>3.29</c:v>
                </c:pt>
                <c:pt idx="39">
                  <c:v>3.28</c:v>
                </c:pt>
                <c:pt idx="40">
                  <c:v>3.59</c:v>
                </c:pt>
                <c:pt idx="41">
                  <c:v>3.86</c:v>
                </c:pt>
                <c:pt idx="42">
                  <c:v>3.72</c:v>
                </c:pt>
                <c:pt idx="43">
                  <c:v>3.61</c:v>
                </c:pt>
                <c:pt idx="44">
                  <c:v>3.5</c:v>
                </c:pt>
                <c:pt idx="45">
                  <c:v>3.28</c:v>
                </c:pt>
              </c:numCache>
            </c:numRef>
          </c:val>
          <c:smooth val="0"/>
        </c:ser>
        <c:ser>
          <c:idx val="5"/>
          <c:order val="1"/>
          <c:tx>
            <c:strRef>
              <c:f>'10é'!$A$14</c:f>
              <c:strCache>
                <c:ptCount val="1"/>
                <c:pt idx="0">
                  <c:v>Románia</c:v>
                </c:pt>
              </c:strCache>
            </c:strRef>
          </c:tx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4:$AU$14</c:f>
              <c:numCache>
                <c:formatCode>#,##0.00</c:formatCode>
                <c:ptCount val="46"/>
                <c:pt idx="0">
                  <c:v>7.02</c:v>
                </c:pt>
                <c:pt idx="1">
                  <c:v>6.99</c:v>
                </c:pt>
                <c:pt idx="2">
                  <c:v>6.48</c:v>
                </c:pt>
                <c:pt idx="3">
                  <c:v>6.24</c:v>
                </c:pt>
                <c:pt idx="4">
                  <c:v>6.5</c:v>
                </c:pt>
                <c:pt idx="5">
                  <c:v>6.68</c:v>
                </c:pt>
                <c:pt idx="6">
                  <c:v>6.52</c:v>
                </c:pt>
                <c:pt idx="7">
                  <c:v>6.84</c:v>
                </c:pt>
                <c:pt idx="8">
                  <c:v>6.54</c:v>
                </c:pt>
                <c:pt idx="9">
                  <c:v>6.85</c:v>
                </c:pt>
                <c:pt idx="10">
                  <c:v>6.84</c:v>
                </c:pt>
                <c:pt idx="11">
                  <c:v>6.65</c:v>
                </c:pt>
                <c:pt idx="12">
                  <c:v>5.9</c:v>
                </c:pt>
                <c:pt idx="13">
                  <c:v>5.72</c:v>
                </c:pt>
                <c:pt idx="14">
                  <c:v>5.86</c:v>
                </c:pt>
                <c:pt idx="15">
                  <c:v>5.46</c:v>
                </c:pt>
                <c:pt idx="16">
                  <c:v>5.23</c:v>
                </c:pt>
                <c:pt idx="17">
                  <c:v>5.43</c:v>
                </c:pt>
                <c:pt idx="18">
                  <c:v>5.26</c:v>
                </c:pt>
                <c:pt idx="19">
                  <c:v>5.04</c:v>
                </c:pt>
                <c:pt idx="20">
                  <c:v>5.27</c:v>
                </c:pt>
                <c:pt idx="21">
                  <c:v>5.22</c:v>
                </c:pt>
                <c:pt idx="22">
                  <c:v>5.29</c:v>
                </c:pt>
                <c:pt idx="23">
                  <c:v>5.29</c:v>
                </c:pt>
                <c:pt idx="24">
                  <c:v>5.22</c:v>
                </c:pt>
                <c:pt idx="25">
                  <c:v>5.35</c:v>
                </c:pt>
                <c:pt idx="26">
                  <c:v>5.31</c:v>
                </c:pt>
                <c:pt idx="27">
                  <c:v>5.15</c:v>
                </c:pt>
                <c:pt idx="28">
                  <c:v>4.72</c:v>
                </c:pt>
                <c:pt idx="29">
                  <c:v>4.4800000000000004</c:v>
                </c:pt>
                <c:pt idx="30">
                  <c:v>4.16</c:v>
                </c:pt>
                <c:pt idx="31">
                  <c:v>4.21</c:v>
                </c:pt>
                <c:pt idx="32">
                  <c:v>4.09</c:v>
                </c:pt>
                <c:pt idx="33">
                  <c:v>3.9</c:v>
                </c:pt>
                <c:pt idx="34">
                  <c:v>3.66</c:v>
                </c:pt>
                <c:pt idx="35">
                  <c:v>3.47</c:v>
                </c:pt>
                <c:pt idx="36">
                  <c:v>3.14</c:v>
                </c:pt>
                <c:pt idx="37">
                  <c:v>2.83</c:v>
                </c:pt>
                <c:pt idx="38">
                  <c:v>3.01</c:v>
                </c:pt>
                <c:pt idx="39">
                  <c:v>3.25</c:v>
                </c:pt>
                <c:pt idx="40">
                  <c:v>3.45</c:v>
                </c:pt>
                <c:pt idx="41">
                  <c:v>3.84</c:v>
                </c:pt>
                <c:pt idx="42">
                  <c:v>3.99</c:v>
                </c:pt>
                <c:pt idx="43">
                  <c:v>3.86</c:v>
                </c:pt>
                <c:pt idx="44">
                  <c:v>3.73</c:v>
                </c:pt>
                <c:pt idx="45">
                  <c:v>3.4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10é'!$A$11</c:f>
              <c:strCache>
                <c:ptCount val="1"/>
                <c:pt idx="0">
                  <c:v>Horvátország</c:v>
                </c:pt>
              </c:strCache>
            </c:strRef>
          </c:tx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1:$AU$11</c:f>
              <c:numCache>
                <c:formatCode>#,##0.00</c:formatCode>
                <c:ptCount val="46"/>
                <c:pt idx="0">
                  <c:v>7.54</c:v>
                </c:pt>
                <c:pt idx="1">
                  <c:v>7.26</c:v>
                </c:pt>
                <c:pt idx="2">
                  <c:v>7</c:v>
                </c:pt>
                <c:pt idx="3">
                  <c:v>6.59</c:v>
                </c:pt>
                <c:pt idx="4">
                  <c:v>6.5</c:v>
                </c:pt>
                <c:pt idx="5">
                  <c:v>6.37</c:v>
                </c:pt>
                <c:pt idx="6">
                  <c:v>6.43</c:v>
                </c:pt>
                <c:pt idx="7">
                  <c:v>6.36</c:v>
                </c:pt>
                <c:pt idx="8">
                  <c:v>5.58</c:v>
                </c:pt>
                <c:pt idx="9">
                  <c:v>4.78</c:v>
                </c:pt>
                <c:pt idx="10">
                  <c:v>4.5999999999999996</c:v>
                </c:pt>
                <c:pt idx="11">
                  <c:v>4.54</c:v>
                </c:pt>
                <c:pt idx="12">
                  <c:v>4.29</c:v>
                </c:pt>
                <c:pt idx="13">
                  <c:v>4.28</c:v>
                </c:pt>
                <c:pt idx="14">
                  <c:v>4.32</c:v>
                </c:pt>
                <c:pt idx="15">
                  <c:v>4.34</c:v>
                </c:pt>
                <c:pt idx="16">
                  <c:v>4.38</c:v>
                </c:pt>
                <c:pt idx="17">
                  <c:v>4.63</c:v>
                </c:pt>
                <c:pt idx="18">
                  <c:v>4.91</c:v>
                </c:pt>
                <c:pt idx="19">
                  <c:v>5.04</c:v>
                </c:pt>
                <c:pt idx="20">
                  <c:v>4.92</c:v>
                </c:pt>
                <c:pt idx="21">
                  <c:v>4.99</c:v>
                </c:pt>
                <c:pt idx="22">
                  <c:v>4.97</c:v>
                </c:pt>
                <c:pt idx="23">
                  <c:v>5.0999999999999996</c:v>
                </c:pt>
                <c:pt idx="24">
                  <c:v>5.1100000000000003</c:v>
                </c:pt>
                <c:pt idx="25">
                  <c:v>4.78</c:v>
                </c:pt>
                <c:pt idx="26">
                  <c:v>4.51</c:v>
                </c:pt>
                <c:pt idx="27">
                  <c:v>4.41</c:v>
                </c:pt>
                <c:pt idx="28">
                  <c:v>4.3099999999999996</c:v>
                </c:pt>
                <c:pt idx="29">
                  <c:v>3.94</c:v>
                </c:pt>
                <c:pt idx="30">
                  <c:v>3.72</c:v>
                </c:pt>
                <c:pt idx="31">
                  <c:v>3.68</c:v>
                </c:pt>
                <c:pt idx="32">
                  <c:v>3.57</c:v>
                </c:pt>
                <c:pt idx="33">
                  <c:v>3.54</c:v>
                </c:pt>
                <c:pt idx="34">
                  <c:v>3.52</c:v>
                </c:pt>
                <c:pt idx="35">
                  <c:v>3.52</c:v>
                </c:pt>
                <c:pt idx="36">
                  <c:v>3.32</c:v>
                </c:pt>
                <c:pt idx="37">
                  <c:v>3.24</c:v>
                </c:pt>
                <c:pt idx="38">
                  <c:v>3.08</c:v>
                </c:pt>
                <c:pt idx="39">
                  <c:v>3.17</c:v>
                </c:pt>
                <c:pt idx="40">
                  <c:v>2.98</c:v>
                </c:pt>
                <c:pt idx="41">
                  <c:v>3.07</c:v>
                </c:pt>
                <c:pt idx="42">
                  <c:v>4.2300000000000004</c:v>
                </c:pt>
                <c:pt idx="43">
                  <c:v>3.9</c:v>
                </c:pt>
                <c:pt idx="44">
                  <c:v>3.91</c:v>
                </c:pt>
                <c:pt idx="45">
                  <c:v>3.93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'10é'!$A$13</c:f>
              <c:strCache>
                <c:ptCount val="1"/>
                <c:pt idx="0">
                  <c:v>Lengyelország</c:v>
                </c:pt>
              </c:strCache>
            </c:strRef>
          </c:tx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3:$AU$13</c:f>
              <c:numCache>
                <c:formatCode>#,##0.00</c:formatCode>
                <c:ptCount val="46"/>
                <c:pt idx="0">
                  <c:v>5.68</c:v>
                </c:pt>
                <c:pt idx="1">
                  <c:v>5.46</c:v>
                </c:pt>
                <c:pt idx="2">
                  <c:v>5.37</c:v>
                </c:pt>
                <c:pt idx="3">
                  <c:v>5.49</c:v>
                </c:pt>
                <c:pt idx="4">
                  <c:v>5.41</c:v>
                </c:pt>
                <c:pt idx="5">
                  <c:v>5.24</c:v>
                </c:pt>
                <c:pt idx="6">
                  <c:v>4.99</c:v>
                </c:pt>
                <c:pt idx="7">
                  <c:v>4.88</c:v>
                </c:pt>
                <c:pt idx="8">
                  <c:v>4.8499999999999996</c:v>
                </c:pt>
                <c:pt idx="9">
                  <c:v>4.57</c:v>
                </c:pt>
                <c:pt idx="10">
                  <c:v>4.18</c:v>
                </c:pt>
                <c:pt idx="11">
                  <c:v>3.88</c:v>
                </c:pt>
                <c:pt idx="12">
                  <c:v>3.91</c:v>
                </c:pt>
                <c:pt idx="13">
                  <c:v>3.99</c:v>
                </c:pt>
                <c:pt idx="14">
                  <c:v>3.93</c:v>
                </c:pt>
                <c:pt idx="15">
                  <c:v>3.5</c:v>
                </c:pt>
                <c:pt idx="16">
                  <c:v>3.28</c:v>
                </c:pt>
                <c:pt idx="17">
                  <c:v>3.95</c:v>
                </c:pt>
                <c:pt idx="18">
                  <c:v>3.97</c:v>
                </c:pt>
                <c:pt idx="19">
                  <c:v>4.3</c:v>
                </c:pt>
                <c:pt idx="20">
                  <c:v>4.49</c:v>
                </c:pt>
                <c:pt idx="21">
                  <c:v>4.28</c:v>
                </c:pt>
                <c:pt idx="22">
                  <c:v>4.38</c:v>
                </c:pt>
                <c:pt idx="23">
                  <c:v>4.42</c:v>
                </c:pt>
                <c:pt idx="24">
                  <c:v>4.42</c:v>
                </c:pt>
                <c:pt idx="25">
                  <c:v>4.47</c:v>
                </c:pt>
                <c:pt idx="26">
                  <c:v>4.25</c:v>
                </c:pt>
                <c:pt idx="27">
                  <c:v>4.0999999999999996</c:v>
                </c:pt>
                <c:pt idx="28">
                  <c:v>3.8</c:v>
                </c:pt>
                <c:pt idx="29">
                  <c:v>3.54</c:v>
                </c:pt>
                <c:pt idx="30">
                  <c:v>3.34</c:v>
                </c:pt>
                <c:pt idx="31">
                  <c:v>3.36</c:v>
                </c:pt>
                <c:pt idx="32">
                  <c:v>3.1</c:v>
                </c:pt>
                <c:pt idx="33">
                  <c:v>2.72</c:v>
                </c:pt>
                <c:pt idx="34">
                  <c:v>2.54</c:v>
                </c:pt>
                <c:pt idx="35">
                  <c:v>2.5499999999999998</c:v>
                </c:pt>
                <c:pt idx="36">
                  <c:v>2.21</c:v>
                </c:pt>
                <c:pt idx="37">
                  <c:v>2.2000000000000002</c:v>
                </c:pt>
                <c:pt idx="38">
                  <c:v>2.33</c:v>
                </c:pt>
                <c:pt idx="39">
                  <c:v>2.37</c:v>
                </c:pt>
                <c:pt idx="40">
                  <c:v>2.82</c:v>
                </c:pt>
                <c:pt idx="41">
                  <c:v>3.19</c:v>
                </c:pt>
                <c:pt idx="42">
                  <c:v>3.16</c:v>
                </c:pt>
                <c:pt idx="43">
                  <c:v>2.88</c:v>
                </c:pt>
                <c:pt idx="44">
                  <c:v>2.91</c:v>
                </c:pt>
                <c:pt idx="45">
                  <c:v>2.66</c:v>
                </c:pt>
              </c:numCache>
            </c:numRef>
          </c:val>
          <c:smooth val="0"/>
        </c:ser>
        <c:ser>
          <c:idx val="6"/>
          <c:order val="4"/>
          <c:tx>
            <c:strRef>
              <c:f>'10é'!$A$15</c:f>
              <c:strCache>
                <c:ptCount val="1"/>
                <c:pt idx="0">
                  <c:v>Szlovénia</c:v>
                </c:pt>
              </c:strCache>
            </c:strRef>
          </c:tx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5:$AU$15</c:f>
              <c:numCache>
                <c:formatCode>#,##0.00</c:formatCode>
                <c:ptCount val="46"/>
                <c:pt idx="0">
                  <c:v>6.74</c:v>
                </c:pt>
                <c:pt idx="1">
                  <c:v>5.73</c:v>
                </c:pt>
                <c:pt idx="2">
                  <c:v>5.08</c:v>
                </c:pt>
                <c:pt idx="3">
                  <c:v>5.27</c:v>
                </c:pt>
                <c:pt idx="4">
                  <c:v>5.28</c:v>
                </c:pt>
                <c:pt idx="5">
                  <c:v>5.63</c:v>
                </c:pt>
                <c:pt idx="6">
                  <c:v>6.34</c:v>
                </c:pt>
                <c:pt idx="7">
                  <c:v>6.81</c:v>
                </c:pt>
                <c:pt idx="8">
                  <c:v>6.32</c:v>
                </c:pt>
                <c:pt idx="9">
                  <c:v>5.74</c:v>
                </c:pt>
                <c:pt idx="10">
                  <c:v>5.43</c:v>
                </c:pt>
                <c:pt idx="11">
                  <c:v>5.33</c:v>
                </c:pt>
                <c:pt idx="12">
                  <c:v>4.8099999999999996</c:v>
                </c:pt>
                <c:pt idx="13">
                  <c:v>4.88</c:v>
                </c:pt>
                <c:pt idx="14">
                  <c:v>5.09</c:v>
                </c:pt>
                <c:pt idx="15">
                  <c:v>5.93</c:v>
                </c:pt>
                <c:pt idx="16">
                  <c:v>5.35</c:v>
                </c:pt>
                <c:pt idx="17">
                  <c:v>6.38</c:v>
                </c:pt>
                <c:pt idx="18">
                  <c:v>6.58</c:v>
                </c:pt>
                <c:pt idx="19">
                  <c:v>6.51</c:v>
                </c:pt>
                <c:pt idx="20">
                  <c:v>6.56</c:v>
                </c:pt>
                <c:pt idx="21">
                  <c:v>6.47</c:v>
                </c:pt>
                <c:pt idx="22">
                  <c:v>5.91</c:v>
                </c:pt>
                <c:pt idx="23">
                  <c:v>5.27</c:v>
                </c:pt>
                <c:pt idx="24">
                  <c:v>4.7300000000000004</c:v>
                </c:pt>
                <c:pt idx="25">
                  <c:v>4.43</c:v>
                </c:pt>
                <c:pt idx="26">
                  <c:v>3.85</c:v>
                </c:pt>
                <c:pt idx="27">
                  <c:v>3.52</c:v>
                </c:pt>
                <c:pt idx="28">
                  <c:v>3.39</c:v>
                </c:pt>
                <c:pt idx="29">
                  <c:v>3.13</c:v>
                </c:pt>
                <c:pt idx="30">
                  <c:v>3.16</c:v>
                </c:pt>
                <c:pt idx="31">
                  <c:v>3.09</c:v>
                </c:pt>
                <c:pt idx="32">
                  <c:v>2.66</c:v>
                </c:pt>
                <c:pt idx="33">
                  <c:v>2.63</c:v>
                </c:pt>
                <c:pt idx="34">
                  <c:v>2.54</c:v>
                </c:pt>
                <c:pt idx="35">
                  <c:v>2.11</c:v>
                </c:pt>
                <c:pt idx="36">
                  <c:v>1.75</c:v>
                </c:pt>
                <c:pt idx="37">
                  <c:v>1.32</c:v>
                </c:pt>
                <c:pt idx="38">
                  <c:v>0.99</c:v>
                </c:pt>
                <c:pt idx="39">
                  <c:v>1.06</c:v>
                </c:pt>
                <c:pt idx="40">
                  <c:v>1.59</c:v>
                </c:pt>
                <c:pt idx="41">
                  <c:v>2.13</c:v>
                </c:pt>
                <c:pt idx="42">
                  <c:v>2.4300000000000002</c:v>
                </c:pt>
                <c:pt idx="43">
                  <c:v>2.0699999999999998</c:v>
                </c:pt>
                <c:pt idx="44">
                  <c:v>2.0499999999999998</c:v>
                </c:pt>
                <c:pt idx="45">
                  <c:v>1.8</c:v>
                </c:pt>
              </c:numCache>
            </c:numRef>
          </c:val>
          <c:smooth val="0"/>
        </c:ser>
        <c:ser>
          <c:idx val="0"/>
          <c:order val="5"/>
          <c:tx>
            <c:strRef>
              <c:f>'10é'!$A$10</c:f>
              <c:strCache>
                <c:ptCount val="1"/>
                <c:pt idx="0">
                  <c:v>Eurózóna</c:v>
                </c:pt>
              </c:strCache>
            </c:strRef>
          </c:tx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0:$AU$10</c:f>
              <c:numCache>
                <c:formatCode>#,##0.00</c:formatCode>
                <c:ptCount val="46"/>
                <c:pt idx="0">
                  <c:v>4.5199999999999996</c:v>
                </c:pt>
                <c:pt idx="1">
                  <c:v>4.3099999999999996</c:v>
                </c:pt>
                <c:pt idx="2">
                  <c:v>3.96</c:v>
                </c:pt>
                <c:pt idx="3">
                  <c:v>4.12</c:v>
                </c:pt>
                <c:pt idx="4">
                  <c:v>4.1399999999999997</c:v>
                </c:pt>
                <c:pt idx="5">
                  <c:v>4.1500000000000004</c:v>
                </c:pt>
                <c:pt idx="6">
                  <c:v>4.0199999999999996</c:v>
                </c:pt>
                <c:pt idx="7">
                  <c:v>3.9</c:v>
                </c:pt>
                <c:pt idx="8">
                  <c:v>3.67</c:v>
                </c:pt>
                <c:pt idx="9">
                  <c:v>3.47</c:v>
                </c:pt>
                <c:pt idx="10">
                  <c:v>3.37</c:v>
                </c:pt>
                <c:pt idx="11">
                  <c:v>3.08</c:v>
                </c:pt>
                <c:pt idx="12">
                  <c:v>3.02</c:v>
                </c:pt>
                <c:pt idx="13">
                  <c:v>3.12</c:v>
                </c:pt>
                <c:pt idx="14">
                  <c:v>3</c:v>
                </c:pt>
                <c:pt idx="15">
                  <c:v>2.79</c:v>
                </c:pt>
                <c:pt idx="16">
                  <c:v>2.65</c:v>
                </c:pt>
                <c:pt idx="17">
                  <c:v>3.01</c:v>
                </c:pt>
                <c:pt idx="18">
                  <c:v>3.07</c:v>
                </c:pt>
                <c:pt idx="19">
                  <c:v>3.12</c:v>
                </c:pt>
                <c:pt idx="20">
                  <c:v>3.23</c:v>
                </c:pt>
                <c:pt idx="21">
                  <c:v>3.03</c:v>
                </c:pt>
                <c:pt idx="22">
                  <c:v>2.9</c:v>
                </c:pt>
                <c:pt idx="23">
                  <c:v>2.96</c:v>
                </c:pt>
                <c:pt idx="24">
                  <c:v>2.83</c:v>
                </c:pt>
                <c:pt idx="25">
                  <c:v>2.64</c:v>
                </c:pt>
                <c:pt idx="26">
                  <c:v>2.4900000000000002</c:v>
                </c:pt>
                <c:pt idx="27">
                  <c:v>2.36</c:v>
                </c:pt>
                <c:pt idx="28">
                  <c:v>2.2200000000000002</c:v>
                </c:pt>
                <c:pt idx="29">
                  <c:v>2.08</c:v>
                </c:pt>
                <c:pt idx="30">
                  <c:v>1.95</c:v>
                </c:pt>
                <c:pt idx="31">
                  <c:v>1.77</c:v>
                </c:pt>
                <c:pt idx="32">
                  <c:v>1.66</c:v>
                </c:pt>
                <c:pt idx="33">
                  <c:v>1.61</c:v>
                </c:pt>
                <c:pt idx="34">
                  <c:v>1.54</c:v>
                </c:pt>
                <c:pt idx="35">
                  <c:v>1.34</c:v>
                </c:pt>
                <c:pt idx="36">
                  <c:v>1.1399999999999999</c:v>
                </c:pt>
                <c:pt idx="37">
                  <c:v>1.05</c:v>
                </c:pt>
                <c:pt idx="38">
                  <c:v>0.91</c:v>
                </c:pt>
                <c:pt idx="39">
                  <c:v>0.91</c:v>
                </c:pt>
                <c:pt idx="40">
                  <c:v>1.32</c:v>
                </c:pt>
                <c:pt idx="41">
                  <c:v>1.64</c:v>
                </c:pt>
                <c:pt idx="42">
                  <c:v>1.33</c:v>
                </c:pt>
                <c:pt idx="43">
                  <c:v>1.39</c:v>
                </c:pt>
                <c:pt idx="44">
                  <c:v>1.39</c:v>
                </c:pt>
                <c:pt idx="45">
                  <c:v>1.21</c:v>
                </c:pt>
              </c:numCache>
            </c:numRef>
          </c:val>
          <c:smooth val="0"/>
        </c:ser>
        <c:ser>
          <c:idx val="7"/>
          <c:order val="6"/>
          <c:tx>
            <c:strRef>
              <c:f>'10é'!$A$16</c:f>
              <c:strCache>
                <c:ptCount val="1"/>
                <c:pt idx="0">
                  <c:v>Szlovákia</c:v>
                </c:pt>
              </c:strCache>
            </c:strRef>
          </c:tx>
          <c:spPr>
            <a:ln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10é'!$B$8:$AU$8</c:f>
              <c:numCache>
                <c:formatCode>yyyy/mm/</c:formatCode>
                <c:ptCount val="46"/>
                <c:pt idx="0">
                  <c:v>40909</c:v>
                </c:pt>
                <c:pt idx="1">
                  <c:v>40940</c:v>
                </c:pt>
                <c:pt idx="2">
                  <c:v>40969</c:v>
                </c:pt>
                <c:pt idx="3">
                  <c:v>41000</c:v>
                </c:pt>
                <c:pt idx="4">
                  <c:v>41030</c:v>
                </c:pt>
                <c:pt idx="5">
                  <c:v>41061</c:v>
                </c:pt>
                <c:pt idx="6">
                  <c:v>41091</c:v>
                </c:pt>
                <c:pt idx="7">
                  <c:v>41122</c:v>
                </c:pt>
                <c:pt idx="8">
                  <c:v>41153</c:v>
                </c:pt>
                <c:pt idx="9">
                  <c:v>41183</c:v>
                </c:pt>
                <c:pt idx="10">
                  <c:v>41214</c:v>
                </c:pt>
                <c:pt idx="11">
                  <c:v>41244</c:v>
                </c:pt>
                <c:pt idx="12">
                  <c:v>41275</c:v>
                </c:pt>
                <c:pt idx="13">
                  <c:v>41306</c:v>
                </c:pt>
                <c:pt idx="14">
                  <c:v>41334</c:v>
                </c:pt>
                <c:pt idx="15">
                  <c:v>41365</c:v>
                </c:pt>
                <c:pt idx="16">
                  <c:v>41395</c:v>
                </c:pt>
                <c:pt idx="17">
                  <c:v>41426</c:v>
                </c:pt>
                <c:pt idx="18">
                  <c:v>41456</c:v>
                </c:pt>
                <c:pt idx="19">
                  <c:v>41487</c:v>
                </c:pt>
                <c:pt idx="20">
                  <c:v>41518</c:v>
                </c:pt>
                <c:pt idx="21">
                  <c:v>41548</c:v>
                </c:pt>
                <c:pt idx="22">
                  <c:v>41579</c:v>
                </c:pt>
                <c:pt idx="23">
                  <c:v>41609</c:v>
                </c:pt>
                <c:pt idx="24">
                  <c:v>41640</c:v>
                </c:pt>
                <c:pt idx="25">
                  <c:v>41671</c:v>
                </c:pt>
                <c:pt idx="26">
                  <c:v>41699</c:v>
                </c:pt>
                <c:pt idx="27">
                  <c:v>41730</c:v>
                </c:pt>
                <c:pt idx="28">
                  <c:v>41760</c:v>
                </c:pt>
                <c:pt idx="29">
                  <c:v>41791</c:v>
                </c:pt>
                <c:pt idx="30">
                  <c:v>41821</c:v>
                </c:pt>
                <c:pt idx="31">
                  <c:v>41852</c:v>
                </c:pt>
                <c:pt idx="32">
                  <c:v>41883</c:v>
                </c:pt>
                <c:pt idx="33">
                  <c:v>41913</c:v>
                </c:pt>
                <c:pt idx="34">
                  <c:v>41944</c:v>
                </c:pt>
                <c:pt idx="35">
                  <c:v>41974</c:v>
                </c:pt>
                <c:pt idx="36">
                  <c:v>42005</c:v>
                </c:pt>
                <c:pt idx="37">
                  <c:v>42036</c:v>
                </c:pt>
                <c:pt idx="38">
                  <c:v>42064</c:v>
                </c:pt>
                <c:pt idx="39">
                  <c:v>42095</c:v>
                </c:pt>
                <c:pt idx="40">
                  <c:v>42125</c:v>
                </c:pt>
                <c:pt idx="41">
                  <c:v>42156</c:v>
                </c:pt>
                <c:pt idx="42">
                  <c:v>42186</c:v>
                </c:pt>
                <c:pt idx="43">
                  <c:v>42217</c:v>
                </c:pt>
                <c:pt idx="44">
                  <c:v>42248</c:v>
                </c:pt>
                <c:pt idx="45">
                  <c:v>42278</c:v>
                </c:pt>
              </c:numCache>
            </c:numRef>
          </c:cat>
          <c:val>
            <c:numRef>
              <c:f>'10é'!$B$16:$AU$16</c:f>
              <c:numCache>
                <c:formatCode>#,##0.00</c:formatCode>
                <c:ptCount val="46"/>
                <c:pt idx="0">
                  <c:v>5.22</c:v>
                </c:pt>
                <c:pt idx="1">
                  <c:v>4.9800000000000004</c:v>
                </c:pt>
                <c:pt idx="2">
                  <c:v>4.91</c:v>
                </c:pt>
                <c:pt idx="3">
                  <c:v>4.8099999999999996</c:v>
                </c:pt>
                <c:pt idx="4">
                  <c:v>4.8</c:v>
                </c:pt>
                <c:pt idx="5">
                  <c:v>4.8</c:v>
                </c:pt>
                <c:pt idx="6">
                  <c:v>4.41</c:v>
                </c:pt>
                <c:pt idx="7">
                  <c:v>4.24</c:v>
                </c:pt>
                <c:pt idx="8">
                  <c:v>4.2</c:v>
                </c:pt>
                <c:pt idx="9">
                  <c:v>4.2</c:v>
                </c:pt>
                <c:pt idx="10">
                  <c:v>4.1399999999999997</c:v>
                </c:pt>
                <c:pt idx="11">
                  <c:v>3.92</c:v>
                </c:pt>
                <c:pt idx="12">
                  <c:v>3.93</c:v>
                </c:pt>
                <c:pt idx="13">
                  <c:v>3.95</c:v>
                </c:pt>
                <c:pt idx="14">
                  <c:v>3.95</c:v>
                </c:pt>
                <c:pt idx="15">
                  <c:v>3.01</c:v>
                </c:pt>
                <c:pt idx="16">
                  <c:v>2.52</c:v>
                </c:pt>
                <c:pt idx="17">
                  <c:v>2.4500000000000002</c:v>
                </c:pt>
                <c:pt idx="18">
                  <c:v>3.15</c:v>
                </c:pt>
                <c:pt idx="19">
                  <c:v>3.15</c:v>
                </c:pt>
                <c:pt idx="20">
                  <c:v>3.15</c:v>
                </c:pt>
                <c:pt idx="21">
                  <c:v>3.15</c:v>
                </c:pt>
                <c:pt idx="22">
                  <c:v>3.15</c:v>
                </c:pt>
                <c:pt idx="23">
                  <c:v>2.69</c:v>
                </c:pt>
                <c:pt idx="24">
                  <c:v>2.5299999999999998</c:v>
                </c:pt>
                <c:pt idx="25">
                  <c:v>2.48</c:v>
                </c:pt>
                <c:pt idx="26">
                  <c:v>2.4700000000000002</c:v>
                </c:pt>
                <c:pt idx="27">
                  <c:v>2.4700000000000002</c:v>
                </c:pt>
                <c:pt idx="28">
                  <c:v>2.73</c:v>
                </c:pt>
                <c:pt idx="29">
                  <c:v>2.73</c:v>
                </c:pt>
                <c:pt idx="30">
                  <c:v>2.0699999999999998</c:v>
                </c:pt>
                <c:pt idx="31">
                  <c:v>1.81</c:v>
                </c:pt>
                <c:pt idx="32">
                  <c:v>1.57</c:v>
                </c:pt>
                <c:pt idx="33">
                  <c:v>1.39</c:v>
                </c:pt>
                <c:pt idx="34">
                  <c:v>1.38</c:v>
                </c:pt>
                <c:pt idx="35">
                  <c:v>1.22</c:v>
                </c:pt>
                <c:pt idx="36">
                  <c:v>1.22</c:v>
                </c:pt>
                <c:pt idx="37">
                  <c:v>1.21</c:v>
                </c:pt>
                <c:pt idx="38">
                  <c:v>1.19</c:v>
                </c:pt>
                <c:pt idx="39">
                  <c:v>1.18</c:v>
                </c:pt>
                <c:pt idx="40">
                  <c:v>0.74</c:v>
                </c:pt>
                <c:pt idx="41">
                  <c:v>1.1499999999999999</c:v>
                </c:pt>
                <c:pt idx="42">
                  <c:v>1.25</c:v>
                </c:pt>
                <c:pt idx="43">
                  <c:v>0.99</c:v>
                </c:pt>
                <c:pt idx="44">
                  <c:v>0.89</c:v>
                </c:pt>
                <c:pt idx="45">
                  <c:v>0.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186256"/>
        <c:axId val="606177552"/>
      </c:lineChart>
      <c:dateAx>
        <c:axId val="606186256"/>
        <c:scaling>
          <c:orientation val="minMax"/>
          <c:max val="42278"/>
        </c:scaling>
        <c:delete val="0"/>
        <c:axPos val="b"/>
        <c:numFmt formatCode="yyyy/mm/" sourceLinked="1"/>
        <c:majorTickMark val="out"/>
        <c:minorTickMark val="none"/>
        <c:tickLblPos val="nextTo"/>
        <c:crossAx val="606177552"/>
        <c:crosses val="autoZero"/>
        <c:auto val="1"/>
        <c:lblOffset val="100"/>
        <c:baseTimeUnit val="months"/>
      </c:dateAx>
      <c:valAx>
        <c:axId val="60617755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  <a:prstDash val="dash"/>
            </a:ln>
          </c:spPr>
        </c:majorGridlines>
        <c:numFmt formatCode="General" sourceLinked="0"/>
        <c:majorTickMark val="out"/>
        <c:minorTickMark val="none"/>
        <c:tickLblPos val="nextTo"/>
        <c:crossAx val="60618625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b="1">
                <a:solidFill>
                  <a:srgbClr val="FF0000"/>
                </a:solidFill>
              </a:defRPr>
            </a:pPr>
            <a:endParaRPr lang="hu-HU"/>
          </a:p>
        </c:txPr>
      </c:legendEntry>
      <c:overlay val="0"/>
    </c:legend>
    <c:plotVisOnly val="1"/>
    <c:dispBlanksAs val="gap"/>
    <c:showDLblsOverMax val="0"/>
  </c:chart>
  <c:txPr>
    <a:bodyPr/>
    <a:lstStyle/>
    <a:p>
      <a:pPr>
        <a:defRPr sz="2000"/>
      </a:pPr>
      <a:endParaRPr lang="hu-H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9763047126115182E-2"/>
          <c:y val="3.757602474572061E-2"/>
          <c:w val="0.87265007737748446"/>
          <c:h val="0.73781548313709588"/>
        </c:manualLayout>
      </c:layout>
      <c:lineChart>
        <c:grouping val="standard"/>
        <c:varyColors val="0"/>
        <c:ser>
          <c:idx val="11"/>
          <c:order val="0"/>
          <c:tx>
            <c:strRef>
              <c:f>[alco.xlsm]cds!$O$4</c:f>
              <c:strCache>
                <c:ptCount val="1"/>
                <c:pt idx="0">
                  <c:v>Bulgária</c:v>
                </c:pt>
              </c:strCache>
            </c:strRef>
          </c:tx>
          <c:spPr>
            <a:ln>
              <a:solidFill>
                <a:schemeClr val="bg2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[alco.xlsm]cds_west!$A$1578:$A$5000</c:f>
              <c:numCache>
                <c:formatCode>m/d/yyyy</c:formatCode>
                <c:ptCount val="3423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3</c:v>
                </c:pt>
                <c:pt idx="54">
                  <c:v>40984</c:v>
                </c:pt>
                <c:pt idx="55">
                  <c:v>40987</c:v>
                </c:pt>
                <c:pt idx="56">
                  <c:v>40988</c:v>
                </c:pt>
                <c:pt idx="57">
                  <c:v>40989</c:v>
                </c:pt>
                <c:pt idx="58">
                  <c:v>40990</c:v>
                </c:pt>
                <c:pt idx="59">
                  <c:v>40991</c:v>
                </c:pt>
                <c:pt idx="60">
                  <c:v>40994</c:v>
                </c:pt>
                <c:pt idx="61">
                  <c:v>40995</c:v>
                </c:pt>
                <c:pt idx="62">
                  <c:v>40996</c:v>
                </c:pt>
                <c:pt idx="63">
                  <c:v>40997</c:v>
                </c:pt>
                <c:pt idx="64">
                  <c:v>40998</c:v>
                </c:pt>
                <c:pt idx="65">
                  <c:v>41001</c:v>
                </c:pt>
                <c:pt idx="66">
                  <c:v>41002</c:v>
                </c:pt>
                <c:pt idx="67">
                  <c:v>41003</c:v>
                </c:pt>
                <c:pt idx="68">
                  <c:v>41004</c:v>
                </c:pt>
                <c:pt idx="69">
                  <c:v>41005</c:v>
                </c:pt>
                <c:pt idx="70">
                  <c:v>41008</c:v>
                </c:pt>
                <c:pt idx="71">
                  <c:v>41009</c:v>
                </c:pt>
                <c:pt idx="72">
                  <c:v>41010</c:v>
                </c:pt>
                <c:pt idx="73">
                  <c:v>41011</c:v>
                </c:pt>
                <c:pt idx="74">
                  <c:v>41012</c:v>
                </c:pt>
                <c:pt idx="75">
                  <c:v>41015</c:v>
                </c:pt>
                <c:pt idx="76">
                  <c:v>41016</c:v>
                </c:pt>
                <c:pt idx="77">
                  <c:v>41017</c:v>
                </c:pt>
                <c:pt idx="78">
                  <c:v>41018</c:v>
                </c:pt>
                <c:pt idx="79">
                  <c:v>41019</c:v>
                </c:pt>
                <c:pt idx="80">
                  <c:v>41022</c:v>
                </c:pt>
                <c:pt idx="81">
                  <c:v>41023</c:v>
                </c:pt>
                <c:pt idx="82">
                  <c:v>41024</c:v>
                </c:pt>
                <c:pt idx="83">
                  <c:v>41025</c:v>
                </c:pt>
                <c:pt idx="84">
                  <c:v>41026</c:v>
                </c:pt>
                <c:pt idx="85">
                  <c:v>41029</c:v>
                </c:pt>
                <c:pt idx="86">
                  <c:v>41030</c:v>
                </c:pt>
                <c:pt idx="87">
                  <c:v>41031</c:v>
                </c:pt>
                <c:pt idx="88">
                  <c:v>41032</c:v>
                </c:pt>
                <c:pt idx="89">
                  <c:v>41033</c:v>
                </c:pt>
                <c:pt idx="90">
                  <c:v>41036</c:v>
                </c:pt>
                <c:pt idx="91">
                  <c:v>41037</c:v>
                </c:pt>
                <c:pt idx="92">
                  <c:v>41038</c:v>
                </c:pt>
                <c:pt idx="93">
                  <c:v>41039</c:v>
                </c:pt>
                <c:pt idx="94">
                  <c:v>41040</c:v>
                </c:pt>
                <c:pt idx="95">
                  <c:v>41043</c:v>
                </c:pt>
                <c:pt idx="96">
                  <c:v>41044</c:v>
                </c:pt>
                <c:pt idx="97">
                  <c:v>41045</c:v>
                </c:pt>
                <c:pt idx="98">
                  <c:v>41046</c:v>
                </c:pt>
                <c:pt idx="99">
                  <c:v>41047</c:v>
                </c:pt>
                <c:pt idx="100">
                  <c:v>41050</c:v>
                </c:pt>
                <c:pt idx="101">
                  <c:v>41051</c:v>
                </c:pt>
                <c:pt idx="102">
                  <c:v>41052</c:v>
                </c:pt>
                <c:pt idx="103">
                  <c:v>41053</c:v>
                </c:pt>
                <c:pt idx="104">
                  <c:v>41054</c:v>
                </c:pt>
                <c:pt idx="105">
                  <c:v>41057</c:v>
                </c:pt>
                <c:pt idx="106">
                  <c:v>41058</c:v>
                </c:pt>
                <c:pt idx="107">
                  <c:v>41059</c:v>
                </c:pt>
                <c:pt idx="108">
                  <c:v>41060</c:v>
                </c:pt>
                <c:pt idx="109">
                  <c:v>41061</c:v>
                </c:pt>
                <c:pt idx="110">
                  <c:v>41064</c:v>
                </c:pt>
                <c:pt idx="111">
                  <c:v>41065</c:v>
                </c:pt>
                <c:pt idx="112">
                  <c:v>41066</c:v>
                </c:pt>
                <c:pt idx="113">
                  <c:v>41067</c:v>
                </c:pt>
                <c:pt idx="114">
                  <c:v>41068</c:v>
                </c:pt>
                <c:pt idx="115">
                  <c:v>41071</c:v>
                </c:pt>
                <c:pt idx="116">
                  <c:v>41072</c:v>
                </c:pt>
                <c:pt idx="117">
                  <c:v>41073</c:v>
                </c:pt>
                <c:pt idx="118">
                  <c:v>41074</c:v>
                </c:pt>
                <c:pt idx="119">
                  <c:v>41075</c:v>
                </c:pt>
                <c:pt idx="120">
                  <c:v>41078</c:v>
                </c:pt>
                <c:pt idx="121">
                  <c:v>41079</c:v>
                </c:pt>
                <c:pt idx="122">
                  <c:v>41080</c:v>
                </c:pt>
                <c:pt idx="123">
                  <c:v>41081</c:v>
                </c:pt>
                <c:pt idx="124">
                  <c:v>41082</c:v>
                </c:pt>
                <c:pt idx="125">
                  <c:v>41085</c:v>
                </c:pt>
                <c:pt idx="126">
                  <c:v>41086</c:v>
                </c:pt>
                <c:pt idx="127">
                  <c:v>41087</c:v>
                </c:pt>
                <c:pt idx="128">
                  <c:v>41088</c:v>
                </c:pt>
                <c:pt idx="129">
                  <c:v>41089</c:v>
                </c:pt>
                <c:pt idx="130">
                  <c:v>41092</c:v>
                </c:pt>
                <c:pt idx="131">
                  <c:v>41093</c:v>
                </c:pt>
                <c:pt idx="132">
                  <c:v>41094</c:v>
                </c:pt>
                <c:pt idx="133">
                  <c:v>41095</c:v>
                </c:pt>
                <c:pt idx="134">
                  <c:v>41096</c:v>
                </c:pt>
                <c:pt idx="135">
                  <c:v>41099</c:v>
                </c:pt>
                <c:pt idx="136">
                  <c:v>41100</c:v>
                </c:pt>
                <c:pt idx="137">
                  <c:v>41101</c:v>
                </c:pt>
                <c:pt idx="138">
                  <c:v>41102</c:v>
                </c:pt>
                <c:pt idx="139">
                  <c:v>41103</c:v>
                </c:pt>
                <c:pt idx="140">
                  <c:v>41106</c:v>
                </c:pt>
                <c:pt idx="141">
                  <c:v>41107</c:v>
                </c:pt>
                <c:pt idx="142">
                  <c:v>41108</c:v>
                </c:pt>
                <c:pt idx="143">
                  <c:v>41109</c:v>
                </c:pt>
                <c:pt idx="144">
                  <c:v>41110</c:v>
                </c:pt>
                <c:pt idx="145">
                  <c:v>41113</c:v>
                </c:pt>
                <c:pt idx="146">
                  <c:v>41114</c:v>
                </c:pt>
                <c:pt idx="147">
                  <c:v>41115</c:v>
                </c:pt>
                <c:pt idx="148">
                  <c:v>41116</c:v>
                </c:pt>
                <c:pt idx="149">
                  <c:v>41117</c:v>
                </c:pt>
                <c:pt idx="150">
                  <c:v>41120</c:v>
                </c:pt>
                <c:pt idx="151">
                  <c:v>41121</c:v>
                </c:pt>
                <c:pt idx="152">
                  <c:v>41122</c:v>
                </c:pt>
                <c:pt idx="153">
                  <c:v>41123</c:v>
                </c:pt>
                <c:pt idx="154">
                  <c:v>41124</c:v>
                </c:pt>
                <c:pt idx="155">
                  <c:v>41127</c:v>
                </c:pt>
                <c:pt idx="156">
                  <c:v>41128</c:v>
                </c:pt>
                <c:pt idx="157">
                  <c:v>41129</c:v>
                </c:pt>
                <c:pt idx="158">
                  <c:v>41130</c:v>
                </c:pt>
                <c:pt idx="159">
                  <c:v>41131</c:v>
                </c:pt>
                <c:pt idx="160">
                  <c:v>41134</c:v>
                </c:pt>
                <c:pt idx="161">
                  <c:v>41135</c:v>
                </c:pt>
                <c:pt idx="162">
                  <c:v>41136</c:v>
                </c:pt>
                <c:pt idx="163">
                  <c:v>41137</c:v>
                </c:pt>
                <c:pt idx="164">
                  <c:v>41138</c:v>
                </c:pt>
                <c:pt idx="165">
                  <c:v>41141</c:v>
                </c:pt>
                <c:pt idx="166">
                  <c:v>41142</c:v>
                </c:pt>
                <c:pt idx="167">
                  <c:v>41143</c:v>
                </c:pt>
                <c:pt idx="168">
                  <c:v>41144</c:v>
                </c:pt>
                <c:pt idx="169">
                  <c:v>41145</c:v>
                </c:pt>
                <c:pt idx="170">
                  <c:v>41148</c:v>
                </c:pt>
                <c:pt idx="171">
                  <c:v>41149</c:v>
                </c:pt>
                <c:pt idx="172">
                  <c:v>41150</c:v>
                </c:pt>
                <c:pt idx="173">
                  <c:v>41151</c:v>
                </c:pt>
                <c:pt idx="174">
                  <c:v>41152</c:v>
                </c:pt>
                <c:pt idx="175">
                  <c:v>41155</c:v>
                </c:pt>
                <c:pt idx="176">
                  <c:v>41156</c:v>
                </c:pt>
                <c:pt idx="177">
                  <c:v>41157</c:v>
                </c:pt>
                <c:pt idx="178">
                  <c:v>41158</c:v>
                </c:pt>
                <c:pt idx="179">
                  <c:v>41159</c:v>
                </c:pt>
                <c:pt idx="180">
                  <c:v>41162</c:v>
                </c:pt>
                <c:pt idx="181">
                  <c:v>41163</c:v>
                </c:pt>
                <c:pt idx="182">
                  <c:v>41164</c:v>
                </c:pt>
                <c:pt idx="183">
                  <c:v>41165</c:v>
                </c:pt>
                <c:pt idx="184">
                  <c:v>41166</c:v>
                </c:pt>
                <c:pt idx="185">
                  <c:v>41169</c:v>
                </c:pt>
                <c:pt idx="186">
                  <c:v>41170</c:v>
                </c:pt>
                <c:pt idx="187">
                  <c:v>41171</c:v>
                </c:pt>
                <c:pt idx="188">
                  <c:v>41172</c:v>
                </c:pt>
                <c:pt idx="189">
                  <c:v>41173</c:v>
                </c:pt>
                <c:pt idx="190">
                  <c:v>41176</c:v>
                </c:pt>
                <c:pt idx="191">
                  <c:v>41177</c:v>
                </c:pt>
                <c:pt idx="192">
                  <c:v>41178</c:v>
                </c:pt>
                <c:pt idx="193">
                  <c:v>41179</c:v>
                </c:pt>
                <c:pt idx="194">
                  <c:v>41180</c:v>
                </c:pt>
                <c:pt idx="195">
                  <c:v>41183</c:v>
                </c:pt>
                <c:pt idx="196">
                  <c:v>41184</c:v>
                </c:pt>
                <c:pt idx="197">
                  <c:v>41185</c:v>
                </c:pt>
                <c:pt idx="198">
                  <c:v>41186</c:v>
                </c:pt>
                <c:pt idx="199">
                  <c:v>41187</c:v>
                </c:pt>
                <c:pt idx="200">
                  <c:v>41190</c:v>
                </c:pt>
                <c:pt idx="201">
                  <c:v>41191</c:v>
                </c:pt>
                <c:pt idx="202">
                  <c:v>41192</c:v>
                </c:pt>
                <c:pt idx="203">
                  <c:v>41193</c:v>
                </c:pt>
                <c:pt idx="204">
                  <c:v>41194</c:v>
                </c:pt>
                <c:pt idx="205">
                  <c:v>41197</c:v>
                </c:pt>
                <c:pt idx="206">
                  <c:v>41198</c:v>
                </c:pt>
                <c:pt idx="207">
                  <c:v>41199</c:v>
                </c:pt>
                <c:pt idx="208">
                  <c:v>41200</c:v>
                </c:pt>
                <c:pt idx="209">
                  <c:v>41201</c:v>
                </c:pt>
                <c:pt idx="210">
                  <c:v>41204</c:v>
                </c:pt>
                <c:pt idx="211">
                  <c:v>41205</c:v>
                </c:pt>
                <c:pt idx="212">
                  <c:v>41206</c:v>
                </c:pt>
                <c:pt idx="213">
                  <c:v>41207</c:v>
                </c:pt>
                <c:pt idx="214">
                  <c:v>41208</c:v>
                </c:pt>
                <c:pt idx="215">
                  <c:v>41211</c:v>
                </c:pt>
                <c:pt idx="216">
                  <c:v>41212</c:v>
                </c:pt>
                <c:pt idx="217">
                  <c:v>41213</c:v>
                </c:pt>
                <c:pt idx="218">
                  <c:v>41214</c:v>
                </c:pt>
                <c:pt idx="219">
                  <c:v>41215</c:v>
                </c:pt>
                <c:pt idx="220">
                  <c:v>41218</c:v>
                </c:pt>
                <c:pt idx="221">
                  <c:v>41219</c:v>
                </c:pt>
                <c:pt idx="222">
                  <c:v>41220</c:v>
                </c:pt>
                <c:pt idx="223">
                  <c:v>41221</c:v>
                </c:pt>
                <c:pt idx="224">
                  <c:v>41222</c:v>
                </c:pt>
                <c:pt idx="225">
                  <c:v>41225</c:v>
                </c:pt>
                <c:pt idx="226">
                  <c:v>41226</c:v>
                </c:pt>
                <c:pt idx="227">
                  <c:v>41227</c:v>
                </c:pt>
                <c:pt idx="228">
                  <c:v>41228</c:v>
                </c:pt>
                <c:pt idx="229">
                  <c:v>41229</c:v>
                </c:pt>
                <c:pt idx="230">
                  <c:v>41232</c:v>
                </c:pt>
                <c:pt idx="231">
                  <c:v>41233</c:v>
                </c:pt>
                <c:pt idx="232">
                  <c:v>41234</c:v>
                </c:pt>
                <c:pt idx="233">
                  <c:v>41235</c:v>
                </c:pt>
                <c:pt idx="234">
                  <c:v>41236</c:v>
                </c:pt>
                <c:pt idx="235">
                  <c:v>41239</c:v>
                </c:pt>
                <c:pt idx="236">
                  <c:v>41240</c:v>
                </c:pt>
                <c:pt idx="237">
                  <c:v>41241</c:v>
                </c:pt>
                <c:pt idx="238">
                  <c:v>41242</c:v>
                </c:pt>
                <c:pt idx="239">
                  <c:v>41243</c:v>
                </c:pt>
                <c:pt idx="240">
                  <c:v>41246</c:v>
                </c:pt>
                <c:pt idx="241">
                  <c:v>41247</c:v>
                </c:pt>
                <c:pt idx="242">
                  <c:v>41248</c:v>
                </c:pt>
                <c:pt idx="243">
                  <c:v>41249</c:v>
                </c:pt>
                <c:pt idx="244">
                  <c:v>41250</c:v>
                </c:pt>
                <c:pt idx="245">
                  <c:v>41253</c:v>
                </c:pt>
                <c:pt idx="246">
                  <c:v>41254</c:v>
                </c:pt>
                <c:pt idx="247">
                  <c:v>41255</c:v>
                </c:pt>
                <c:pt idx="248">
                  <c:v>41256</c:v>
                </c:pt>
                <c:pt idx="249">
                  <c:v>41257</c:v>
                </c:pt>
                <c:pt idx="250">
                  <c:v>41260</c:v>
                </c:pt>
                <c:pt idx="251">
                  <c:v>41261</c:v>
                </c:pt>
                <c:pt idx="252">
                  <c:v>41262</c:v>
                </c:pt>
                <c:pt idx="253">
                  <c:v>41263</c:v>
                </c:pt>
                <c:pt idx="254">
                  <c:v>41264</c:v>
                </c:pt>
                <c:pt idx="255">
                  <c:v>41267</c:v>
                </c:pt>
                <c:pt idx="256">
                  <c:v>41268</c:v>
                </c:pt>
                <c:pt idx="257">
                  <c:v>41269</c:v>
                </c:pt>
                <c:pt idx="258">
                  <c:v>41270</c:v>
                </c:pt>
                <c:pt idx="259">
                  <c:v>41271</c:v>
                </c:pt>
                <c:pt idx="260">
                  <c:v>41274</c:v>
                </c:pt>
                <c:pt idx="261">
                  <c:v>41275</c:v>
                </c:pt>
                <c:pt idx="262">
                  <c:v>41276</c:v>
                </c:pt>
                <c:pt idx="263">
                  <c:v>41277</c:v>
                </c:pt>
                <c:pt idx="264">
                  <c:v>41278</c:v>
                </c:pt>
                <c:pt idx="265">
                  <c:v>41281</c:v>
                </c:pt>
                <c:pt idx="266">
                  <c:v>41282</c:v>
                </c:pt>
                <c:pt idx="267">
                  <c:v>41283</c:v>
                </c:pt>
                <c:pt idx="268">
                  <c:v>41284</c:v>
                </c:pt>
                <c:pt idx="269">
                  <c:v>41285</c:v>
                </c:pt>
                <c:pt idx="270">
                  <c:v>41288</c:v>
                </c:pt>
                <c:pt idx="271">
                  <c:v>41289</c:v>
                </c:pt>
                <c:pt idx="272">
                  <c:v>41290</c:v>
                </c:pt>
                <c:pt idx="273">
                  <c:v>41291</c:v>
                </c:pt>
                <c:pt idx="274">
                  <c:v>41292</c:v>
                </c:pt>
                <c:pt idx="275">
                  <c:v>41295</c:v>
                </c:pt>
                <c:pt idx="276">
                  <c:v>41296</c:v>
                </c:pt>
                <c:pt idx="277">
                  <c:v>41297</c:v>
                </c:pt>
                <c:pt idx="278">
                  <c:v>41298</c:v>
                </c:pt>
                <c:pt idx="279">
                  <c:v>41299</c:v>
                </c:pt>
                <c:pt idx="280">
                  <c:v>41302</c:v>
                </c:pt>
                <c:pt idx="281">
                  <c:v>41303</c:v>
                </c:pt>
                <c:pt idx="282">
                  <c:v>41304</c:v>
                </c:pt>
                <c:pt idx="283">
                  <c:v>41305</c:v>
                </c:pt>
                <c:pt idx="284">
                  <c:v>41306</c:v>
                </c:pt>
                <c:pt idx="285">
                  <c:v>41309</c:v>
                </c:pt>
                <c:pt idx="286">
                  <c:v>41310</c:v>
                </c:pt>
                <c:pt idx="287">
                  <c:v>41311</c:v>
                </c:pt>
                <c:pt idx="288">
                  <c:v>41312</c:v>
                </c:pt>
                <c:pt idx="289">
                  <c:v>41313</c:v>
                </c:pt>
                <c:pt idx="290">
                  <c:v>41316</c:v>
                </c:pt>
                <c:pt idx="291">
                  <c:v>41317</c:v>
                </c:pt>
                <c:pt idx="292">
                  <c:v>41318</c:v>
                </c:pt>
                <c:pt idx="293">
                  <c:v>41319</c:v>
                </c:pt>
                <c:pt idx="294">
                  <c:v>41320</c:v>
                </c:pt>
                <c:pt idx="295">
                  <c:v>41323</c:v>
                </c:pt>
                <c:pt idx="296">
                  <c:v>41324</c:v>
                </c:pt>
                <c:pt idx="297">
                  <c:v>41325</c:v>
                </c:pt>
                <c:pt idx="298">
                  <c:v>41326</c:v>
                </c:pt>
                <c:pt idx="299">
                  <c:v>41327</c:v>
                </c:pt>
                <c:pt idx="300">
                  <c:v>41330</c:v>
                </c:pt>
                <c:pt idx="301">
                  <c:v>41331</c:v>
                </c:pt>
                <c:pt idx="302">
                  <c:v>41332</c:v>
                </c:pt>
                <c:pt idx="303">
                  <c:v>41333</c:v>
                </c:pt>
                <c:pt idx="304">
                  <c:v>41334</c:v>
                </c:pt>
                <c:pt idx="305">
                  <c:v>41337</c:v>
                </c:pt>
                <c:pt idx="306">
                  <c:v>41338</c:v>
                </c:pt>
                <c:pt idx="307">
                  <c:v>41339</c:v>
                </c:pt>
                <c:pt idx="308">
                  <c:v>41340</c:v>
                </c:pt>
                <c:pt idx="309">
                  <c:v>41341</c:v>
                </c:pt>
                <c:pt idx="310">
                  <c:v>41344</c:v>
                </c:pt>
                <c:pt idx="311">
                  <c:v>41345</c:v>
                </c:pt>
                <c:pt idx="312">
                  <c:v>41346</c:v>
                </c:pt>
                <c:pt idx="313">
                  <c:v>41347</c:v>
                </c:pt>
                <c:pt idx="314">
                  <c:v>41348</c:v>
                </c:pt>
                <c:pt idx="315">
                  <c:v>41351</c:v>
                </c:pt>
                <c:pt idx="316">
                  <c:v>41352</c:v>
                </c:pt>
                <c:pt idx="317">
                  <c:v>41353</c:v>
                </c:pt>
                <c:pt idx="318">
                  <c:v>41354</c:v>
                </c:pt>
                <c:pt idx="319">
                  <c:v>41355</c:v>
                </c:pt>
                <c:pt idx="320">
                  <c:v>41358</c:v>
                </c:pt>
                <c:pt idx="321">
                  <c:v>41359</c:v>
                </c:pt>
                <c:pt idx="322">
                  <c:v>41360</c:v>
                </c:pt>
                <c:pt idx="323">
                  <c:v>41361</c:v>
                </c:pt>
                <c:pt idx="324">
                  <c:v>41362</c:v>
                </c:pt>
                <c:pt idx="325">
                  <c:v>41365</c:v>
                </c:pt>
                <c:pt idx="326">
                  <c:v>41366</c:v>
                </c:pt>
                <c:pt idx="327">
                  <c:v>41367</c:v>
                </c:pt>
                <c:pt idx="328">
                  <c:v>41368</c:v>
                </c:pt>
                <c:pt idx="329">
                  <c:v>41369</c:v>
                </c:pt>
                <c:pt idx="330">
                  <c:v>41372</c:v>
                </c:pt>
                <c:pt idx="331">
                  <c:v>41373</c:v>
                </c:pt>
                <c:pt idx="332">
                  <c:v>41374</c:v>
                </c:pt>
                <c:pt idx="333">
                  <c:v>41375</c:v>
                </c:pt>
                <c:pt idx="334">
                  <c:v>41376</c:v>
                </c:pt>
                <c:pt idx="335">
                  <c:v>41379</c:v>
                </c:pt>
                <c:pt idx="336">
                  <c:v>41380</c:v>
                </c:pt>
                <c:pt idx="337">
                  <c:v>41381</c:v>
                </c:pt>
                <c:pt idx="338">
                  <c:v>41382</c:v>
                </c:pt>
                <c:pt idx="339">
                  <c:v>41383</c:v>
                </c:pt>
                <c:pt idx="340">
                  <c:v>41386</c:v>
                </c:pt>
                <c:pt idx="341">
                  <c:v>41387</c:v>
                </c:pt>
                <c:pt idx="342">
                  <c:v>41388</c:v>
                </c:pt>
                <c:pt idx="343">
                  <c:v>41389</c:v>
                </c:pt>
                <c:pt idx="344">
                  <c:v>41390</c:v>
                </c:pt>
                <c:pt idx="345">
                  <c:v>41393</c:v>
                </c:pt>
                <c:pt idx="346">
                  <c:v>41394</c:v>
                </c:pt>
                <c:pt idx="347">
                  <c:v>41395</c:v>
                </c:pt>
                <c:pt idx="348">
                  <c:v>41396</c:v>
                </c:pt>
                <c:pt idx="349">
                  <c:v>41397</c:v>
                </c:pt>
                <c:pt idx="350">
                  <c:v>41400</c:v>
                </c:pt>
                <c:pt idx="351">
                  <c:v>41401</c:v>
                </c:pt>
                <c:pt idx="352">
                  <c:v>41402</c:v>
                </c:pt>
                <c:pt idx="353">
                  <c:v>41403</c:v>
                </c:pt>
                <c:pt idx="354">
                  <c:v>41404</c:v>
                </c:pt>
                <c:pt idx="355">
                  <c:v>41407</c:v>
                </c:pt>
                <c:pt idx="356">
                  <c:v>41408</c:v>
                </c:pt>
                <c:pt idx="357">
                  <c:v>41409</c:v>
                </c:pt>
                <c:pt idx="358">
                  <c:v>41410</c:v>
                </c:pt>
                <c:pt idx="359">
                  <c:v>41411</c:v>
                </c:pt>
                <c:pt idx="360">
                  <c:v>41414</c:v>
                </c:pt>
                <c:pt idx="361">
                  <c:v>41415</c:v>
                </c:pt>
                <c:pt idx="362">
                  <c:v>41416</c:v>
                </c:pt>
                <c:pt idx="363">
                  <c:v>41417</c:v>
                </c:pt>
                <c:pt idx="364">
                  <c:v>41418</c:v>
                </c:pt>
                <c:pt idx="365">
                  <c:v>41421</c:v>
                </c:pt>
                <c:pt idx="366">
                  <c:v>41422</c:v>
                </c:pt>
                <c:pt idx="367">
                  <c:v>41423</c:v>
                </c:pt>
                <c:pt idx="368">
                  <c:v>41424</c:v>
                </c:pt>
                <c:pt idx="369">
                  <c:v>41425</c:v>
                </c:pt>
                <c:pt idx="370">
                  <c:v>41428</c:v>
                </c:pt>
                <c:pt idx="371">
                  <c:v>41429</c:v>
                </c:pt>
                <c:pt idx="372">
                  <c:v>41430</c:v>
                </c:pt>
                <c:pt idx="373">
                  <c:v>41431</c:v>
                </c:pt>
                <c:pt idx="374">
                  <c:v>41432</c:v>
                </c:pt>
                <c:pt idx="375">
                  <c:v>41435</c:v>
                </c:pt>
                <c:pt idx="376">
                  <c:v>41436</c:v>
                </c:pt>
                <c:pt idx="377">
                  <c:v>41437</c:v>
                </c:pt>
                <c:pt idx="378">
                  <c:v>41438</c:v>
                </c:pt>
                <c:pt idx="379">
                  <c:v>41439</c:v>
                </c:pt>
                <c:pt idx="380">
                  <c:v>41442</c:v>
                </c:pt>
                <c:pt idx="381">
                  <c:v>41443</c:v>
                </c:pt>
                <c:pt idx="382">
                  <c:v>41444</c:v>
                </c:pt>
                <c:pt idx="383">
                  <c:v>41445</c:v>
                </c:pt>
                <c:pt idx="384">
                  <c:v>41446</c:v>
                </c:pt>
                <c:pt idx="385">
                  <c:v>41449</c:v>
                </c:pt>
                <c:pt idx="386">
                  <c:v>41450</c:v>
                </c:pt>
                <c:pt idx="387">
                  <c:v>41451</c:v>
                </c:pt>
                <c:pt idx="388">
                  <c:v>41452</c:v>
                </c:pt>
                <c:pt idx="389">
                  <c:v>41453</c:v>
                </c:pt>
                <c:pt idx="390">
                  <c:v>41456</c:v>
                </c:pt>
                <c:pt idx="391">
                  <c:v>41457</c:v>
                </c:pt>
                <c:pt idx="392">
                  <c:v>41458</c:v>
                </c:pt>
                <c:pt idx="393">
                  <c:v>41459</c:v>
                </c:pt>
                <c:pt idx="394">
                  <c:v>41460</c:v>
                </c:pt>
                <c:pt idx="395">
                  <c:v>41463</c:v>
                </c:pt>
                <c:pt idx="396">
                  <c:v>41464</c:v>
                </c:pt>
                <c:pt idx="397">
                  <c:v>41465</c:v>
                </c:pt>
                <c:pt idx="398">
                  <c:v>41466</c:v>
                </c:pt>
                <c:pt idx="399">
                  <c:v>41467</c:v>
                </c:pt>
                <c:pt idx="400">
                  <c:v>41470</c:v>
                </c:pt>
                <c:pt idx="401">
                  <c:v>41471</c:v>
                </c:pt>
                <c:pt idx="402">
                  <c:v>41472</c:v>
                </c:pt>
                <c:pt idx="403">
                  <c:v>41473</c:v>
                </c:pt>
                <c:pt idx="404">
                  <c:v>41474</c:v>
                </c:pt>
                <c:pt idx="405">
                  <c:v>41477</c:v>
                </c:pt>
                <c:pt idx="406">
                  <c:v>41478</c:v>
                </c:pt>
                <c:pt idx="407">
                  <c:v>41479</c:v>
                </c:pt>
                <c:pt idx="408">
                  <c:v>41480</c:v>
                </c:pt>
                <c:pt idx="409">
                  <c:v>41481</c:v>
                </c:pt>
                <c:pt idx="410">
                  <c:v>41484</c:v>
                </c:pt>
                <c:pt idx="411">
                  <c:v>41485</c:v>
                </c:pt>
                <c:pt idx="412">
                  <c:v>41486</c:v>
                </c:pt>
                <c:pt idx="413">
                  <c:v>41487</c:v>
                </c:pt>
                <c:pt idx="414">
                  <c:v>41488</c:v>
                </c:pt>
                <c:pt idx="415">
                  <c:v>41491</c:v>
                </c:pt>
                <c:pt idx="416">
                  <c:v>41492</c:v>
                </c:pt>
                <c:pt idx="417">
                  <c:v>41493</c:v>
                </c:pt>
                <c:pt idx="418">
                  <c:v>41494</c:v>
                </c:pt>
                <c:pt idx="419">
                  <c:v>41495</c:v>
                </c:pt>
                <c:pt idx="420">
                  <c:v>41498</c:v>
                </c:pt>
                <c:pt idx="421">
                  <c:v>41499</c:v>
                </c:pt>
                <c:pt idx="422">
                  <c:v>41500</c:v>
                </c:pt>
                <c:pt idx="423">
                  <c:v>41501</c:v>
                </c:pt>
                <c:pt idx="424">
                  <c:v>41502</c:v>
                </c:pt>
                <c:pt idx="425">
                  <c:v>41505</c:v>
                </c:pt>
                <c:pt idx="426">
                  <c:v>41506</c:v>
                </c:pt>
                <c:pt idx="427">
                  <c:v>41507</c:v>
                </c:pt>
                <c:pt idx="428">
                  <c:v>41508</c:v>
                </c:pt>
                <c:pt idx="429">
                  <c:v>41509</c:v>
                </c:pt>
                <c:pt idx="430">
                  <c:v>41512</c:v>
                </c:pt>
                <c:pt idx="431">
                  <c:v>41513</c:v>
                </c:pt>
                <c:pt idx="432">
                  <c:v>41514</c:v>
                </c:pt>
                <c:pt idx="433">
                  <c:v>41515</c:v>
                </c:pt>
                <c:pt idx="434">
                  <c:v>41516</c:v>
                </c:pt>
                <c:pt idx="435">
                  <c:v>41519</c:v>
                </c:pt>
                <c:pt idx="436">
                  <c:v>41520</c:v>
                </c:pt>
                <c:pt idx="437">
                  <c:v>41521</c:v>
                </c:pt>
                <c:pt idx="438">
                  <c:v>41522</c:v>
                </c:pt>
                <c:pt idx="439">
                  <c:v>41523</c:v>
                </c:pt>
                <c:pt idx="440">
                  <c:v>41526</c:v>
                </c:pt>
                <c:pt idx="441">
                  <c:v>41527</c:v>
                </c:pt>
                <c:pt idx="442">
                  <c:v>41528</c:v>
                </c:pt>
                <c:pt idx="443">
                  <c:v>41529</c:v>
                </c:pt>
                <c:pt idx="444">
                  <c:v>41530</c:v>
                </c:pt>
                <c:pt idx="445">
                  <c:v>41533</c:v>
                </c:pt>
                <c:pt idx="446">
                  <c:v>41534</c:v>
                </c:pt>
                <c:pt idx="447">
                  <c:v>41535</c:v>
                </c:pt>
                <c:pt idx="448">
                  <c:v>41536</c:v>
                </c:pt>
                <c:pt idx="449">
                  <c:v>41537</c:v>
                </c:pt>
                <c:pt idx="450">
                  <c:v>41540</c:v>
                </c:pt>
                <c:pt idx="451">
                  <c:v>41541</c:v>
                </c:pt>
                <c:pt idx="452">
                  <c:v>41542</c:v>
                </c:pt>
                <c:pt idx="453">
                  <c:v>41543</c:v>
                </c:pt>
                <c:pt idx="454">
                  <c:v>41544</c:v>
                </c:pt>
                <c:pt idx="455">
                  <c:v>41547</c:v>
                </c:pt>
                <c:pt idx="456">
                  <c:v>41548</c:v>
                </c:pt>
                <c:pt idx="457">
                  <c:v>41549</c:v>
                </c:pt>
                <c:pt idx="458">
                  <c:v>41550</c:v>
                </c:pt>
                <c:pt idx="459">
                  <c:v>41551</c:v>
                </c:pt>
                <c:pt idx="460">
                  <c:v>41554</c:v>
                </c:pt>
                <c:pt idx="461">
                  <c:v>41555</c:v>
                </c:pt>
                <c:pt idx="462">
                  <c:v>41556</c:v>
                </c:pt>
                <c:pt idx="463">
                  <c:v>41557</c:v>
                </c:pt>
                <c:pt idx="464">
                  <c:v>41558</c:v>
                </c:pt>
                <c:pt idx="465">
                  <c:v>41561</c:v>
                </c:pt>
                <c:pt idx="466">
                  <c:v>41562</c:v>
                </c:pt>
                <c:pt idx="467">
                  <c:v>41563</c:v>
                </c:pt>
                <c:pt idx="468">
                  <c:v>41564</c:v>
                </c:pt>
                <c:pt idx="469">
                  <c:v>41565</c:v>
                </c:pt>
                <c:pt idx="470">
                  <c:v>41568</c:v>
                </c:pt>
                <c:pt idx="471">
                  <c:v>41569</c:v>
                </c:pt>
                <c:pt idx="472">
                  <c:v>41570</c:v>
                </c:pt>
                <c:pt idx="473">
                  <c:v>41571</c:v>
                </c:pt>
                <c:pt idx="474">
                  <c:v>41572</c:v>
                </c:pt>
                <c:pt idx="475">
                  <c:v>41575</c:v>
                </c:pt>
                <c:pt idx="476">
                  <c:v>41576</c:v>
                </c:pt>
                <c:pt idx="477">
                  <c:v>41577</c:v>
                </c:pt>
                <c:pt idx="478">
                  <c:v>41578</c:v>
                </c:pt>
                <c:pt idx="479">
                  <c:v>41579</c:v>
                </c:pt>
                <c:pt idx="480">
                  <c:v>41582</c:v>
                </c:pt>
                <c:pt idx="481">
                  <c:v>41583</c:v>
                </c:pt>
                <c:pt idx="482">
                  <c:v>41584</c:v>
                </c:pt>
                <c:pt idx="483">
                  <c:v>41585</c:v>
                </c:pt>
                <c:pt idx="484">
                  <c:v>41586</c:v>
                </c:pt>
                <c:pt idx="485">
                  <c:v>41589</c:v>
                </c:pt>
                <c:pt idx="486">
                  <c:v>41590</c:v>
                </c:pt>
                <c:pt idx="487">
                  <c:v>41591</c:v>
                </c:pt>
                <c:pt idx="488">
                  <c:v>41592</c:v>
                </c:pt>
                <c:pt idx="489">
                  <c:v>41593</c:v>
                </c:pt>
                <c:pt idx="490">
                  <c:v>41596</c:v>
                </c:pt>
                <c:pt idx="491">
                  <c:v>41597</c:v>
                </c:pt>
                <c:pt idx="492">
                  <c:v>41598</c:v>
                </c:pt>
                <c:pt idx="493">
                  <c:v>41599</c:v>
                </c:pt>
                <c:pt idx="494">
                  <c:v>41600</c:v>
                </c:pt>
                <c:pt idx="495">
                  <c:v>41603</c:v>
                </c:pt>
                <c:pt idx="496">
                  <c:v>41604</c:v>
                </c:pt>
                <c:pt idx="497">
                  <c:v>41605</c:v>
                </c:pt>
                <c:pt idx="498">
                  <c:v>41606</c:v>
                </c:pt>
                <c:pt idx="499">
                  <c:v>41607</c:v>
                </c:pt>
                <c:pt idx="500">
                  <c:v>41610</c:v>
                </c:pt>
                <c:pt idx="501">
                  <c:v>41611</c:v>
                </c:pt>
                <c:pt idx="502">
                  <c:v>41612</c:v>
                </c:pt>
                <c:pt idx="503">
                  <c:v>41613</c:v>
                </c:pt>
                <c:pt idx="504">
                  <c:v>41614</c:v>
                </c:pt>
                <c:pt idx="505">
                  <c:v>41617</c:v>
                </c:pt>
                <c:pt idx="506">
                  <c:v>41618</c:v>
                </c:pt>
                <c:pt idx="507">
                  <c:v>41619</c:v>
                </c:pt>
                <c:pt idx="508">
                  <c:v>41620</c:v>
                </c:pt>
                <c:pt idx="509">
                  <c:v>41621</c:v>
                </c:pt>
                <c:pt idx="510">
                  <c:v>41624</c:v>
                </c:pt>
                <c:pt idx="511">
                  <c:v>41625</c:v>
                </c:pt>
                <c:pt idx="512">
                  <c:v>41626</c:v>
                </c:pt>
                <c:pt idx="513">
                  <c:v>41627</c:v>
                </c:pt>
                <c:pt idx="514">
                  <c:v>41628</c:v>
                </c:pt>
                <c:pt idx="515">
                  <c:v>41631</c:v>
                </c:pt>
                <c:pt idx="516">
                  <c:v>41632</c:v>
                </c:pt>
                <c:pt idx="517">
                  <c:v>41633</c:v>
                </c:pt>
                <c:pt idx="518">
                  <c:v>41634</c:v>
                </c:pt>
                <c:pt idx="519">
                  <c:v>41635</c:v>
                </c:pt>
                <c:pt idx="520">
                  <c:v>41638</c:v>
                </c:pt>
                <c:pt idx="521">
                  <c:v>41639</c:v>
                </c:pt>
                <c:pt idx="522">
                  <c:v>41640</c:v>
                </c:pt>
                <c:pt idx="523">
                  <c:v>41641</c:v>
                </c:pt>
                <c:pt idx="524">
                  <c:v>41642</c:v>
                </c:pt>
                <c:pt idx="525">
                  <c:v>41645</c:v>
                </c:pt>
                <c:pt idx="526">
                  <c:v>41646</c:v>
                </c:pt>
                <c:pt idx="527">
                  <c:v>41647</c:v>
                </c:pt>
                <c:pt idx="528">
                  <c:v>41648</c:v>
                </c:pt>
                <c:pt idx="529">
                  <c:v>41649</c:v>
                </c:pt>
                <c:pt idx="530">
                  <c:v>41652</c:v>
                </c:pt>
                <c:pt idx="531">
                  <c:v>41653</c:v>
                </c:pt>
                <c:pt idx="532">
                  <c:v>41654</c:v>
                </c:pt>
                <c:pt idx="533">
                  <c:v>41655</c:v>
                </c:pt>
                <c:pt idx="534">
                  <c:v>41656</c:v>
                </c:pt>
                <c:pt idx="535">
                  <c:v>41659</c:v>
                </c:pt>
                <c:pt idx="536">
                  <c:v>41660</c:v>
                </c:pt>
                <c:pt idx="537">
                  <c:v>41661</c:v>
                </c:pt>
                <c:pt idx="538">
                  <c:v>41662</c:v>
                </c:pt>
                <c:pt idx="539">
                  <c:v>41663</c:v>
                </c:pt>
                <c:pt idx="540">
                  <c:v>41666</c:v>
                </c:pt>
                <c:pt idx="541">
                  <c:v>41667</c:v>
                </c:pt>
                <c:pt idx="542">
                  <c:v>41668</c:v>
                </c:pt>
                <c:pt idx="543">
                  <c:v>41669</c:v>
                </c:pt>
                <c:pt idx="544">
                  <c:v>41670</c:v>
                </c:pt>
                <c:pt idx="545">
                  <c:v>41673</c:v>
                </c:pt>
                <c:pt idx="546">
                  <c:v>41674</c:v>
                </c:pt>
                <c:pt idx="547">
                  <c:v>41675</c:v>
                </c:pt>
                <c:pt idx="548">
                  <c:v>41676</c:v>
                </c:pt>
                <c:pt idx="549">
                  <c:v>41677</c:v>
                </c:pt>
                <c:pt idx="550">
                  <c:v>41680</c:v>
                </c:pt>
                <c:pt idx="551">
                  <c:v>41681</c:v>
                </c:pt>
                <c:pt idx="552">
                  <c:v>41682</c:v>
                </c:pt>
                <c:pt idx="553">
                  <c:v>41683</c:v>
                </c:pt>
                <c:pt idx="554">
                  <c:v>41684</c:v>
                </c:pt>
                <c:pt idx="555">
                  <c:v>41687</c:v>
                </c:pt>
                <c:pt idx="556">
                  <c:v>41688</c:v>
                </c:pt>
                <c:pt idx="557">
                  <c:v>41689</c:v>
                </c:pt>
                <c:pt idx="558">
                  <c:v>41690</c:v>
                </c:pt>
                <c:pt idx="559">
                  <c:v>41691</c:v>
                </c:pt>
                <c:pt idx="560">
                  <c:v>41694</c:v>
                </c:pt>
                <c:pt idx="561">
                  <c:v>41695</c:v>
                </c:pt>
                <c:pt idx="562">
                  <c:v>41696</c:v>
                </c:pt>
                <c:pt idx="563">
                  <c:v>41697</c:v>
                </c:pt>
                <c:pt idx="564">
                  <c:v>41698</c:v>
                </c:pt>
                <c:pt idx="565">
                  <c:v>41701</c:v>
                </c:pt>
                <c:pt idx="566">
                  <c:v>41702</c:v>
                </c:pt>
                <c:pt idx="567">
                  <c:v>41703</c:v>
                </c:pt>
                <c:pt idx="568">
                  <c:v>41704</c:v>
                </c:pt>
                <c:pt idx="569">
                  <c:v>41705</c:v>
                </c:pt>
                <c:pt idx="570">
                  <c:v>41708</c:v>
                </c:pt>
                <c:pt idx="571">
                  <c:v>41709</c:v>
                </c:pt>
                <c:pt idx="572">
                  <c:v>41710</c:v>
                </c:pt>
                <c:pt idx="573">
                  <c:v>41711</c:v>
                </c:pt>
                <c:pt idx="574">
                  <c:v>41712</c:v>
                </c:pt>
                <c:pt idx="575">
                  <c:v>41715</c:v>
                </c:pt>
                <c:pt idx="576">
                  <c:v>41716</c:v>
                </c:pt>
                <c:pt idx="577">
                  <c:v>41717</c:v>
                </c:pt>
                <c:pt idx="578">
                  <c:v>41718</c:v>
                </c:pt>
                <c:pt idx="579">
                  <c:v>41719</c:v>
                </c:pt>
                <c:pt idx="580">
                  <c:v>41722</c:v>
                </c:pt>
                <c:pt idx="581">
                  <c:v>41723</c:v>
                </c:pt>
                <c:pt idx="582">
                  <c:v>41724</c:v>
                </c:pt>
                <c:pt idx="583">
                  <c:v>41725</c:v>
                </c:pt>
                <c:pt idx="584">
                  <c:v>41726</c:v>
                </c:pt>
                <c:pt idx="585">
                  <c:v>41729</c:v>
                </c:pt>
                <c:pt idx="586">
                  <c:v>41730</c:v>
                </c:pt>
                <c:pt idx="587">
                  <c:v>41731</c:v>
                </c:pt>
                <c:pt idx="588">
                  <c:v>41732</c:v>
                </c:pt>
                <c:pt idx="589">
                  <c:v>41733</c:v>
                </c:pt>
                <c:pt idx="590">
                  <c:v>41736</c:v>
                </c:pt>
                <c:pt idx="591">
                  <c:v>41737</c:v>
                </c:pt>
                <c:pt idx="592">
                  <c:v>41738</c:v>
                </c:pt>
                <c:pt idx="593">
                  <c:v>41739</c:v>
                </c:pt>
                <c:pt idx="594">
                  <c:v>41740</c:v>
                </c:pt>
                <c:pt idx="595">
                  <c:v>41743</c:v>
                </c:pt>
                <c:pt idx="596">
                  <c:v>41744</c:v>
                </c:pt>
                <c:pt idx="597">
                  <c:v>41745</c:v>
                </c:pt>
                <c:pt idx="598">
                  <c:v>41746</c:v>
                </c:pt>
                <c:pt idx="599">
                  <c:v>41747</c:v>
                </c:pt>
                <c:pt idx="600">
                  <c:v>41750</c:v>
                </c:pt>
                <c:pt idx="601">
                  <c:v>41751</c:v>
                </c:pt>
                <c:pt idx="602">
                  <c:v>41752</c:v>
                </c:pt>
                <c:pt idx="603">
                  <c:v>41753</c:v>
                </c:pt>
                <c:pt idx="604">
                  <c:v>41754</c:v>
                </c:pt>
                <c:pt idx="605">
                  <c:v>41757</c:v>
                </c:pt>
                <c:pt idx="606">
                  <c:v>41758</c:v>
                </c:pt>
                <c:pt idx="607">
                  <c:v>41759</c:v>
                </c:pt>
                <c:pt idx="608">
                  <c:v>41760</c:v>
                </c:pt>
                <c:pt idx="609">
                  <c:v>41761</c:v>
                </c:pt>
                <c:pt idx="610">
                  <c:v>41764</c:v>
                </c:pt>
                <c:pt idx="611">
                  <c:v>41765</c:v>
                </c:pt>
                <c:pt idx="612">
                  <c:v>41766</c:v>
                </c:pt>
                <c:pt idx="613">
                  <c:v>41767</c:v>
                </c:pt>
                <c:pt idx="614">
                  <c:v>41768</c:v>
                </c:pt>
                <c:pt idx="615">
                  <c:v>41771</c:v>
                </c:pt>
                <c:pt idx="616">
                  <c:v>41772</c:v>
                </c:pt>
                <c:pt idx="617">
                  <c:v>41773</c:v>
                </c:pt>
                <c:pt idx="618">
                  <c:v>41774</c:v>
                </c:pt>
                <c:pt idx="619">
                  <c:v>41775</c:v>
                </c:pt>
                <c:pt idx="620">
                  <c:v>41778</c:v>
                </c:pt>
                <c:pt idx="621">
                  <c:v>41779</c:v>
                </c:pt>
                <c:pt idx="622">
                  <c:v>41780</c:v>
                </c:pt>
                <c:pt idx="623">
                  <c:v>41781</c:v>
                </c:pt>
                <c:pt idx="624">
                  <c:v>41782</c:v>
                </c:pt>
                <c:pt idx="625">
                  <c:v>41785</c:v>
                </c:pt>
                <c:pt idx="626">
                  <c:v>41786</c:v>
                </c:pt>
                <c:pt idx="627">
                  <c:v>41787</c:v>
                </c:pt>
                <c:pt idx="628">
                  <c:v>41788</c:v>
                </c:pt>
                <c:pt idx="629">
                  <c:v>41789</c:v>
                </c:pt>
                <c:pt idx="630">
                  <c:v>41792</c:v>
                </c:pt>
                <c:pt idx="631">
                  <c:v>41793</c:v>
                </c:pt>
                <c:pt idx="632">
                  <c:v>41794</c:v>
                </c:pt>
                <c:pt idx="633">
                  <c:v>41795</c:v>
                </c:pt>
                <c:pt idx="634">
                  <c:v>41796</c:v>
                </c:pt>
                <c:pt idx="635">
                  <c:v>41799</c:v>
                </c:pt>
                <c:pt idx="636">
                  <c:v>41800</c:v>
                </c:pt>
                <c:pt idx="637">
                  <c:v>41801</c:v>
                </c:pt>
                <c:pt idx="638">
                  <c:v>41802</c:v>
                </c:pt>
                <c:pt idx="639">
                  <c:v>41803</c:v>
                </c:pt>
                <c:pt idx="640">
                  <c:v>41806</c:v>
                </c:pt>
                <c:pt idx="641">
                  <c:v>41807</c:v>
                </c:pt>
                <c:pt idx="642">
                  <c:v>41808</c:v>
                </c:pt>
                <c:pt idx="643">
                  <c:v>41809</c:v>
                </c:pt>
                <c:pt idx="644">
                  <c:v>41810</c:v>
                </c:pt>
                <c:pt idx="645">
                  <c:v>41813</c:v>
                </c:pt>
                <c:pt idx="646">
                  <c:v>41814</c:v>
                </c:pt>
                <c:pt idx="647">
                  <c:v>41815</c:v>
                </c:pt>
                <c:pt idx="648">
                  <c:v>41816</c:v>
                </c:pt>
                <c:pt idx="649">
                  <c:v>41817</c:v>
                </c:pt>
                <c:pt idx="650">
                  <c:v>41820</c:v>
                </c:pt>
                <c:pt idx="651">
                  <c:v>41821</c:v>
                </c:pt>
                <c:pt idx="652">
                  <c:v>41822</c:v>
                </c:pt>
                <c:pt idx="653">
                  <c:v>41823</c:v>
                </c:pt>
                <c:pt idx="654">
                  <c:v>41824</c:v>
                </c:pt>
                <c:pt idx="655">
                  <c:v>41827</c:v>
                </c:pt>
                <c:pt idx="656">
                  <c:v>41828</c:v>
                </c:pt>
                <c:pt idx="657">
                  <c:v>41829</c:v>
                </c:pt>
                <c:pt idx="658">
                  <c:v>41830</c:v>
                </c:pt>
                <c:pt idx="659">
                  <c:v>41831</c:v>
                </c:pt>
                <c:pt idx="660">
                  <c:v>41834</c:v>
                </c:pt>
                <c:pt idx="661">
                  <c:v>41835</c:v>
                </c:pt>
                <c:pt idx="662">
                  <c:v>41836</c:v>
                </c:pt>
                <c:pt idx="663">
                  <c:v>41837</c:v>
                </c:pt>
                <c:pt idx="664">
                  <c:v>41838</c:v>
                </c:pt>
                <c:pt idx="665">
                  <c:v>41841</c:v>
                </c:pt>
                <c:pt idx="666">
                  <c:v>41842</c:v>
                </c:pt>
                <c:pt idx="667">
                  <c:v>41843</c:v>
                </c:pt>
                <c:pt idx="668">
                  <c:v>41844</c:v>
                </c:pt>
                <c:pt idx="669">
                  <c:v>41845</c:v>
                </c:pt>
                <c:pt idx="670">
                  <c:v>41848</c:v>
                </c:pt>
                <c:pt idx="671">
                  <c:v>41849</c:v>
                </c:pt>
                <c:pt idx="672">
                  <c:v>41850</c:v>
                </c:pt>
                <c:pt idx="673">
                  <c:v>41851</c:v>
                </c:pt>
                <c:pt idx="674">
                  <c:v>41852</c:v>
                </c:pt>
                <c:pt idx="675">
                  <c:v>41855</c:v>
                </c:pt>
                <c:pt idx="676">
                  <c:v>41856</c:v>
                </c:pt>
                <c:pt idx="677">
                  <c:v>41857</c:v>
                </c:pt>
                <c:pt idx="678">
                  <c:v>41858</c:v>
                </c:pt>
                <c:pt idx="679">
                  <c:v>41859</c:v>
                </c:pt>
                <c:pt idx="680">
                  <c:v>41862</c:v>
                </c:pt>
                <c:pt idx="681">
                  <c:v>41863</c:v>
                </c:pt>
                <c:pt idx="682">
                  <c:v>41864</c:v>
                </c:pt>
                <c:pt idx="683">
                  <c:v>41865</c:v>
                </c:pt>
                <c:pt idx="684">
                  <c:v>41866</c:v>
                </c:pt>
                <c:pt idx="685">
                  <c:v>41869</c:v>
                </c:pt>
                <c:pt idx="686">
                  <c:v>41870</c:v>
                </c:pt>
                <c:pt idx="687">
                  <c:v>41871</c:v>
                </c:pt>
                <c:pt idx="688">
                  <c:v>41872</c:v>
                </c:pt>
                <c:pt idx="689">
                  <c:v>41873</c:v>
                </c:pt>
                <c:pt idx="690">
                  <c:v>41876</c:v>
                </c:pt>
                <c:pt idx="691">
                  <c:v>41877</c:v>
                </c:pt>
                <c:pt idx="692">
                  <c:v>41878</c:v>
                </c:pt>
                <c:pt idx="693">
                  <c:v>41879</c:v>
                </c:pt>
                <c:pt idx="694">
                  <c:v>41880</c:v>
                </c:pt>
                <c:pt idx="695">
                  <c:v>41883</c:v>
                </c:pt>
                <c:pt idx="696">
                  <c:v>41884</c:v>
                </c:pt>
                <c:pt idx="697">
                  <c:v>41885</c:v>
                </c:pt>
                <c:pt idx="698">
                  <c:v>41886</c:v>
                </c:pt>
                <c:pt idx="699">
                  <c:v>41887</c:v>
                </c:pt>
                <c:pt idx="700">
                  <c:v>41890</c:v>
                </c:pt>
                <c:pt idx="701">
                  <c:v>41891</c:v>
                </c:pt>
                <c:pt idx="702">
                  <c:v>41892</c:v>
                </c:pt>
                <c:pt idx="703">
                  <c:v>41893</c:v>
                </c:pt>
                <c:pt idx="704">
                  <c:v>41894</c:v>
                </c:pt>
                <c:pt idx="705">
                  <c:v>41897</c:v>
                </c:pt>
                <c:pt idx="706">
                  <c:v>41898</c:v>
                </c:pt>
                <c:pt idx="707">
                  <c:v>41899</c:v>
                </c:pt>
                <c:pt idx="708">
                  <c:v>41900</c:v>
                </c:pt>
                <c:pt idx="709">
                  <c:v>41901</c:v>
                </c:pt>
                <c:pt idx="710">
                  <c:v>41904</c:v>
                </c:pt>
                <c:pt idx="711">
                  <c:v>41905</c:v>
                </c:pt>
                <c:pt idx="712">
                  <c:v>41906</c:v>
                </c:pt>
                <c:pt idx="713">
                  <c:v>41907</c:v>
                </c:pt>
                <c:pt idx="714">
                  <c:v>41908</c:v>
                </c:pt>
                <c:pt idx="715">
                  <c:v>41911</c:v>
                </c:pt>
                <c:pt idx="716">
                  <c:v>41912</c:v>
                </c:pt>
                <c:pt idx="717">
                  <c:v>41913</c:v>
                </c:pt>
                <c:pt idx="718">
                  <c:v>41914</c:v>
                </c:pt>
                <c:pt idx="719">
                  <c:v>41915</c:v>
                </c:pt>
                <c:pt idx="720">
                  <c:v>41918</c:v>
                </c:pt>
                <c:pt idx="721">
                  <c:v>41919</c:v>
                </c:pt>
                <c:pt idx="722">
                  <c:v>41920</c:v>
                </c:pt>
                <c:pt idx="723">
                  <c:v>41921</c:v>
                </c:pt>
                <c:pt idx="724">
                  <c:v>41922</c:v>
                </c:pt>
                <c:pt idx="725">
                  <c:v>41925</c:v>
                </c:pt>
                <c:pt idx="726">
                  <c:v>41926</c:v>
                </c:pt>
                <c:pt idx="727">
                  <c:v>41927</c:v>
                </c:pt>
                <c:pt idx="728">
                  <c:v>41928</c:v>
                </c:pt>
                <c:pt idx="729">
                  <c:v>41929</c:v>
                </c:pt>
                <c:pt idx="730">
                  <c:v>41932</c:v>
                </c:pt>
                <c:pt idx="731">
                  <c:v>41933</c:v>
                </c:pt>
                <c:pt idx="732">
                  <c:v>41934</c:v>
                </c:pt>
                <c:pt idx="733">
                  <c:v>41935</c:v>
                </c:pt>
                <c:pt idx="734">
                  <c:v>41936</c:v>
                </c:pt>
                <c:pt idx="735">
                  <c:v>41939</c:v>
                </c:pt>
                <c:pt idx="736">
                  <c:v>41940</c:v>
                </c:pt>
                <c:pt idx="737">
                  <c:v>41941</c:v>
                </c:pt>
                <c:pt idx="738">
                  <c:v>41942</c:v>
                </c:pt>
                <c:pt idx="739">
                  <c:v>41943</c:v>
                </c:pt>
                <c:pt idx="740">
                  <c:v>41946</c:v>
                </c:pt>
                <c:pt idx="741">
                  <c:v>41947</c:v>
                </c:pt>
                <c:pt idx="742">
                  <c:v>41948</c:v>
                </c:pt>
                <c:pt idx="743">
                  <c:v>41949</c:v>
                </c:pt>
                <c:pt idx="744">
                  <c:v>41950</c:v>
                </c:pt>
                <c:pt idx="745">
                  <c:v>41953</c:v>
                </c:pt>
                <c:pt idx="746">
                  <c:v>41954</c:v>
                </c:pt>
                <c:pt idx="747">
                  <c:v>41955</c:v>
                </c:pt>
                <c:pt idx="748">
                  <c:v>41956</c:v>
                </c:pt>
                <c:pt idx="749">
                  <c:v>41957</c:v>
                </c:pt>
                <c:pt idx="750">
                  <c:v>41960</c:v>
                </c:pt>
                <c:pt idx="751">
                  <c:v>41961</c:v>
                </c:pt>
                <c:pt idx="752">
                  <c:v>41962</c:v>
                </c:pt>
                <c:pt idx="753">
                  <c:v>41963</c:v>
                </c:pt>
                <c:pt idx="754">
                  <c:v>41964</c:v>
                </c:pt>
                <c:pt idx="755">
                  <c:v>41967</c:v>
                </c:pt>
                <c:pt idx="756">
                  <c:v>41968</c:v>
                </c:pt>
                <c:pt idx="757">
                  <c:v>41969</c:v>
                </c:pt>
                <c:pt idx="758">
                  <c:v>41970</c:v>
                </c:pt>
                <c:pt idx="759">
                  <c:v>41971</c:v>
                </c:pt>
                <c:pt idx="760">
                  <c:v>41974</c:v>
                </c:pt>
                <c:pt idx="761">
                  <c:v>41975</c:v>
                </c:pt>
                <c:pt idx="762">
                  <c:v>41976</c:v>
                </c:pt>
                <c:pt idx="763">
                  <c:v>41977</c:v>
                </c:pt>
                <c:pt idx="764">
                  <c:v>41978</c:v>
                </c:pt>
                <c:pt idx="765">
                  <c:v>41981</c:v>
                </c:pt>
                <c:pt idx="766">
                  <c:v>41982</c:v>
                </c:pt>
                <c:pt idx="767">
                  <c:v>41983</c:v>
                </c:pt>
                <c:pt idx="768">
                  <c:v>41984</c:v>
                </c:pt>
                <c:pt idx="769">
                  <c:v>41985</c:v>
                </c:pt>
                <c:pt idx="770">
                  <c:v>41988</c:v>
                </c:pt>
                <c:pt idx="771">
                  <c:v>41989</c:v>
                </c:pt>
                <c:pt idx="772">
                  <c:v>41990</c:v>
                </c:pt>
                <c:pt idx="773">
                  <c:v>41991</c:v>
                </c:pt>
                <c:pt idx="774">
                  <c:v>41992</c:v>
                </c:pt>
                <c:pt idx="775">
                  <c:v>41995</c:v>
                </c:pt>
                <c:pt idx="776">
                  <c:v>41996</c:v>
                </c:pt>
                <c:pt idx="777">
                  <c:v>41997</c:v>
                </c:pt>
                <c:pt idx="778">
                  <c:v>41998</c:v>
                </c:pt>
                <c:pt idx="779">
                  <c:v>41999</c:v>
                </c:pt>
                <c:pt idx="780">
                  <c:v>42002</c:v>
                </c:pt>
                <c:pt idx="781">
                  <c:v>42003</c:v>
                </c:pt>
                <c:pt idx="782">
                  <c:v>42004</c:v>
                </c:pt>
                <c:pt idx="783">
                  <c:v>42005</c:v>
                </c:pt>
                <c:pt idx="784">
                  <c:v>42006</c:v>
                </c:pt>
                <c:pt idx="785">
                  <c:v>42009</c:v>
                </c:pt>
                <c:pt idx="786">
                  <c:v>42010</c:v>
                </c:pt>
                <c:pt idx="787">
                  <c:v>42011</c:v>
                </c:pt>
                <c:pt idx="788">
                  <c:v>42012</c:v>
                </c:pt>
                <c:pt idx="789">
                  <c:v>42013</c:v>
                </c:pt>
                <c:pt idx="790">
                  <c:v>42016</c:v>
                </c:pt>
                <c:pt idx="791">
                  <c:v>42017</c:v>
                </c:pt>
                <c:pt idx="792">
                  <c:v>42018</c:v>
                </c:pt>
                <c:pt idx="793">
                  <c:v>42019</c:v>
                </c:pt>
                <c:pt idx="794">
                  <c:v>42020</c:v>
                </c:pt>
                <c:pt idx="795">
                  <c:v>42023</c:v>
                </c:pt>
                <c:pt idx="796">
                  <c:v>42024</c:v>
                </c:pt>
                <c:pt idx="797">
                  <c:v>42025</c:v>
                </c:pt>
                <c:pt idx="798">
                  <c:v>42026</c:v>
                </c:pt>
                <c:pt idx="799">
                  <c:v>42027</c:v>
                </c:pt>
                <c:pt idx="800">
                  <c:v>42030</c:v>
                </c:pt>
                <c:pt idx="801">
                  <c:v>42031</c:v>
                </c:pt>
                <c:pt idx="802">
                  <c:v>42032</c:v>
                </c:pt>
                <c:pt idx="803">
                  <c:v>42033</c:v>
                </c:pt>
                <c:pt idx="804">
                  <c:v>42034</c:v>
                </c:pt>
                <c:pt idx="805">
                  <c:v>42037</c:v>
                </c:pt>
                <c:pt idx="806">
                  <c:v>42038</c:v>
                </c:pt>
                <c:pt idx="807">
                  <c:v>42039</c:v>
                </c:pt>
                <c:pt idx="808">
                  <c:v>42040</c:v>
                </c:pt>
                <c:pt idx="809">
                  <c:v>42041</c:v>
                </c:pt>
                <c:pt idx="810">
                  <c:v>42044</c:v>
                </c:pt>
                <c:pt idx="811">
                  <c:v>42045</c:v>
                </c:pt>
                <c:pt idx="812">
                  <c:v>42046</c:v>
                </c:pt>
                <c:pt idx="813">
                  <c:v>42047</c:v>
                </c:pt>
                <c:pt idx="814">
                  <c:v>42048</c:v>
                </c:pt>
                <c:pt idx="815">
                  <c:v>42051</c:v>
                </c:pt>
                <c:pt idx="816">
                  <c:v>42052</c:v>
                </c:pt>
                <c:pt idx="817">
                  <c:v>42053</c:v>
                </c:pt>
                <c:pt idx="818">
                  <c:v>42054</c:v>
                </c:pt>
                <c:pt idx="819">
                  <c:v>42055</c:v>
                </c:pt>
                <c:pt idx="820">
                  <c:v>42058</c:v>
                </c:pt>
                <c:pt idx="821">
                  <c:v>42059</c:v>
                </c:pt>
                <c:pt idx="822">
                  <c:v>42060</c:v>
                </c:pt>
                <c:pt idx="823">
                  <c:v>42061</c:v>
                </c:pt>
                <c:pt idx="824">
                  <c:v>42062</c:v>
                </c:pt>
                <c:pt idx="825">
                  <c:v>42065</c:v>
                </c:pt>
                <c:pt idx="826">
                  <c:v>42066</c:v>
                </c:pt>
                <c:pt idx="827">
                  <c:v>42067</c:v>
                </c:pt>
                <c:pt idx="828">
                  <c:v>42068</c:v>
                </c:pt>
                <c:pt idx="829">
                  <c:v>42069</c:v>
                </c:pt>
                <c:pt idx="830">
                  <c:v>42072</c:v>
                </c:pt>
                <c:pt idx="831">
                  <c:v>42073</c:v>
                </c:pt>
                <c:pt idx="832">
                  <c:v>42074</c:v>
                </c:pt>
                <c:pt idx="833">
                  <c:v>42075</c:v>
                </c:pt>
                <c:pt idx="834">
                  <c:v>42076</c:v>
                </c:pt>
                <c:pt idx="835">
                  <c:v>42079</c:v>
                </c:pt>
                <c:pt idx="836">
                  <c:v>42080</c:v>
                </c:pt>
                <c:pt idx="837">
                  <c:v>42081</c:v>
                </c:pt>
                <c:pt idx="838">
                  <c:v>42082</c:v>
                </c:pt>
                <c:pt idx="839">
                  <c:v>42083</c:v>
                </c:pt>
                <c:pt idx="840">
                  <c:v>42086</c:v>
                </c:pt>
                <c:pt idx="841">
                  <c:v>42087</c:v>
                </c:pt>
                <c:pt idx="842">
                  <c:v>42088</c:v>
                </c:pt>
                <c:pt idx="843">
                  <c:v>42089</c:v>
                </c:pt>
                <c:pt idx="844">
                  <c:v>42090</c:v>
                </c:pt>
                <c:pt idx="845">
                  <c:v>42093</c:v>
                </c:pt>
                <c:pt idx="846">
                  <c:v>42094</c:v>
                </c:pt>
                <c:pt idx="847">
                  <c:v>42095</c:v>
                </c:pt>
                <c:pt idx="848">
                  <c:v>42096</c:v>
                </c:pt>
                <c:pt idx="849">
                  <c:v>42097</c:v>
                </c:pt>
                <c:pt idx="850">
                  <c:v>42100</c:v>
                </c:pt>
                <c:pt idx="851">
                  <c:v>42101</c:v>
                </c:pt>
                <c:pt idx="852">
                  <c:v>42102</c:v>
                </c:pt>
                <c:pt idx="853">
                  <c:v>42103</c:v>
                </c:pt>
                <c:pt idx="854">
                  <c:v>42104</c:v>
                </c:pt>
                <c:pt idx="855">
                  <c:v>42107</c:v>
                </c:pt>
                <c:pt idx="856">
                  <c:v>42108</c:v>
                </c:pt>
                <c:pt idx="857">
                  <c:v>42109</c:v>
                </c:pt>
                <c:pt idx="858">
                  <c:v>42110</c:v>
                </c:pt>
                <c:pt idx="859">
                  <c:v>42111</c:v>
                </c:pt>
                <c:pt idx="860">
                  <c:v>42114</c:v>
                </c:pt>
                <c:pt idx="861">
                  <c:v>42115</c:v>
                </c:pt>
                <c:pt idx="862">
                  <c:v>42116</c:v>
                </c:pt>
                <c:pt idx="863">
                  <c:v>42117</c:v>
                </c:pt>
                <c:pt idx="864">
                  <c:v>42118</c:v>
                </c:pt>
                <c:pt idx="865">
                  <c:v>42121</c:v>
                </c:pt>
                <c:pt idx="866">
                  <c:v>42122</c:v>
                </c:pt>
                <c:pt idx="867">
                  <c:v>42123</c:v>
                </c:pt>
                <c:pt idx="868">
                  <c:v>42124</c:v>
                </c:pt>
                <c:pt idx="869">
                  <c:v>42125</c:v>
                </c:pt>
                <c:pt idx="870">
                  <c:v>42128</c:v>
                </c:pt>
                <c:pt idx="871">
                  <c:v>42129</c:v>
                </c:pt>
                <c:pt idx="872">
                  <c:v>42130</c:v>
                </c:pt>
                <c:pt idx="873">
                  <c:v>42131</c:v>
                </c:pt>
                <c:pt idx="874">
                  <c:v>42132</c:v>
                </c:pt>
                <c:pt idx="875">
                  <c:v>42135</c:v>
                </c:pt>
                <c:pt idx="876">
                  <c:v>42136</c:v>
                </c:pt>
                <c:pt idx="877">
                  <c:v>42137</c:v>
                </c:pt>
                <c:pt idx="878">
                  <c:v>42138</c:v>
                </c:pt>
                <c:pt idx="879">
                  <c:v>42139</c:v>
                </c:pt>
                <c:pt idx="880">
                  <c:v>42142</c:v>
                </c:pt>
                <c:pt idx="881">
                  <c:v>42143</c:v>
                </c:pt>
                <c:pt idx="882">
                  <c:v>42144</c:v>
                </c:pt>
                <c:pt idx="883">
                  <c:v>42145</c:v>
                </c:pt>
                <c:pt idx="884">
                  <c:v>42146</c:v>
                </c:pt>
                <c:pt idx="885">
                  <c:v>42149</c:v>
                </c:pt>
                <c:pt idx="886">
                  <c:v>42150</c:v>
                </c:pt>
                <c:pt idx="887">
                  <c:v>42151</c:v>
                </c:pt>
                <c:pt idx="888">
                  <c:v>42152</c:v>
                </c:pt>
                <c:pt idx="889">
                  <c:v>42153</c:v>
                </c:pt>
                <c:pt idx="890">
                  <c:v>42156</c:v>
                </c:pt>
                <c:pt idx="891">
                  <c:v>42157</c:v>
                </c:pt>
                <c:pt idx="892">
                  <c:v>42158</c:v>
                </c:pt>
                <c:pt idx="893">
                  <c:v>42159</c:v>
                </c:pt>
                <c:pt idx="894">
                  <c:v>42160</c:v>
                </c:pt>
                <c:pt idx="895">
                  <c:v>42163</c:v>
                </c:pt>
                <c:pt idx="896">
                  <c:v>42164</c:v>
                </c:pt>
                <c:pt idx="897">
                  <c:v>42165</c:v>
                </c:pt>
                <c:pt idx="898">
                  <c:v>42166</c:v>
                </c:pt>
                <c:pt idx="899">
                  <c:v>42167</c:v>
                </c:pt>
                <c:pt idx="900">
                  <c:v>42170</c:v>
                </c:pt>
                <c:pt idx="901">
                  <c:v>42171</c:v>
                </c:pt>
                <c:pt idx="902">
                  <c:v>42172</c:v>
                </c:pt>
                <c:pt idx="903">
                  <c:v>42173</c:v>
                </c:pt>
                <c:pt idx="904">
                  <c:v>42174</c:v>
                </c:pt>
                <c:pt idx="905">
                  <c:v>42177</c:v>
                </c:pt>
                <c:pt idx="906">
                  <c:v>42178</c:v>
                </c:pt>
                <c:pt idx="907">
                  <c:v>42179</c:v>
                </c:pt>
                <c:pt idx="908">
                  <c:v>42180</c:v>
                </c:pt>
                <c:pt idx="909">
                  <c:v>42181</c:v>
                </c:pt>
                <c:pt idx="910">
                  <c:v>42184</c:v>
                </c:pt>
                <c:pt idx="911">
                  <c:v>42185</c:v>
                </c:pt>
                <c:pt idx="912">
                  <c:v>42186</c:v>
                </c:pt>
                <c:pt idx="913">
                  <c:v>42187</c:v>
                </c:pt>
                <c:pt idx="914">
                  <c:v>42188</c:v>
                </c:pt>
                <c:pt idx="915">
                  <c:v>42191</c:v>
                </c:pt>
                <c:pt idx="916">
                  <c:v>42192</c:v>
                </c:pt>
                <c:pt idx="917">
                  <c:v>42193</c:v>
                </c:pt>
                <c:pt idx="918">
                  <c:v>42194</c:v>
                </c:pt>
                <c:pt idx="919">
                  <c:v>42195</c:v>
                </c:pt>
                <c:pt idx="920">
                  <c:v>42198</c:v>
                </c:pt>
                <c:pt idx="921">
                  <c:v>42199</c:v>
                </c:pt>
                <c:pt idx="922">
                  <c:v>42200</c:v>
                </c:pt>
                <c:pt idx="923">
                  <c:v>42201</c:v>
                </c:pt>
                <c:pt idx="924">
                  <c:v>42202</c:v>
                </c:pt>
                <c:pt idx="925">
                  <c:v>42205</c:v>
                </c:pt>
                <c:pt idx="926">
                  <c:v>42206</c:v>
                </c:pt>
                <c:pt idx="927">
                  <c:v>42207</c:v>
                </c:pt>
                <c:pt idx="928">
                  <c:v>42208</c:v>
                </c:pt>
                <c:pt idx="929">
                  <c:v>42209</c:v>
                </c:pt>
                <c:pt idx="930">
                  <c:v>42212</c:v>
                </c:pt>
                <c:pt idx="931">
                  <c:v>42213</c:v>
                </c:pt>
                <c:pt idx="932">
                  <c:v>42214</c:v>
                </c:pt>
                <c:pt idx="933">
                  <c:v>42215</c:v>
                </c:pt>
                <c:pt idx="934">
                  <c:v>42216</c:v>
                </c:pt>
                <c:pt idx="935">
                  <c:v>42219</c:v>
                </c:pt>
                <c:pt idx="936">
                  <c:v>42220</c:v>
                </c:pt>
                <c:pt idx="937">
                  <c:v>42221</c:v>
                </c:pt>
                <c:pt idx="938">
                  <c:v>42222</c:v>
                </c:pt>
                <c:pt idx="939">
                  <c:v>42223</c:v>
                </c:pt>
                <c:pt idx="940">
                  <c:v>42226</c:v>
                </c:pt>
                <c:pt idx="941">
                  <c:v>42227</c:v>
                </c:pt>
                <c:pt idx="942">
                  <c:v>42228</c:v>
                </c:pt>
                <c:pt idx="943">
                  <c:v>42229</c:v>
                </c:pt>
                <c:pt idx="944">
                  <c:v>42230</c:v>
                </c:pt>
                <c:pt idx="945">
                  <c:v>42233</c:v>
                </c:pt>
                <c:pt idx="946">
                  <c:v>42234</c:v>
                </c:pt>
                <c:pt idx="947">
                  <c:v>42235</c:v>
                </c:pt>
                <c:pt idx="948">
                  <c:v>42236</c:v>
                </c:pt>
                <c:pt idx="949">
                  <c:v>42237</c:v>
                </c:pt>
                <c:pt idx="950">
                  <c:v>42240</c:v>
                </c:pt>
                <c:pt idx="951">
                  <c:v>42241</c:v>
                </c:pt>
                <c:pt idx="952">
                  <c:v>42242</c:v>
                </c:pt>
                <c:pt idx="953">
                  <c:v>42243</c:v>
                </c:pt>
                <c:pt idx="954">
                  <c:v>42244</c:v>
                </c:pt>
                <c:pt idx="955">
                  <c:v>42247</c:v>
                </c:pt>
                <c:pt idx="956">
                  <c:v>42248</c:v>
                </c:pt>
                <c:pt idx="957">
                  <c:v>42249</c:v>
                </c:pt>
                <c:pt idx="958">
                  <c:v>42250</c:v>
                </c:pt>
                <c:pt idx="959">
                  <c:v>42251</c:v>
                </c:pt>
                <c:pt idx="960">
                  <c:v>42254</c:v>
                </c:pt>
                <c:pt idx="961">
                  <c:v>42255</c:v>
                </c:pt>
                <c:pt idx="962">
                  <c:v>42256</c:v>
                </c:pt>
                <c:pt idx="963">
                  <c:v>42257</c:v>
                </c:pt>
                <c:pt idx="964">
                  <c:v>42258</c:v>
                </c:pt>
                <c:pt idx="965">
                  <c:v>42261</c:v>
                </c:pt>
                <c:pt idx="966">
                  <c:v>42262</c:v>
                </c:pt>
                <c:pt idx="967">
                  <c:v>42263</c:v>
                </c:pt>
                <c:pt idx="968">
                  <c:v>42264</c:v>
                </c:pt>
                <c:pt idx="969">
                  <c:v>42265</c:v>
                </c:pt>
                <c:pt idx="970">
                  <c:v>42268</c:v>
                </c:pt>
                <c:pt idx="971">
                  <c:v>42269</c:v>
                </c:pt>
                <c:pt idx="972">
                  <c:v>42270</c:v>
                </c:pt>
                <c:pt idx="973">
                  <c:v>42271</c:v>
                </c:pt>
                <c:pt idx="974">
                  <c:v>42272</c:v>
                </c:pt>
                <c:pt idx="975">
                  <c:v>42275</c:v>
                </c:pt>
                <c:pt idx="976">
                  <c:v>42276</c:v>
                </c:pt>
                <c:pt idx="977">
                  <c:v>42277</c:v>
                </c:pt>
                <c:pt idx="978">
                  <c:v>42278</c:v>
                </c:pt>
                <c:pt idx="979">
                  <c:v>42279</c:v>
                </c:pt>
                <c:pt idx="980">
                  <c:v>42282</c:v>
                </c:pt>
                <c:pt idx="981">
                  <c:v>42283</c:v>
                </c:pt>
                <c:pt idx="982">
                  <c:v>42284</c:v>
                </c:pt>
                <c:pt idx="983">
                  <c:v>42285</c:v>
                </c:pt>
                <c:pt idx="984">
                  <c:v>42286</c:v>
                </c:pt>
                <c:pt idx="985">
                  <c:v>42289</c:v>
                </c:pt>
                <c:pt idx="986">
                  <c:v>42290</c:v>
                </c:pt>
                <c:pt idx="987">
                  <c:v>42291</c:v>
                </c:pt>
                <c:pt idx="988">
                  <c:v>42292</c:v>
                </c:pt>
                <c:pt idx="989">
                  <c:v>42293</c:v>
                </c:pt>
                <c:pt idx="990">
                  <c:v>42296</c:v>
                </c:pt>
                <c:pt idx="991">
                  <c:v>42297</c:v>
                </c:pt>
                <c:pt idx="992">
                  <c:v>42298</c:v>
                </c:pt>
                <c:pt idx="993">
                  <c:v>42299</c:v>
                </c:pt>
                <c:pt idx="994">
                  <c:v>42300</c:v>
                </c:pt>
                <c:pt idx="995">
                  <c:v>42303</c:v>
                </c:pt>
                <c:pt idx="996">
                  <c:v>42304</c:v>
                </c:pt>
                <c:pt idx="997">
                  <c:v>42305</c:v>
                </c:pt>
                <c:pt idx="998">
                  <c:v>42306</c:v>
                </c:pt>
                <c:pt idx="999">
                  <c:v>42307</c:v>
                </c:pt>
                <c:pt idx="1000">
                  <c:v>42310</c:v>
                </c:pt>
                <c:pt idx="1001">
                  <c:v>42311</c:v>
                </c:pt>
                <c:pt idx="1002">
                  <c:v>42312</c:v>
                </c:pt>
                <c:pt idx="1003">
                  <c:v>42313</c:v>
                </c:pt>
                <c:pt idx="1004">
                  <c:v>42314</c:v>
                </c:pt>
                <c:pt idx="1005">
                  <c:v>42317</c:v>
                </c:pt>
                <c:pt idx="1006">
                  <c:v>42318</c:v>
                </c:pt>
                <c:pt idx="1007">
                  <c:v>42319</c:v>
                </c:pt>
                <c:pt idx="1008">
                  <c:v>42320</c:v>
                </c:pt>
                <c:pt idx="1009">
                  <c:v>42321</c:v>
                </c:pt>
                <c:pt idx="1010">
                  <c:v>42324</c:v>
                </c:pt>
                <c:pt idx="1011">
                  <c:v>42325</c:v>
                </c:pt>
                <c:pt idx="1012">
                  <c:v>42326</c:v>
                </c:pt>
                <c:pt idx="1013">
                  <c:v>42327</c:v>
                </c:pt>
                <c:pt idx="1014">
                  <c:v>42328</c:v>
                </c:pt>
                <c:pt idx="1015">
                  <c:v>42331</c:v>
                </c:pt>
                <c:pt idx="1016">
                  <c:v>42332</c:v>
                </c:pt>
              </c:numCache>
            </c:numRef>
          </c:cat>
          <c:val>
            <c:numRef>
              <c:f>[alco.xlsm]cds!$O$1578:$O$5000</c:f>
              <c:numCache>
                <c:formatCode>General</c:formatCode>
                <c:ptCount val="3423"/>
                <c:pt idx="0">
                  <c:v>366.2998</c:v>
                </c:pt>
                <c:pt idx="1">
                  <c:v>364.99</c:v>
                </c:pt>
                <c:pt idx="2">
                  <c:v>375.12990000000002</c:v>
                </c:pt>
                <c:pt idx="3">
                  <c:v>379.61990000000003</c:v>
                </c:pt>
                <c:pt idx="4">
                  <c:v>377.50980000000004</c:v>
                </c:pt>
                <c:pt idx="5">
                  <c:v>377.63990000000001</c:v>
                </c:pt>
                <c:pt idx="6">
                  <c:v>368.7998</c:v>
                </c:pt>
                <c:pt idx="7">
                  <c:v>368.80980000000005</c:v>
                </c:pt>
                <c:pt idx="8">
                  <c:v>359.96000000000004</c:v>
                </c:pt>
                <c:pt idx="9">
                  <c:v>362.26980000000003</c:v>
                </c:pt>
                <c:pt idx="10">
                  <c:v>362.26980000000003</c:v>
                </c:pt>
                <c:pt idx="11">
                  <c:v>360.09990000000005</c:v>
                </c:pt>
                <c:pt idx="12">
                  <c:v>354.82980000000003</c:v>
                </c:pt>
                <c:pt idx="13">
                  <c:v>337.76980000000003</c:v>
                </c:pt>
                <c:pt idx="14">
                  <c:v>337.76980000000003</c:v>
                </c:pt>
                <c:pt idx="15">
                  <c:v>330.33980000000003</c:v>
                </c:pt>
                <c:pt idx="16">
                  <c:v>330.33980000000003</c:v>
                </c:pt>
                <c:pt idx="17">
                  <c:v>325.00980000000004</c:v>
                </c:pt>
                <c:pt idx="18">
                  <c:v>318.31980000000004</c:v>
                </c:pt>
                <c:pt idx="19">
                  <c:v>313.88990000000001</c:v>
                </c:pt>
                <c:pt idx="20">
                  <c:v>317</c:v>
                </c:pt>
                <c:pt idx="21">
                  <c:v>311.55980000000005</c:v>
                </c:pt>
                <c:pt idx="22">
                  <c:v>300.46000000000004</c:v>
                </c:pt>
                <c:pt idx="23">
                  <c:v>300.09990000000005</c:v>
                </c:pt>
                <c:pt idx="24">
                  <c:v>286.74</c:v>
                </c:pt>
                <c:pt idx="25">
                  <c:v>286.74</c:v>
                </c:pt>
                <c:pt idx="26">
                  <c:v>285.43990000000002</c:v>
                </c:pt>
                <c:pt idx="27">
                  <c:v>283.18990000000002</c:v>
                </c:pt>
                <c:pt idx="28">
                  <c:v>285.40990000000005</c:v>
                </c:pt>
                <c:pt idx="29">
                  <c:v>288.50980000000004</c:v>
                </c:pt>
                <c:pt idx="30">
                  <c:v>288.16990000000004</c:v>
                </c:pt>
                <c:pt idx="31">
                  <c:v>288.12990000000002</c:v>
                </c:pt>
                <c:pt idx="32">
                  <c:v>285.48</c:v>
                </c:pt>
                <c:pt idx="33">
                  <c:v>286.83980000000003</c:v>
                </c:pt>
                <c:pt idx="34">
                  <c:v>285.46000000000004</c:v>
                </c:pt>
                <c:pt idx="35">
                  <c:v>283.2998</c:v>
                </c:pt>
                <c:pt idx="36">
                  <c:v>274.3999</c:v>
                </c:pt>
                <c:pt idx="37">
                  <c:v>272.11990000000003</c:v>
                </c:pt>
                <c:pt idx="38">
                  <c:v>269.03980000000001</c:v>
                </c:pt>
                <c:pt idx="39">
                  <c:v>265.48</c:v>
                </c:pt>
                <c:pt idx="40">
                  <c:v>260.99</c:v>
                </c:pt>
                <c:pt idx="41">
                  <c:v>255.52</c:v>
                </c:pt>
                <c:pt idx="42">
                  <c:v>252.01000000000002</c:v>
                </c:pt>
                <c:pt idx="43">
                  <c:v>245.38000000000002</c:v>
                </c:pt>
                <c:pt idx="44">
                  <c:v>243.13000000000002</c:v>
                </c:pt>
                <c:pt idx="45">
                  <c:v>247.66000000000003</c:v>
                </c:pt>
                <c:pt idx="46">
                  <c:v>252.10000000000002</c:v>
                </c:pt>
                <c:pt idx="47">
                  <c:v>252.13000000000002</c:v>
                </c:pt>
                <c:pt idx="48">
                  <c:v>249.91000000000003</c:v>
                </c:pt>
                <c:pt idx="49">
                  <c:v>247.70000000000002</c:v>
                </c:pt>
                <c:pt idx="50">
                  <c:v>243.20000000000002</c:v>
                </c:pt>
                <c:pt idx="51">
                  <c:v>236.58</c:v>
                </c:pt>
                <c:pt idx="52">
                  <c:v>229.01000000000002</c:v>
                </c:pt>
                <c:pt idx="53">
                  <c:v>229.03400000000002</c:v>
                </c:pt>
                <c:pt idx="54">
                  <c:v>226.83</c:v>
                </c:pt>
                <c:pt idx="55">
                  <c:v>224.63000000000002</c:v>
                </c:pt>
                <c:pt idx="56">
                  <c:v>223.56000000000003</c:v>
                </c:pt>
                <c:pt idx="57">
                  <c:v>223.47000000000003</c:v>
                </c:pt>
                <c:pt idx="58">
                  <c:v>231.59000000000003</c:v>
                </c:pt>
                <c:pt idx="59">
                  <c:v>232.50000000000003</c:v>
                </c:pt>
                <c:pt idx="60">
                  <c:v>231.73000000000002</c:v>
                </c:pt>
                <c:pt idx="61">
                  <c:v>231.28000000000003</c:v>
                </c:pt>
                <c:pt idx="62">
                  <c:v>231.34000000000003</c:v>
                </c:pt>
                <c:pt idx="63">
                  <c:v>235.78000000000003</c:v>
                </c:pt>
                <c:pt idx="64">
                  <c:v>235.81000000000003</c:v>
                </c:pt>
                <c:pt idx="65">
                  <c:v>234.99</c:v>
                </c:pt>
                <c:pt idx="66">
                  <c:v>232.76000000000002</c:v>
                </c:pt>
                <c:pt idx="67">
                  <c:v>234.56000000000003</c:v>
                </c:pt>
                <c:pt idx="68">
                  <c:v>237.09000000000003</c:v>
                </c:pt>
                <c:pt idx="69">
                  <c:v>237.11</c:v>
                </c:pt>
                <c:pt idx="70">
                  <c:v>237.31000000000003</c:v>
                </c:pt>
                <c:pt idx="71">
                  <c:v>252.04000000000002</c:v>
                </c:pt>
                <c:pt idx="72">
                  <c:v>259.23</c:v>
                </c:pt>
                <c:pt idx="73">
                  <c:v>256.11990000000003</c:v>
                </c:pt>
                <c:pt idx="74">
                  <c:v>255.68</c:v>
                </c:pt>
                <c:pt idx="75">
                  <c:v>256.20480000000003</c:v>
                </c:pt>
                <c:pt idx="76">
                  <c:v>252.66000000000003</c:v>
                </c:pt>
                <c:pt idx="77">
                  <c:v>255.8</c:v>
                </c:pt>
                <c:pt idx="78">
                  <c:v>255.85300000000001</c:v>
                </c:pt>
                <c:pt idx="79">
                  <c:v>257.18990000000002</c:v>
                </c:pt>
                <c:pt idx="80">
                  <c:v>261.2869</c:v>
                </c:pt>
                <c:pt idx="81">
                  <c:v>258.63990000000001</c:v>
                </c:pt>
                <c:pt idx="82">
                  <c:v>258.63990000000001</c:v>
                </c:pt>
                <c:pt idx="83">
                  <c:v>258.2998</c:v>
                </c:pt>
                <c:pt idx="84">
                  <c:v>259.62990000000002</c:v>
                </c:pt>
                <c:pt idx="85">
                  <c:v>259.26980000000003</c:v>
                </c:pt>
                <c:pt idx="86">
                  <c:v>256.15989999999999</c:v>
                </c:pt>
                <c:pt idx="87">
                  <c:v>256.21000000000004</c:v>
                </c:pt>
                <c:pt idx="88">
                  <c:v>257.48</c:v>
                </c:pt>
                <c:pt idx="89">
                  <c:v>259.75980000000004</c:v>
                </c:pt>
                <c:pt idx="90">
                  <c:v>259.81980000000004</c:v>
                </c:pt>
                <c:pt idx="91">
                  <c:v>259.81980000000004</c:v>
                </c:pt>
                <c:pt idx="92">
                  <c:v>270.8999</c:v>
                </c:pt>
                <c:pt idx="93">
                  <c:v>270.8999</c:v>
                </c:pt>
                <c:pt idx="94">
                  <c:v>274.6499</c:v>
                </c:pt>
                <c:pt idx="95">
                  <c:v>289.7998</c:v>
                </c:pt>
                <c:pt idx="96">
                  <c:v>289.7998</c:v>
                </c:pt>
                <c:pt idx="97">
                  <c:v>307.7998</c:v>
                </c:pt>
                <c:pt idx="98">
                  <c:v>316.7998</c:v>
                </c:pt>
                <c:pt idx="99">
                  <c:v>316.7998</c:v>
                </c:pt>
                <c:pt idx="100">
                  <c:v>316.99</c:v>
                </c:pt>
                <c:pt idx="101">
                  <c:v>303.2998</c:v>
                </c:pt>
                <c:pt idx="102">
                  <c:v>307.7998</c:v>
                </c:pt>
                <c:pt idx="103">
                  <c:v>322.47000000000003</c:v>
                </c:pt>
                <c:pt idx="104">
                  <c:v>325.7998</c:v>
                </c:pt>
                <c:pt idx="105">
                  <c:v>325.7998</c:v>
                </c:pt>
                <c:pt idx="106">
                  <c:v>325.7998</c:v>
                </c:pt>
                <c:pt idx="107">
                  <c:v>337.5</c:v>
                </c:pt>
                <c:pt idx="108">
                  <c:v>342</c:v>
                </c:pt>
                <c:pt idx="109">
                  <c:v>351.00000000000006</c:v>
                </c:pt>
                <c:pt idx="110">
                  <c:v>351.00000000000006</c:v>
                </c:pt>
                <c:pt idx="111">
                  <c:v>351.00000000000006</c:v>
                </c:pt>
                <c:pt idx="112">
                  <c:v>333.1499</c:v>
                </c:pt>
                <c:pt idx="113">
                  <c:v>315.25</c:v>
                </c:pt>
                <c:pt idx="114">
                  <c:v>320.24</c:v>
                </c:pt>
                <c:pt idx="115">
                  <c:v>311.83980000000003</c:v>
                </c:pt>
                <c:pt idx="116">
                  <c:v>310.5</c:v>
                </c:pt>
                <c:pt idx="117">
                  <c:v>302.42990000000003</c:v>
                </c:pt>
                <c:pt idx="118">
                  <c:v>302.45000000000005</c:v>
                </c:pt>
                <c:pt idx="119">
                  <c:v>293.90990000000005</c:v>
                </c:pt>
                <c:pt idx="120">
                  <c:v>298.53980000000001</c:v>
                </c:pt>
                <c:pt idx="121">
                  <c:v>294.08980000000003</c:v>
                </c:pt>
                <c:pt idx="122">
                  <c:v>291.99</c:v>
                </c:pt>
                <c:pt idx="123">
                  <c:v>294.73</c:v>
                </c:pt>
                <c:pt idx="124">
                  <c:v>300.82400000000001</c:v>
                </c:pt>
                <c:pt idx="125">
                  <c:v>306.75980000000004</c:v>
                </c:pt>
                <c:pt idx="126">
                  <c:v>306.80980000000005</c:v>
                </c:pt>
                <c:pt idx="127">
                  <c:v>304.55980000000005</c:v>
                </c:pt>
                <c:pt idx="128">
                  <c:v>307.60990000000004</c:v>
                </c:pt>
                <c:pt idx="129">
                  <c:v>290.17990000000003</c:v>
                </c:pt>
                <c:pt idx="130">
                  <c:v>279.02980000000002</c:v>
                </c:pt>
                <c:pt idx="131">
                  <c:v>269.59990000000005</c:v>
                </c:pt>
                <c:pt idx="132">
                  <c:v>269.65990000000005</c:v>
                </c:pt>
                <c:pt idx="133">
                  <c:v>271.45000000000005</c:v>
                </c:pt>
                <c:pt idx="134">
                  <c:v>272.82980000000003</c:v>
                </c:pt>
                <c:pt idx="135">
                  <c:v>288.63990000000001</c:v>
                </c:pt>
                <c:pt idx="136">
                  <c:v>286.43990000000002</c:v>
                </c:pt>
                <c:pt idx="137">
                  <c:v>281.81980000000004</c:v>
                </c:pt>
                <c:pt idx="138">
                  <c:v>280.93990000000002</c:v>
                </c:pt>
                <c:pt idx="139">
                  <c:v>276.5</c:v>
                </c:pt>
                <c:pt idx="140">
                  <c:v>258.81980000000004</c:v>
                </c:pt>
                <c:pt idx="141">
                  <c:v>251.68</c:v>
                </c:pt>
                <c:pt idx="142">
                  <c:v>248.14000000000001</c:v>
                </c:pt>
                <c:pt idx="143">
                  <c:v>252.68</c:v>
                </c:pt>
                <c:pt idx="144">
                  <c:v>255.41000000000003</c:v>
                </c:pt>
                <c:pt idx="145">
                  <c:v>269.8999</c:v>
                </c:pt>
                <c:pt idx="146">
                  <c:v>269.03980000000001</c:v>
                </c:pt>
                <c:pt idx="147">
                  <c:v>267.72000000000003</c:v>
                </c:pt>
                <c:pt idx="148">
                  <c:v>263.97000000000003</c:v>
                </c:pt>
                <c:pt idx="149">
                  <c:v>260.38990000000001</c:v>
                </c:pt>
                <c:pt idx="150">
                  <c:v>255.04000000000002</c:v>
                </c:pt>
                <c:pt idx="151">
                  <c:v>246.76000000000002</c:v>
                </c:pt>
                <c:pt idx="152">
                  <c:v>245.38000000000002</c:v>
                </c:pt>
                <c:pt idx="153">
                  <c:v>248.10000000000002</c:v>
                </c:pt>
                <c:pt idx="154">
                  <c:v>241.3</c:v>
                </c:pt>
                <c:pt idx="155">
                  <c:v>236.86</c:v>
                </c:pt>
                <c:pt idx="156">
                  <c:v>236.89000000000001</c:v>
                </c:pt>
                <c:pt idx="157">
                  <c:v>236.47000000000003</c:v>
                </c:pt>
                <c:pt idx="158">
                  <c:v>241.83</c:v>
                </c:pt>
                <c:pt idx="159">
                  <c:v>246.32600000000002</c:v>
                </c:pt>
                <c:pt idx="160">
                  <c:v>248.34000000000003</c:v>
                </c:pt>
                <c:pt idx="161">
                  <c:v>248.45000000000002</c:v>
                </c:pt>
                <c:pt idx="162">
                  <c:v>249.46</c:v>
                </c:pt>
                <c:pt idx="163">
                  <c:v>249.48000000000002</c:v>
                </c:pt>
                <c:pt idx="164">
                  <c:v>246.73000000000002</c:v>
                </c:pt>
                <c:pt idx="165">
                  <c:v>242.37000000000003</c:v>
                </c:pt>
                <c:pt idx="166">
                  <c:v>237.74</c:v>
                </c:pt>
                <c:pt idx="167">
                  <c:v>237.74</c:v>
                </c:pt>
                <c:pt idx="168">
                  <c:v>242.38000000000002</c:v>
                </c:pt>
                <c:pt idx="169">
                  <c:v>241.52</c:v>
                </c:pt>
                <c:pt idx="170">
                  <c:v>241.65</c:v>
                </c:pt>
                <c:pt idx="171">
                  <c:v>241.75000000000003</c:v>
                </c:pt>
                <c:pt idx="172">
                  <c:v>241.81000000000003</c:v>
                </c:pt>
                <c:pt idx="173">
                  <c:v>233.51000000000002</c:v>
                </c:pt>
                <c:pt idx="174">
                  <c:v>229.05</c:v>
                </c:pt>
                <c:pt idx="175">
                  <c:v>232.84000000000003</c:v>
                </c:pt>
                <c:pt idx="176">
                  <c:v>224.73000000000002</c:v>
                </c:pt>
                <c:pt idx="177">
                  <c:v>220.19000000000003</c:v>
                </c:pt>
                <c:pt idx="178">
                  <c:v>206.67000000000002</c:v>
                </c:pt>
                <c:pt idx="179">
                  <c:v>220.19000000000003</c:v>
                </c:pt>
                <c:pt idx="180">
                  <c:v>188.66000000000003</c:v>
                </c:pt>
                <c:pt idx="181">
                  <c:v>188.78000000000003</c:v>
                </c:pt>
                <c:pt idx="182">
                  <c:v>178.79000000000002</c:v>
                </c:pt>
                <c:pt idx="183">
                  <c:v>182.44000000000003</c:v>
                </c:pt>
                <c:pt idx="184">
                  <c:v>147.97</c:v>
                </c:pt>
                <c:pt idx="185">
                  <c:v>148.20000000000002</c:v>
                </c:pt>
                <c:pt idx="186">
                  <c:v>148.27300000000002</c:v>
                </c:pt>
                <c:pt idx="187">
                  <c:v>148.34100000000001</c:v>
                </c:pt>
                <c:pt idx="188">
                  <c:v>144.81</c:v>
                </c:pt>
                <c:pt idx="189">
                  <c:v>144.81</c:v>
                </c:pt>
                <c:pt idx="190">
                  <c:v>152.38000000000002</c:v>
                </c:pt>
                <c:pt idx="191">
                  <c:v>156.16000000000003</c:v>
                </c:pt>
                <c:pt idx="192">
                  <c:v>165.32000000000002</c:v>
                </c:pt>
                <c:pt idx="193">
                  <c:v>163.53</c:v>
                </c:pt>
                <c:pt idx="194">
                  <c:v>161.82900000000001</c:v>
                </c:pt>
                <c:pt idx="195">
                  <c:v>159.36100000000002</c:v>
                </c:pt>
                <c:pt idx="196">
                  <c:v>154.91500000000002</c:v>
                </c:pt>
                <c:pt idx="197">
                  <c:v>146.85600000000002</c:v>
                </c:pt>
                <c:pt idx="198">
                  <c:v>146.03500000000003</c:v>
                </c:pt>
                <c:pt idx="199">
                  <c:v>141.58600000000001</c:v>
                </c:pt>
                <c:pt idx="200">
                  <c:v>143.55800000000002</c:v>
                </c:pt>
                <c:pt idx="201">
                  <c:v>146.30200000000002</c:v>
                </c:pt>
                <c:pt idx="202">
                  <c:v>145.49900000000002</c:v>
                </c:pt>
                <c:pt idx="203">
                  <c:v>131.33000000000001</c:v>
                </c:pt>
                <c:pt idx="204">
                  <c:v>119.712</c:v>
                </c:pt>
                <c:pt idx="205">
                  <c:v>115.40400000000001</c:v>
                </c:pt>
                <c:pt idx="206">
                  <c:v>109.16600000000001</c:v>
                </c:pt>
                <c:pt idx="207">
                  <c:v>105.36900000000001</c:v>
                </c:pt>
                <c:pt idx="208">
                  <c:v>105.42</c:v>
                </c:pt>
                <c:pt idx="209">
                  <c:v>109.93</c:v>
                </c:pt>
                <c:pt idx="210">
                  <c:v>110.10000000000001</c:v>
                </c:pt>
                <c:pt idx="211">
                  <c:v>117.29</c:v>
                </c:pt>
                <c:pt idx="212">
                  <c:v>119.13000000000001</c:v>
                </c:pt>
                <c:pt idx="213">
                  <c:v>110.29</c:v>
                </c:pt>
                <c:pt idx="214">
                  <c:v>110.33000000000001</c:v>
                </c:pt>
                <c:pt idx="215">
                  <c:v>110.50000000000001</c:v>
                </c:pt>
                <c:pt idx="216">
                  <c:v>110.56</c:v>
                </c:pt>
                <c:pt idx="217">
                  <c:v>110.62100000000001</c:v>
                </c:pt>
                <c:pt idx="218">
                  <c:v>108.00000000000001</c:v>
                </c:pt>
                <c:pt idx="219">
                  <c:v>106.29</c:v>
                </c:pt>
                <c:pt idx="220">
                  <c:v>106.55000000000001</c:v>
                </c:pt>
                <c:pt idx="221">
                  <c:v>102.13700000000001</c:v>
                </c:pt>
                <c:pt idx="222">
                  <c:v>102.19000000000001</c:v>
                </c:pt>
                <c:pt idx="223">
                  <c:v>102.19000000000001</c:v>
                </c:pt>
                <c:pt idx="224">
                  <c:v>104.08000000000001</c:v>
                </c:pt>
                <c:pt idx="225">
                  <c:v>104.24000000000001</c:v>
                </c:pt>
                <c:pt idx="226">
                  <c:v>104.29</c:v>
                </c:pt>
                <c:pt idx="227">
                  <c:v>102.56</c:v>
                </c:pt>
                <c:pt idx="228">
                  <c:v>104.40500000000002</c:v>
                </c:pt>
                <c:pt idx="229">
                  <c:v>107.13300000000001</c:v>
                </c:pt>
                <c:pt idx="230">
                  <c:v>107.28000000000002</c:v>
                </c:pt>
                <c:pt idx="231">
                  <c:v>102.88000000000001</c:v>
                </c:pt>
                <c:pt idx="232">
                  <c:v>102.93</c:v>
                </c:pt>
                <c:pt idx="233">
                  <c:v>102.986</c:v>
                </c:pt>
                <c:pt idx="234">
                  <c:v>103.039</c:v>
                </c:pt>
                <c:pt idx="235">
                  <c:v>103.194</c:v>
                </c:pt>
                <c:pt idx="236">
                  <c:v>103.24000000000001</c:v>
                </c:pt>
                <c:pt idx="237">
                  <c:v>103.30200000000001</c:v>
                </c:pt>
                <c:pt idx="238">
                  <c:v>98.894990000000007</c:v>
                </c:pt>
                <c:pt idx="239">
                  <c:v>98.939990000000009</c:v>
                </c:pt>
                <c:pt idx="240">
                  <c:v>99.099990000000005</c:v>
                </c:pt>
                <c:pt idx="241">
                  <c:v>99.153000000000006</c:v>
                </c:pt>
                <c:pt idx="242">
                  <c:v>99.149990000000003</c:v>
                </c:pt>
                <c:pt idx="243">
                  <c:v>94.789990000000003</c:v>
                </c:pt>
                <c:pt idx="244">
                  <c:v>94.846980000000002</c:v>
                </c:pt>
                <c:pt idx="245">
                  <c:v>95.00200000000001</c:v>
                </c:pt>
                <c:pt idx="246">
                  <c:v>93.267990000000012</c:v>
                </c:pt>
                <c:pt idx="247">
                  <c:v>93.319990000000004</c:v>
                </c:pt>
                <c:pt idx="248">
                  <c:v>93.370990000000006</c:v>
                </c:pt>
                <c:pt idx="249">
                  <c:v>90.745000000000005</c:v>
                </c:pt>
                <c:pt idx="250">
                  <c:v>90.897990000000007</c:v>
                </c:pt>
                <c:pt idx="251">
                  <c:v>90.056000000000012</c:v>
                </c:pt>
                <c:pt idx="252">
                  <c:v>88.321990000000014</c:v>
                </c:pt>
                <c:pt idx="253">
                  <c:v>85.316990000000004</c:v>
                </c:pt>
                <c:pt idx="254">
                  <c:v>85.37</c:v>
                </c:pt>
                <c:pt idx="255">
                  <c:v>85.543990000000008</c:v>
                </c:pt>
                <c:pt idx="256">
                  <c:v>85.599990000000005</c:v>
                </c:pt>
                <c:pt idx="257">
                  <c:v>85.659000000000006</c:v>
                </c:pt>
                <c:pt idx="258">
                  <c:v>85.709990000000005</c:v>
                </c:pt>
                <c:pt idx="259">
                  <c:v>85.769990000000007</c:v>
                </c:pt>
                <c:pt idx="260">
                  <c:v>85.937000000000012</c:v>
                </c:pt>
                <c:pt idx="261">
                  <c:v>85.989990000000006</c:v>
                </c:pt>
                <c:pt idx="262">
                  <c:v>84.265000000000001</c:v>
                </c:pt>
                <c:pt idx="263">
                  <c:v>82.536990000000003</c:v>
                </c:pt>
                <c:pt idx="264">
                  <c:v>82.588000000000008</c:v>
                </c:pt>
                <c:pt idx="265">
                  <c:v>82.758990000000011</c:v>
                </c:pt>
                <c:pt idx="266">
                  <c:v>82.814990000000009</c:v>
                </c:pt>
                <c:pt idx="267">
                  <c:v>82.866990000000001</c:v>
                </c:pt>
                <c:pt idx="268">
                  <c:v>82.924990000000008</c:v>
                </c:pt>
                <c:pt idx="269">
                  <c:v>82.98</c:v>
                </c:pt>
                <c:pt idx="270">
                  <c:v>83.14</c:v>
                </c:pt>
                <c:pt idx="271">
                  <c:v>84.09</c:v>
                </c:pt>
                <c:pt idx="272">
                  <c:v>87.71999000000001</c:v>
                </c:pt>
                <c:pt idx="273">
                  <c:v>87.769990000000007</c:v>
                </c:pt>
                <c:pt idx="274">
                  <c:v>87.829990000000009</c:v>
                </c:pt>
                <c:pt idx="275">
                  <c:v>87.995000000000005</c:v>
                </c:pt>
                <c:pt idx="276">
                  <c:v>88.049990000000008</c:v>
                </c:pt>
                <c:pt idx="277">
                  <c:v>88.099990000000005</c:v>
                </c:pt>
                <c:pt idx="278">
                  <c:v>88.149990000000003</c:v>
                </c:pt>
                <c:pt idx="279">
                  <c:v>88.209990000000005</c:v>
                </c:pt>
                <c:pt idx="280">
                  <c:v>88.478000000000009</c:v>
                </c:pt>
                <c:pt idx="281">
                  <c:v>88.53</c:v>
                </c:pt>
                <c:pt idx="282">
                  <c:v>88.582990000000009</c:v>
                </c:pt>
                <c:pt idx="283">
                  <c:v>88.633990000000011</c:v>
                </c:pt>
                <c:pt idx="284">
                  <c:v>93.151990000000012</c:v>
                </c:pt>
                <c:pt idx="285">
                  <c:v>97.772990000000007</c:v>
                </c:pt>
                <c:pt idx="286">
                  <c:v>96.931000000000012</c:v>
                </c:pt>
                <c:pt idx="287">
                  <c:v>96.98</c:v>
                </c:pt>
                <c:pt idx="288">
                  <c:v>95.247990000000001</c:v>
                </c:pt>
                <c:pt idx="289">
                  <c:v>95.247990000000001</c:v>
                </c:pt>
                <c:pt idx="290">
                  <c:v>93.666990000000013</c:v>
                </c:pt>
                <c:pt idx="291">
                  <c:v>93.717990000000015</c:v>
                </c:pt>
                <c:pt idx="292">
                  <c:v>93.769000000000005</c:v>
                </c:pt>
                <c:pt idx="293">
                  <c:v>92.034990000000008</c:v>
                </c:pt>
                <c:pt idx="294">
                  <c:v>92.084990000000005</c:v>
                </c:pt>
                <c:pt idx="295">
                  <c:v>92.237000000000009</c:v>
                </c:pt>
                <c:pt idx="296">
                  <c:v>92.28</c:v>
                </c:pt>
                <c:pt idx="297">
                  <c:v>102.16300000000001</c:v>
                </c:pt>
                <c:pt idx="298">
                  <c:v>112.03300000000002</c:v>
                </c:pt>
                <c:pt idx="299">
                  <c:v>120.13400000000001</c:v>
                </c:pt>
                <c:pt idx="300">
                  <c:v>120.28100000000001</c:v>
                </c:pt>
                <c:pt idx="301">
                  <c:v>122.12500000000001</c:v>
                </c:pt>
                <c:pt idx="302">
                  <c:v>122.15600000000001</c:v>
                </c:pt>
                <c:pt idx="303">
                  <c:v>122.21000000000001</c:v>
                </c:pt>
                <c:pt idx="304">
                  <c:v>122.26500000000001</c:v>
                </c:pt>
                <c:pt idx="305">
                  <c:v>120.62500000000001</c:v>
                </c:pt>
                <c:pt idx="306">
                  <c:v>118.89900000000002</c:v>
                </c:pt>
                <c:pt idx="307">
                  <c:v>114.50800000000001</c:v>
                </c:pt>
                <c:pt idx="308">
                  <c:v>106.51400000000001</c:v>
                </c:pt>
                <c:pt idx="309">
                  <c:v>106.51400000000001</c:v>
                </c:pt>
                <c:pt idx="310">
                  <c:v>102.23700000000001</c:v>
                </c:pt>
                <c:pt idx="311">
                  <c:v>99.601990000000015</c:v>
                </c:pt>
                <c:pt idx="312">
                  <c:v>99.650990000000007</c:v>
                </c:pt>
                <c:pt idx="313">
                  <c:v>99.698000000000008</c:v>
                </c:pt>
                <c:pt idx="314">
                  <c:v>99.745990000000006</c:v>
                </c:pt>
                <c:pt idx="315">
                  <c:v>99.886990000000011</c:v>
                </c:pt>
                <c:pt idx="316">
                  <c:v>99.933990000000009</c:v>
                </c:pt>
                <c:pt idx="317">
                  <c:v>98.079990000000009</c:v>
                </c:pt>
                <c:pt idx="318">
                  <c:v>98.129990000000006</c:v>
                </c:pt>
                <c:pt idx="319">
                  <c:v>99.96999000000001</c:v>
                </c:pt>
                <c:pt idx="320">
                  <c:v>100.12700000000001</c:v>
                </c:pt>
                <c:pt idx="321">
                  <c:v>100.182</c:v>
                </c:pt>
                <c:pt idx="322">
                  <c:v>109.16000000000001</c:v>
                </c:pt>
                <c:pt idx="323">
                  <c:v>109.209</c:v>
                </c:pt>
                <c:pt idx="324">
                  <c:v>109.26500000000001</c:v>
                </c:pt>
                <c:pt idx="325">
                  <c:v>109.42200000000001</c:v>
                </c:pt>
                <c:pt idx="326">
                  <c:v>108.58300000000001</c:v>
                </c:pt>
                <c:pt idx="327">
                  <c:v>108.63400000000001</c:v>
                </c:pt>
                <c:pt idx="328">
                  <c:v>106.01</c:v>
                </c:pt>
                <c:pt idx="329">
                  <c:v>100.703</c:v>
                </c:pt>
                <c:pt idx="330">
                  <c:v>100.85600000000001</c:v>
                </c:pt>
                <c:pt idx="331">
                  <c:v>100.85600000000001</c:v>
                </c:pt>
                <c:pt idx="332">
                  <c:v>96.495000000000005</c:v>
                </c:pt>
                <c:pt idx="333">
                  <c:v>96.545990000000003</c:v>
                </c:pt>
                <c:pt idx="334">
                  <c:v>96.59799000000001</c:v>
                </c:pt>
                <c:pt idx="335">
                  <c:v>96.750990000000002</c:v>
                </c:pt>
                <c:pt idx="336">
                  <c:v>96.802990000000008</c:v>
                </c:pt>
                <c:pt idx="337">
                  <c:v>96.853000000000009</c:v>
                </c:pt>
                <c:pt idx="338">
                  <c:v>95.116990000000001</c:v>
                </c:pt>
                <c:pt idx="339">
                  <c:v>95.168990000000008</c:v>
                </c:pt>
                <c:pt idx="340">
                  <c:v>95.321000000000012</c:v>
                </c:pt>
                <c:pt idx="341">
                  <c:v>94.476990000000001</c:v>
                </c:pt>
                <c:pt idx="342">
                  <c:v>92.741990000000001</c:v>
                </c:pt>
                <c:pt idx="343">
                  <c:v>92.793000000000006</c:v>
                </c:pt>
                <c:pt idx="344">
                  <c:v>92.842990000000015</c:v>
                </c:pt>
                <c:pt idx="345">
                  <c:v>90.312990000000013</c:v>
                </c:pt>
                <c:pt idx="346">
                  <c:v>87.98199000000001</c:v>
                </c:pt>
                <c:pt idx="347">
                  <c:v>88.025990000000007</c:v>
                </c:pt>
                <c:pt idx="348">
                  <c:v>87.174990000000008</c:v>
                </c:pt>
                <c:pt idx="349">
                  <c:v>87.218990000000005</c:v>
                </c:pt>
                <c:pt idx="350">
                  <c:v>87.351000000000013</c:v>
                </c:pt>
                <c:pt idx="351">
                  <c:v>84.711000000000013</c:v>
                </c:pt>
                <c:pt idx="352">
                  <c:v>84.754990000000006</c:v>
                </c:pt>
                <c:pt idx="353">
                  <c:v>84.797990000000013</c:v>
                </c:pt>
                <c:pt idx="354">
                  <c:v>83.94398000000001</c:v>
                </c:pt>
                <c:pt idx="355">
                  <c:v>86.758990000000011</c:v>
                </c:pt>
                <c:pt idx="356">
                  <c:v>86.802990000000008</c:v>
                </c:pt>
                <c:pt idx="357">
                  <c:v>87.741000000000014</c:v>
                </c:pt>
                <c:pt idx="358">
                  <c:v>89.573000000000008</c:v>
                </c:pt>
                <c:pt idx="359">
                  <c:v>89.614990000000006</c:v>
                </c:pt>
                <c:pt idx="360">
                  <c:v>89.743990000000011</c:v>
                </c:pt>
                <c:pt idx="361">
                  <c:v>89.786000000000001</c:v>
                </c:pt>
                <c:pt idx="362">
                  <c:v>89.828990000000005</c:v>
                </c:pt>
                <c:pt idx="363">
                  <c:v>95.467990000000015</c:v>
                </c:pt>
                <c:pt idx="364">
                  <c:v>97.259990000000002</c:v>
                </c:pt>
                <c:pt idx="365">
                  <c:v>97.25800000000001</c:v>
                </c:pt>
                <c:pt idx="366">
                  <c:v>97.25800000000001</c:v>
                </c:pt>
                <c:pt idx="367">
                  <c:v>97.256000000000014</c:v>
                </c:pt>
                <c:pt idx="368">
                  <c:v>97.256990000000002</c:v>
                </c:pt>
                <c:pt idx="369">
                  <c:v>97.256990000000002</c:v>
                </c:pt>
                <c:pt idx="370">
                  <c:v>98.150990000000007</c:v>
                </c:pt>
                <c:pt idx="371">
                  <c:v>98.150990000000007</c:v>
                </c:pt>
                <c:pt idx="372">
                  <c:v>99.935990000000004</c:v>
                </c:pt>
                <c:pt idx="373">
                  <c:v>99.937990000000013</c:v>
                </c:pt>
                <c:pt idx="374">
                  <c:v>99.937000000000012</c:v>
                </c:pt>
                <c:pt idx="375">
                  <c:v>100.834</c:v>
                </c:pt>
                <c:pt idx="376">
                  <c:v>108.88200000000001</c:v>
                </c:pt>
                <c:pt idx="377">
                  <c:v>104.4</c:v>
                </c:pt>
                <c:pt idx="378">
                  <c:v>104.4</c:v>
                </c:pt>
                <c:pt idx="379">
                  <c:v>95.459990000000005</c:v>
                </c:pt>
                <c:pt idx="380">
                  <c:v>95.459990000000005</c:v>
                </c:pt>
                <c:pt idx="381">
                  <c:v>98.149990000000003</c:v>
                </c:pt>
                <c:pt idx="382">
                  <c:v>99.039990000000003</c:v>
                </c:pt>
                <c:pt idx="383">
                  <c:v>117.79</c:v>
                </c:pt>
                <c:pt idx="384">
                  <c:v>117.77000000000001</c:v>
                </c:pt>
                <c:pt idx="385">
                  <c:v>135.63000000000002</c:v>
                </c:pt>
                <c:pt idx="386">
                  <c:v>122.15</c:v>
                </c:pt>
                <c:pt idx="387">
                  <c:v>113.28000000000002</c:v>
                </c:pt>
                <c:pt idx="388">
                  <c:v>108.83000000000001</c:v>
                </c:pt>
                <c:pt idx="389">
                  <c:v>108.83000000000001</c:v>
                </c:pt>
                <c:pt idx="390">
                  <c:v>108.85000000000001</c:v>
                </c:pt>
                <c:pt idx="391">
                  <c:v>104.37</c:v>
                </c:pt>
                <c:pt idx="392">
                  <c:v>107.04</c:v>
                </c:pt>
                <c:pt idx="393">
                  <c:v>107.05000000000001</c:v>
                </c:pt>
                <c:pt idx="394">
                  <c:v>108.84</c:v>
                </c:pt>
                <c:pt idx="395">
                  <c:v>112.9188</c:v>
                </c:pt>
                <c:pt idx="396">
                  <c:v>110.67000000000002</c:v>
                </c:pt>
                <c:pt idx="397">
                  <c:v>110.67000000000002</c:v>
                </c:pt>
                <c:pt idx="398">
                  <c:v>108.42000000000002</c:v>
                </c:pt>
                <c:pt idx="399">
                  <c:v>106.19000000000001</c:v>
                </c:pt>
                <c:pt idx="400">
                  <c:v>103.49000000000001</c:v>
                </c:pt>
                <c:pt idx="401">
                  <c:v>102.60000000000001</c:v>
                </c:pt>
                <c:pt idx="402">
                  <c:v>102.60000000000001</c:v>
                </c:pt>
                <c:pt idx="403">
                  <c:v>102.60000000000001</c:v>
                </c:pt>
                <c:pt idx="404">
                  <c:v>102.60000000000001</c:v>
                </c:pt>
                <c:pt idx="405">
                  <c:v>101.7</c:v>
                </c:pt>
                <c:pt idx="406">
                  <c:v>102.60000000000001</c:v>
                </c:pt>
                <c:pt idx="407">
                  <c:v>102.59</c:v>
                </c:pt>
                <c:pt idx="408">
                  <c:v>105.74000000000001</c:v>
                </c:pt>
                <c:pt idx="409">
                  <c:v>105.74000000000001</c:v>
                </c:pt>
                <c:pt idx="410">
                  <c:v>105.74000000000001</c:v>
                </c:pt>
                <c:pt idx="411">
                  <c:v>105.74000000000001</c:v>
                </c:pt>
                <c:pt idx="412">
                  <c:v>106.64000000000001</c:v>
                </c:pt>
                <c:pt idx="413">
                  <c:v>106.64000000000001</c:v>
                </c:pt>
                <c:pt idx="414">
                  <c:v>105.29</c:v>
                </c:pt>
                <c:pt idx="415">
                  <c:v>105.29</c:v>
                </c:pt>
                <c:pt idx="416">
                  <c:v>105.29</c:v>
                </c:pt>
                <c:pt idx="417">
                  <c:v>105.73</c:v>
                </c:pt>
                <c:pt idx="418">
                  <c:v>105.74000000000001</c:v>
                </c:pt>
                <c:pt idx="419">
                  <c:v>105.73</c:v>
                </c:pt>
                <c:pt idx="420">
                  <c:v>105.73</c:v>
                </c:pt>
                <c:pt idx="421">
                  <c:v>106.18</c:v>
                </c:pt>
                <c:pt idx="422">
                  <c:v>106.18</c:v>
                </c:pt>
                <c:pt idx="423">
                  <c:v>106.18</c:v>
                </c:pt>
                <c:pt idx="424">
                  <c:v>106.18</c:v>
                </c:pt>
                <c:pt idx="425">
                  <c:v>108.43</c:v>
                </c:pt>
                <c:pt idx="426">
                  <c:v>108.42000000000002</c:v>
                </c:pt>
                <c:pt idx="427">
                  <c:v>108.42000000000002</c:v>
                </c:pt>
                <c:pt idx="428">
                  <c:v>110.67000000000002</c:v>
                </c:pt>
                <c:pt idx="429">
                  <c:v>110.67000000000002</c:v>
                </c:pt>
                <c:pt idx="430">
                  <c:v>110.68</c:v>
                </c:pt>
                <c:pt idx="431">
                  <c:v>111.13000000000001</c:v>
                </c:pt>
                <c:pt idx="432">
                  <c:v>111.13000000000001</c:v>
                </c:pt>
                <c:pt idx="433">
                  <c:v>110.23</c:v>
                </c:pt>
                <c:pt idx="434">
                  <c:v>109.78000000000002</c:v>
                </c:pt>
                <c:pt idx="435">
                  <c:v>108.88000000000001</c:v>
                </c:pt>
                <c:pt idx="436">
                  <c:v>108.88000000000001</c:v>
                </c:pt>
                <c:pt idx="437">
                  <c:v>108.89000000000001</c:v>
                </c:pt>
                <c:pt idx="438">
                  <c:v>108.89000000000001</c:v>
                </c:pt>
                <c:pt idx="439">
                  <c:v>108.88000000000001</c:v>
                </c:pt>
                <c:pt idx="440">
                  <c:v>108.89000000000001</c:v>
                </c:pt>
                <c:pt idx="441">
                  <c:v>108.44000000000001</c:v>
                </c:pt>
                <c:pt idx="442">
                  <c:v>108.43</c:v>
                </c:pt>
                <c:pt idx="443">
                  <c:v>106.19000000000001</c:v>
                </c:pt>
                <c:pt idx="444" formatCode="0.00">
                  <c:v>106.06</c:v>
                </c:pt>
                <c:pt idx="445" formatCode="0.00">
                  <c:v>106.04</c:v>
                </c:pt>
                <c:pt idx="446" formatCode="0.00">
                  <c:v>104.39000000000001</c:v>
                </c:pt>
                <c:pt idx="447" formatCode="0.00">
                  <c:v>104.4</c:v>
                </c:pt>
                <c:pt idx="448" formatCode="0.00">
                  <c:v>100.3652</c:v>
                </c:pt>
                <c:pt idx="449" formatCode="0.00">
                  <c:v>102.60000000000001</c:v>
                </c:pt>
                <c:pt idx="450">
                  <c:v>102.60000000000001</c:v>
                </c:pt>
                <c:pt idx="451">
                  <c:v>102.60000000000001</c:v>
                </c:pt>
                <c:pt idx="452">
                  <c:v>102.60000000000001</c:v>
                </c:pt>
                <c:pt idx="453">
                  <c:v>103.50000000000001</c:v>
                </c:pt>
                <c:pt idx="454">
                  <c:v>103.94000000000001</c:v>
                </c:pt>
                <c:pt idx="455">
                  <c:v>103.94000000000001</c:v>
                </c:pt>
                <c:pt idx="456">
                  <c:v>103.94000000000001</c:v>
                </c:pt>
                <c:pt idx="457">
                  <c:v>103.93</c:v>
                </c:pt>
                <c:pt idx="458">
                  <c:v>103.94000000000001</c:v>
                </c:pt>
                <c:pt idx="459">
                  <c:v>103.94000000000001</c:v>
                </c:pt>
                <c:pt idx="460">
                  <c:v>103.93</c:v>
                </c:pt>
                <c:pt idx="461">
                  <c:v>103.94000000000001</c:v>
                </c:pt>
                <c:pt idx="462">
                  <c:v>103.93</c:v>
                </c:pt>
                <c:pt idx="463">
                  <c:v>103.94000000000001</c:v>
                </c:pt>
                <c:pt idx="464">
                  <c:v>103.94000000000001</c:v>
                </c:pt>
                <c:pt idx="465">
                  <c:v>103.94000000000001</c:v>
                </c:pt>
                <c:pt idx="466">
                  <c:v>103.49000000000001</c:v>
                </c:pt>
                <c:pt idx="467">
                  <c:v>103.49000000000001</c:v>
                </c:pt>
                <c:pt idx="468">
                  <c:v>103.49000000000001</c:v>
                </c:pt>
                <c:pt idx="469">
                  <c:v>104.39000000000001</c:v>
                </c:pt>
                <c:pt idx="470">
                  <c:v>104.39000000000001</c:v>
                </c:pt>
                <c:pt idx="471">
                  <c:v>104.39000000000001</c:v>
                </c:pt>
                <c:pt idx="472">
                  <c:v>104.39000000000001</c:v>
                </c:pt>
                <c:pt idx="473">
                  <c:v>104.39000000000001</c:v>
                </c:pt>
                <c:pt idx="474">
                  <c:v>104.39000000000001</c:v>
                </c:pt>
                <c:pt idx="475">
                  <c:v>104.39000000000001</c:v>
                </c:pt>
                <c:pt idx="476">
                  <c:v>104.39000000000001</c:v>
                </c:pt>
                <c:pt idx="477">
                  <c:v>104.84</c:v>
                </c:pt>
                <c:pt idx="478">
                  <c:v>105.74000000000001</c:v>
                </c:pt>
                <c:pt idx="479">
                  <c:v>105.74000000000001</c:v>
                </c:pt>
                <c:pt idx="480">
                  <c:v>105.74000000000001</c:v>
                </c:pt>
                <c:pt idx="481">
                  <c:v>105.74000000000001</c:v>
                </c:pt>
                <c:pt idx="482">
                  <c:v>105.74000000000001</c:v>
                </c:pt>
                <c:pt idx="483">
                  <c:v>106.19000000000001</c:v>
                </c:pt>
                <c:pt idx="484">
                  <c:v>107.09</c:v>
                </c:pt>
                <c:pt idx="485">
                  <c:v>107.08000000000001</c:v>
                </c:pt>
                <c:pt idx="486">
                  <c:v>107.98</c:v>
                </c:pt>
                <c:pt idx="487">
                  <c:v>107.98</c:v>
                </c:pt>
                <c:pt idx="488">
                  <c:v>107.98</c:v>
                </c:pt>
                <c:pt idx="489">
                  <c:v>107.98</c:v>
                </c:pt>
                <c:pt idx="490">
                  <c:v>107.98</c:v>
                </c:pt>
                <c:pt idx="491">
                  <c:v>108.43</c:v>
                </c:pt>
                <c:pt idx="492">
                  <c:v>108.43</c:v>
                </c:pt>
                <c:pt idx="493">
                  <c:v>108.43</c:v>
                </c:pt>
                <c:pt idx="494">
                  <c:v>108.43</c:v>
                </c:pt>
                <c:pt idx="495">
                  <c:v>108.43</c:v>
                </c:pt>
                <c:pt idx="496">
                  <c:v>108.43</c:v>
                </c:pt>
                <c:pt idx="497">
                  <c:v>108.43</c:v>
                </c:pt>
                <c:pt idx="498">
                  <c:v>108.43</c:v>
                </c:pt>
                <c:pt idx="499">
                  <c:v>108.43</c:v>
                </c:pt>
                <c:pt idx="500">
                  <c:v>108.43</c:v>
                </c:pt>
                <c:pt idx="501">
                  <c:v>108.43</c:v>
                </c:pt>
                <c:pt idx="502">
                  <c:v>108.43</c:v>
                </c:pt>
                <c:pt idx="503">
                  <c:v>108.43</c:v>
                </c:pt>
                <c:pt idx="504">
                  <c:v>108.43</c:v>
                </c:pt>
                <c:pt idx="505">
                  <c:v>108.44000000000001</c:v>
                </c:pt>
                <c:pt idx="506">
                  <c:v>108.44000000000001</c:v>
                </c:pt>
                <c:pt idx="507">
                  <c:v>108.43</c:v>
                </c:pt>
                <c:pt idx="508">
                  <c:v>108.43</c:v>
                </c:pt>
                <c:pt idx="509">
                  <c:v>108.43</c:v>
                </c:pt>
                <c:pt idx="510">
                  <c:v>108.44000000000001</c:v>
                </c:pt>
                <c:pt idx="511">
                  <c:v>108.44000000000001</c:v>
                </c:pt>
                <c:pt idx="512">
                  <c:v>108.89000000000001</c:v>
                </c:pt>
                <c:pt idx="513">
                  <c:v>108.9</c:v>
                </c:pt>
                <c:pt idx="514">
                  <c:v>108.88000000000001</c:v>
                </c:pt>
                <c:pt idx="515">
                  <c:v>108.87</c:v>
                </c:pt>
                <c:pt idx="516">
                  <c:v>108.87</c:v>
                </c:pt>
                <c:pt idx="517">
                  <c:v>108.87</c:v>
                </c:pt>
                <c:pt idx="518">
                  <c:v>108.87</c:v>
                </c:pt>
                <c:pt idx="519">
                  <c:v>108.87</c:v>
                </c:pt>
                <c:pt idx="520">
                  <c:v>108.87</c:v>
                </c:pt>
                <c:pt idx="521">
                  <c:v>108.87</c:v>
                </c:pt>
                <c:pt idx="522">
                  <c:v>108.87</c:v>
                </c:pt>
                <c:pt idx="523">
                  <c:v>108.87</c:v>
                </c:pt>
                <c:pt idx="524">
                  <c:v>108.87</c:v>
                </c:pt>
                <c:pt idx="525">
                  <c:v>110.00000000000001</c:v>
                </c:pt>
                <c:pt idx="526">
                  <c:v>108.87</c:v>
                </c:pt>
                <c:pt idx="527">
                  <c:v>109.32000000000001</c:v>
                </c:pt>
                <c:pt idx="528">
                  <c:v>109.32000000000001</c:v>
                </c:pt>
                <c:pt idx="529">
                  <c:v>109.33000000000001</c:v>
                </c:pt>
                <c:pt idx="530">
                  <c:v>109.33000000000001</c:v>
                </c:pt>
                <c:pt idx="531">
                  <c:v>109.33000000000001</c:v>
                </c:pt>
                <c:pt idx="532">
                  <c:v>109.33000000000001</c:v>
                </c:pt>
                <c:pt idx="533">
                  <c:v>109.33000000000001</c:v>
                </c:pt>
                <c:pt idx="534">
                  <c:v>109.33000000000001</c:v>
                </c:pt>
                <c:pt idx="535">
                  <c:v>109.33000000000001</c:v>
                </c:pt>
                <c:pt idx="536">
                  <c:v>109.33000000000001</c:v>
                </c:pt>
                <c:pt idx="537">
                  <c:v>109.33000000000001</c:v>
                </c:pt>
                <c:pt idx="538">
                  <c:v>109.33000000000001</c:v>
                </c:pt>
                <c:pt idx="539">
                  <c:v>109.33000000000001</c:v>
                </c:pt>
                <c:pt idx="540">
                  <c:v>109.33000000000001</c:v>
                </c:pt>
                <c:pt idx="541">
                  <c:v>109.33000000000001</c:v>
                </c:pt>
                <c:pt idx="542">
                  <c:v>109.33000000000001</c:v>
                </c:pt>
                <c:pt idx="543">
                  <c:v>110.22000000000001</c:v>
                </c:pt>
                <c:pt idx="544">
                  <c:v>114.71000000000001</c:v>
                </c:pt>
                <c:pt idx="545">
                  <c:v>114.72000000000001</c:v>
                </c:pt>
                <c:pt idx="546">
                  <c:v>114.72000000000001</c:v>
                </c:pt>
                <c:pt idx="547">
                  <c:v>114.72000000000001</c:v>
                </c:pt>
                <c:pt idx="548">
                  <c:v>114.72000000000001</c:v>
                </c:pt>
                <c:pt idx="549">
                  <c:v>114.72000000000001</c:v>
                </c:pt>
                <c:pt idx="550">
                  <c:v>114.72000000000001</c:v>
                </c:pt>
                <c:pt idx="551">
                  <c:v>114.72000000000001</c:v>
                </c:pt>
                <c:pt idx="552">
                  <c:v>114.72000000000001</c:v>
                </c:pt>
                <c:pt idx="553">
                  <c:v>114.72000000000001</c:v>
                </c:pt>
                <c:pt idx="554">
                  <c:v>114.72000000000001</c:v>
                </c:pt>
                <c:pt idx="555">
                  <c:v>114.72000000000001</c:v>
                </c:pt>
                <c:pt idx="556">
                  <c:v>114.72000000000001</c:v>
                </c:pt>
                <c:pt idx="557">
                  <c:v>114.72000000000001</c:v>
                </c:pt>
                <c:pt idx="558">
                  <c:v>114.72000000000001</c:v>
                </c:pt>
                <c:pt idx="559">
                  <c:v>114.72000000000001</c:v>
                </c:pt>
                <c:pt idx="560">
                  <c:v>114.72000000000001</c:v>
                </c:pt>
                <c:pt idx="561">
                  <c:v>114.72000000000001</c:v>
                </c:pt>
                <c:pt idx="562">
                  <c:v>114.72000000000001</c:v>
                </c:pt>
                <c:pt idx="563">
                  <c:v>114.73</c:v>
                </c:pt>
                <c:pt idx="564">
                  <c:v>109.79</c:v>
                </c:pt>
                <c:pt idx="565">
                  <c:v>110.22000000000001</c:v>
                </c:pt>
                <c:pt idx="566">
                  <c:v>110.23</c:v>
                </c:pt>
                <c:pt idx="567">
                  <c:v>110.22000000000001</c:v>
                </c:pt>
                <c:pt idx="568">
                  <c:v>110.23</c:v>
                </c:pt>
                <c:pt idx="569">
                  <c:v>110.24000000000001</c:v>
                </c:pt>
                <c:pt idx="570">
                  <c:v>110.22000000000001</c:v>
                </c:pt>
                <c:pt idx="571">
                  <c:v>110.23</c:v>
                </c:pt>
                <c:pt idx="572">
                  <c:v>110.22000000000001</c:v>
                </c:pt>
                <c:pt idx="573">
                  <c:v>110.22000000000001</c:v>
                </c:pt>
                <c:pt idx="574">
                  <c:v>110.23</c:v>
                </c:pt>
                <c:pt idx="575">
                  <c:v>110.23</c:v>
                </c:pt>
                <c:pt idx="576">
                  <c:v>110.23</c:v>
                </c:pt>
                <c:pt idx="577">
                  <c:v>110.23</c:v>
                </c:pt>
                <c:pt idx="578">
                  <c:v>112.47000000000001</c:v>
                </c:pt>
                <c:pt idx="579">
                  <c:v>112.47000000000001</c:v>
                </c:pt>
                <c:pt idx="580">
                  <c:v>112.48</c:v>
                </c:pt>
                <c:pt idx="581">
                  <c:v>112.47000000000001</c:v>
                </c:pt>
                <c:pt idx="582">
                  <c:v>112.46000000000001</c:v>
                </c:pt>
                <c:pt idx="583">
                  <c:v>112.48</c:v>
                </c:pt>
                <c:pt idx="584">
                  <c:v>112.48</c:v>
                </c:pt>
                <c:pt idx="585">
                  <c:v>112.47000000000001</c:v>
                </c:pt>
                <c:pt idx="586">
                  <c:v>112.47000000000001</c:v>
                </c:pt>
                <c:pt idx="587">
                  <c:v>110.22000000000001</c:v>
                </c:pt>
                <c:pt idx="588">
                  <c:v>112.47000000000001</c:v>
                </c:pt>
                <c:pt idx="589">
                  <c:v>112.46000000000001</c:v>
                </c:pt>
                <c:pt idx="590">
                  <c:v>112.46000000000001</c:v>
                </c:pt>
                <c:pt idx="591">
                  <c:v>112.47000000000001</c:v>
                </c:pt>
                <c:pt idx="592">
                  <c:v>112.48</c:v>
                </c:pt>
                <c:pt idx="593">
                  <c:v>112.47000000000001</c:v>
                </c:pt>
                <c:pt idx="594">
                  <c:v>112.48</c:v>
                </c:pt>
                <c:pt idx="595">
                  <c:v>112.48</c:v>
                </c:pt>
                <c:pt idx="596">
                  <c:v>112.47000000000001</c:v>
                </c:pt>
                <c:pt idx="597">
                  <c:v>112.48</c:v>
                </c:pt>
                <c:pt idx="598">
                  <c:v>112.49000000000001</c:v>
                </c:pt>
                <c:pt idx="599">
                  <c:v>112.47000000000001</c:v>
                </c:pt>
                <c:pt idx="600">
                  <c:v>112.47000000000001</c:v>
                </c:pt>
                <c:pt idx="601">
                  <c:v>112.48</c:v>
                </c:pt>
                <c:pt idx="602">
                  <c:v>112.47000000000001</c:v>
                </c:pt>
                <c:pt idx="603">
                  <c:v>112.48</c:v>
                </c:pt>
                <c:pt idx="604">
                  <c:v>112.47000000000001</c:v>
                </c:pt>
                <c:pt idx="605">
                  <c:v>112.48</c:v>
                </c:pt>
                <c:pt idx="606">
                  <c:v>112.48</c:v>
                </c:pt>
                <c:pt idx="607">
                  <c:v>112.47000000000001</c:v>
                </c:pt>
                <c:pt idx="608">
                  <c:v>112.49000000000001</c:v>
                </c:pt>
                <c:pt idx="609">
                  <c:v>112.48</c:v>
                </c:pt>
                <c:pt idx="610">
                  <c:v>112.48</c:v>
                </c:pt>
                <c:pt idx="611">
                  <c:v>112.48</c:v>
                </c:pt>
                <c:pt idx="612">
                  <c:v>112.48</c:v>
                </c:pt>
                <c:pt idx="613">
                  <c:v>112.48</c:v>
                </c:pt>
                <c:pt idx="614">
                  <c:v>112.48</c:v>
                </c:pt>
                <c:pt idx="615">
                  <c:v>112.50000000000001</c:v>
                </c:pt>
                <c:pt idx="616">
                  <c:v>112.50000000000001</c:v>
                </c:pt>
                <c:pt idx="617">
                  <c:v>112.50000000000001</c:v>
                </c:pt>
                <c:pt idx="618">
                  <c:v>112.50000000000001</c:v>
                </c:pt>
                <c:pt idx="619">
                  <c:v>112.50000000000001</c:v>
                </c:pt>
                <c:pt idx="620">
                  <c:v>112.50000000000001</c:v>
                </c:pt>
                <c:pt idx="621">
                  <c:v>112.50000000000001</c:v>
                </c:pt>
                <c:pt idx="622">
                  <c:v>112.49000000000001</c:v>
                </c:pt>
                <c:pt idx="623">
                  <c:v>112.50000000000001</c:v>
                </c:pt>
                <c:pt idx="624">
                  <c:v>112.50000000000001</c:v>
                </c:pt>
                <c:pt idx="625">
                  <c:v>112.50000000000001</c:v>
                </c:pt>
                <c:pt idx="626">
                  <c:v>112.50000000000001</c:v>
                </c:pt>
                <c:pt idx="627">
                  <c:v>112.50000000000001</c:v>
                </c:pt>
                <c:pt idx="628">
                  <c:v>112.50000000000001</c:v>
                </c:pt>
                <c:pt idx="629">
                  <c:v>108.00000000000001</c:v>
                </c:pt>
                <c:pt idx="630">
                  <c:v>108.00000000000001</c:v>
                </c:pt>
                <c:pt idx="631">
                  <c:v>108.00000000000001</c:v>
                </c:pt>
                <c:pt idx="632">
                  <c:v>108.00000000000001</c:v>
                </c:pt>
                <c:pt idx="633">
                  <c:v>108.00000000000001</c:v>
                </c:pt>
                <c:pt idx="634">
                  <c:v>108.00000000000001</c:v>
                </c:pt>
                <c:pt idx="635">
                  <c:v>108.00000000000001</c:v>
                </c:pt>
                <c:pt idx="636">
                  <c:v>108.00000000000001</c:v>
                </c:pt>
                <c:pt idx="637">
                  <c:v>108.00000000000001</c:v>
                </c:pt>
                <c:pt idx="638">
                  <c:v>108.00000000000001</c:v>
                </c:pt>
                <c:pt idx="639">
                  <c:v>108.00000000000001</c:v>
                </c:pt>
                <c:pt idx="640">
                  <c:v>108.00000000000001</c:v>
                </c:pt>
                <c:pt idx="641">
                  <c:v>107.11000000000001</c:v>
                </c:pt>
                <c:pt idx="642">
                  <c:v>107.10000000000001</c:v>
                </c:pt>
                <c:pt idx="643">
                  <c:v>106.66000000000001</c:v>
                </c:pt>
                <c:pt idx="644">
                  <c:v>108.00000000000001</c:v>
                </c:pt>
                <c:pt idx="645">
                  <c:v>108.00000000000001</c:v>
                </c:pt>
                <c:pt idx="646">
                  <c:v>108.00000000000001</c:v>
                </c:pt>
                <c:pt idx="647">
                  <c:v>107.99000000000001</c:v>
                </c:pt>
                <c:pt idx="648">
                  <c:v>107.99000000000001</c:v>
                </c:pt>
                <c:pt idx="649">
                  <c:v>112.92000000000002</c:v>
                </c:pt>
                <c:pt idx="650">
                  <c:v>121.92000000000002</c:v>
                </c:pt>
                <c:pt idx="651">
                  <c:v>121.93</c:v>
                </c:pt>
                <c:pt idx="652">
                  <c:v>121.93</c:v>
                </c:pt>
                <c:pt idx="653">
                  <c:v>121.93</c:v>
                </c:pt>
                <c:pt idx="654">
                  <c:v>121.92000000000002</c:v>
                </c:pt>
                <c:pt idx="655">
                  <c:v>121.92000000000002</c:v>
                </c:pt>
                <c:pt idx="656">
                  <c:v>119.66000000000001</c:v>
                </c:pt>
                <c:pt idx="657">
                  <c:v>119.68</c:v>
                </c:pt>
                <c:pt idx="658">
                  <c:v>119.66000000000001</c:v>
                </c:pt>
                <c:pt idx="659">
                  <c:v>119.65</c:v>
                </c:pt>
                <c:pt idx="660">
                  <c:v>119.67000000000002</c:v>
                </c:pt>
                <c:pt idx="661">
                  <c:v>119.67000000000002</c:v>
                </c:pt>
                <c:pt idx="662">
                  <c:v>119.67000000000002</c:v>
                </c:pt>
                <c:pt idx="663">
                  <c:v>119.66000000000001</c:v>
                </c:pt>
                <c:pt idx="664">
                  <c:v>119.68</c:v>
                </c:pt>
                <c:pt idx="665">
                  <c:v>119.67000000000002</c:v>
                </c:pt>
                <c:pt idx="666">
                  <c:v>119.67000000000002</c:v>
                </c:pt>
                <c:pt idx="667">
                  <c:v>119.66000000000001</c:v>
                </c:pt>
                <c:pt idx="668">
                  <c:v>119.68</c:v>
                </c:pt>
                <c:pt idx="669">
                  <c:v>119.66000000000001</c:v>
                </c:pt>
                <c:pt idx="670">
                  <c:v>119.67000000000002</c:v>
                </c:pt>
                <c:pt idx="671">
                  <c:v>119.67000000000002</c:v>
                </c:pt>
                <c:pt idx="672">
                  <c:v>119.67000000000002</c:v>
                </c:pt>
                <c:pt idx="673">
                  <c:v>117.42000000000002</c:v>
                </c:pt>
                <c:pt idx="674">
                  <c:v>117.39000000000001</c:v>
                </c:pt>
                <c:pt idx="675">
                  <c:v>117.39000000000001</c:v>
                </c:pt>
                <c:pt idx="676">
                  <c:v>117.43</c:v>
                </c:pt>
                <c:pt idx="677">
                  <c:v>117.41000000000001</c:v>
                </c:pt>
                <c:pt idx="678">
                  <c:v>117.41000000000001</c:v>
                </c:pt>
                <c:pt idx="679">
                  <c:v>117.00000000000001</c:v>
                </c:pt>
                <c:pt idx="680">
                  <c:v>117.41000000000001</c:v>
                </c:pt>
                <c:pt idx="681">
                  <c:v>117.42000000000002</c:v>
                </c:pt>
                <c:pt idx="682">
                  <c:v>117.41000000000001</c:v>
                </c:pt>
                <c:pt idx="683">
                  <c:v>117.42000000000002</c:v>
                </c:pt>
                <c:pt idx="684">
                  <c:v>117.41000000000001</c:v>
                </c:pt>
                <c:pt idx="685">
                  <c:v>119.22000000000001</c:v>
                </c:pt>
                <c:pt idx="686">
                  <c:v>119.21000000000001</c:v>
                </c:pt>
                <c:pt idx="687">
                  <c:v>119.22000000000001</c:v>
                </c:pt>
                <c:pt idx="688">
                  <c:v>121.46000000000001</c:v>
                </c:pt>
                <c:pt idx="689">
                  <c:v>121.47000000000001</c:v>
                </c:pt>
                <c:pt idx="690">
                  <c:v>121.46000000000001</c:v>
                </c:pt>
                <c:pt idx="691">
                  <c:v>121.46000000000001</c:v>
                </c:pt>
                <c:pt idx="692">
                  <c:v>119.67000000000002</c:v>
                </c:pt>
                <c:pt idx="693">
                  <c:v>119.67000000000002</c:v>
                </c:pt>
                <c:pt idx="694">
                  <c:v>117.42000000000002</c:v>
                </c:pt>
                <c:pt idx="695">
                  <c:v>117.42000000000002</c:v>
                </c:pt>
                <c:pt idx="696">
                  <c:v>117.43</c:v>
                </c:pt>
                <c:pt idx="697">
                  <c:v>117.42000000000002</c:v>
                </c:pt>
                <c:pt idx="698">
                  <c:v>117.43</c:v>
                </c:pt>
                <c:pt idx="699">
                  <c:v>117.41000000000001</c:v>
                </c:pt>
                <c:pt idx="700">
                  <c:v>117.42000000000002</c:v>
                </c:pt>
                <c:pt idx="701">
                  <c:v>117.42000000000002</c:v>
                </c:pt>
                <c:pt idx="702">
                  <c:v>117.42000000000002</c:v>
                </c:pt>
                <c:pt idx="703">
                  <c:v>117.42000000000002</c:v>
                </c:pt>
                <c:pt idx="704">
                  <c:v>117.86000000000001</c:v>
                </c:pt>
                <c:pt idx="705">
                  <c:v>117.42000000000002</c:v>
                </c:pt>
                <c:pt idx="706">
                  <c:v>117.43</c:v>
                </c:pt>
                <c:pt idx="707">
                  <c:v>117.42000000000002</c:v>
                </c:pt>
                <c:pt idx="708">
                  <c:v>117.42000000000002</c:v>
                </c:pt>
                <c:pt idx="709">
                  <c:v>117.42000000000002</c:v>
                </c:pt>
                <c:pt idx="710">
                  <c:v>118.13000000000001</c:v>
                </c:pt>
                <c:pt idx="711">
                  <c:v>118.13000000000001</c:v>
                </c:pt>
                <c:pt idx="712">
                  <c:v>118.13000000000001</c:v>
                </c:pt>
                <c:pt idx="713">
                  <c:v>118.13000000000001</c:v>
                </c:pt>
                <c:pt idx="714">
                  <c:v>118.13000000000001</c:v>
                </c:pt>
                <c:pt idx="715">
                  <c:v>119.02000000000001</c:v>
                </c:pt>
                <c:pt idx="716">
                  <c:v>121.9</c:v>
                </c:pt>
                <c:pt idx="717">
                  <c:v>121.9</c:v>
                </c:pt>
                <c:pt idx="718">
                  <c:v>123.24000000000001</c:v>
                </c:pt>
                <c:pt idx="719">
                  <c:v>123.24000000000001</c:v>
                </c:pt>
                <c:pt idx="720">
                  <c:v>123.24000000000001</c:v>
                </c:pt>
                <c:pt idx="721">
                  <c:v>123.18</c:v>
                </c:pt>
                <c:pt idx="722">
                  <c:v>123.23</c:v>
                </c:pt>
                <c:pt idx="723">
                  <c:v>123.25000000000001</c:v>
                </c:pt>
                <c:pt idx="724">
                  <c:v>123.23</c:v>
                </c:pt>
                <c:pt idx="725">
                  <c:v>123.25000000000001</c:v>
                </c:pt>
                <c:pt idx="726">
                  <c:v>123.21000000000001</c:v>
                </c:pt>
                <c:pt idx="727">
                  <c:v>124.08000000000001</c:v>
                </c:pt>
                <c:pt idx="728">
                  <c:v>124.14000000000001</c:v>
                </c:pt>
                <c:pt idx="729">
                  <c:v>124.15</c:v>
                </c:pt>
                <c:pt idx="730">
                  <c:v>125.91000000000001</c:v>
                </c:pt>
                <c:pt idx="731">
                  <c:v>125.92000000000002</c:v>
                </c:pt>
                <c:pt idx="732">
                  <c:v>125.93</c:v>
                </c:pt>
                <c:pt idx="733">
                  <c:v>127.30000000000001</c:v>
                </c:pt>
                <c:pt idx="734">
                  <c:v>127.27000000000001</c:v>
                </c:pt>
                <c:pt idx="735">
                  <c:v>127.27000000000001</c:v>
                </c:pt>
                <c:pt idx="736">
                  <c:v>127.27000000000001</c:v>
                </c:pt>
                <c:pt idx="737">
                  <c:v>128.62</c:v>
                </c:pt>
                <c:pt idx="738">
                  <c:v>128.63000000000002</c:v>
                </c:pt>
                <c:pt idx="739">
                  <c:v>127.73</c:v>
                </c:pt>
                <c:pt idx="740">
                  <c:v>127.73</c:v>
                </c:pt>
                <c:pt idx="741">
                  <c:v>127.73</c:v>
                </c:pt>
                <c:pt idx="742">
                  <c:v>127.73</c:v>
                </c:pt>
                <c:pt idx="743">
                  <c:v>127.74000000000001</c:v>
                </c:pt>
                <c:pt idx="744">
                  <c:v>127.73</c:v>
                </c:pt>
                <c:pt idx="745">
                  <c:v>127.74000000000001</c:v>
                </c:pt>
                <c:pt idx="746">
                  <c:v>127.74000000000001</c:v>
                </c:pt>
                <c:pt idx="747">
                  <c:v>129.54000000000002</c:v>
                </c:pt>
                <c:pt idx="748">
                  <c:v>129.54000000000002</c:v>
                </c:pt>
                <c:pt idx="749">
                  <c:v>129.54000000000002</c:v>
                </c:pt>
                <c:pt idx="750">
                  <c:v>129.54000000000002</c:v>
                </c:pt>
                <c:pt idx="751">
                  <c:v>129.54000000000002</c:v>
                </c:pt>
                <c:pt idx="752">
                  <c:v>129.54000000000002</c:v>
                </c:pt>
                <c:pt idx="753">
                  <c:v>129.54000000000002</c:v>
                </c:pt>
                <c:pt idx="754">
                  <c:v>129.54000000000002</c:v>
                </c:pt>
                <c:pt idx="755">
                  <c:v>129.55000000000001</c:v>
                </c:pt>
                <c:pt idx="756">
                  <c:v>129.55000000000001</c:v>
                </c:pt>
                <c:pt idx="757">
                  <c:v>129.54000000000002</c:v>
                </c:pt>
                <c:pt idx="758">
                  <c:v>129.55000000000001</c:v>
                </c:pt>
                <c:pt idx="759">
                  <c:v>129.55000000000001</c:v>
                </c:pt>
                <c:pt idx="760">
                  <c:v>129.56</c:v>
                </c:pt>
                <c:pt idx="761">
                  <c:v>129.55000000000001</c:v>
                </c:pt>
                <c:pt idx="762">
                  <c:v>129.55000000000001</c:v>
                </c:pt>
                <c:pt idx="763">
                  <c:v>129.55000000000001</c:v>
                </c:pt>
                <c:pt idx="764">
                  <c:v>129.55000000000001</c:v>
                </c:pt>
                <c:pt idx="765">
                  <c:v>128.65</c:v>
                </c:pt>
                <c:pt idx="766">
                  <c:v>128.65</c:v>
                </c:pt>
                <c:pt idx="767">
                  <c:v>129.10000000000002</c:v>
                </c:pt>
                <c:pt idx="768">
                  <c:v>134.49</c:v>
                </c:pt>
                <c:pt idx="769">
                  <c:v>139.38000000000002</c:v>
                </c:pt>
                <c:pt idx="770">
                  <c:v>143.9</c:v>
                </c:pt>
                <c:pt idx="771">
                  <c:v>171.49</c:v>
                </c:pt>
                <c:pt idx="772">
                  <c:v>171.62</c:v>
                </c:pt>
                <c:pt idx="773">
                  <c:v>173.53</c:v>
                </c:pt>
                <c:pt idx="774">
                  <c:v>169.04000000000002</c:v>
                </c:pt>
                <c:pt idx="775">
                  <c:v>168.99</c:v>
                </c:pt>
                <c:pt idx="776">
                  <c:v>169</c:v>
                </c:pt>
                <c:pt idx="777">
                  <c:v>168.99</c:v>
                </c:pt>
                <c:pt idx="778">
                  <c:v>169</c:v>
                </c:pt>
                <c:pt idx="779">
                  <c:v>169</c:v>
                </c:pt>
                <c:pt idx="780">
                  <c:v>169.01000000000002</c:v>
                </c:pt>
                <c:pt idx="781">
                  <c:v>167.21</c:v>
                </c:pt>
                <c:pt idx="782">
                  <c:v>167.21</c:v>
                </c:pt>
                <c:pt idx="783">
                  <c:v>167.21</c:v>
                </c:pt>
                <c:pt idx="784">
                  <c:v>167.21</c:v>
                </c:pt>
                <c:pt idx="785">
                  <c:v>167.21</c:v>
                </c:pt>
                <c:pt idx="786">
                  <c:v>170.42000000000002</c:v>
                </c:pt>
                <c:pt idx="787">
                  <c:v>170.36</c:v>
                </c:pt>
                <c:pt idx="788">
                  <c:v>172.17000000000002</c:v>
                </c:pt>
                <c:pt idx="789">
                  <c:v>172.17000000000002</c:v>
                </c:pt>
                <c:pt idx="790">
                  <c:v>172.17000000000002</c:v>
                </c:pt>
                <c:pt idx="791">
                  <c:v>172.17000000000002</c:v>
                </c:pt>
                <c:pt idx="792">
                  <c:v>169.01000000000002</c:v>
                </c:pt>
                <c:pt idx="793">
                  <c:v>169.01000000000002</c:v>
                </c:pt>
                <c:pt idx="794">
                  <c:v>169.03</c:v>
                </c:pt>
                <c:pt idx="795">
                  <c:v>169.01000000000002</c:v>
                </c:pt>
                <c:pt idx="796">
                  <c:v>169.01000000000002</c:v>
                </c:pt>
                <c:pt idx="797">
                  <c:v>169.01000000000002</c:v>
                </c:pt>
                <c:pt idx="798">
                  <c:v>169.02</c:v>
                </c:pt>
                <c:pt idx="799">
                  <c:v>166.72000000000003</c:v>
                </c:pt>
                <c:pt idx="800">
                  <c:v>166.8</c:v>
                </c:pt>
                <c:pt idx="801">
                  <c:v>166.79000000000002</c:v>
                </c:pt>
                <c:pt idx="802">
                  <c:v>166.80010000000001</c:v>
                </c:pt>
                <c:pt idx="803">
                  <c:v>166.79750000000001</c:v>
                </c:pt>
                <c:pt idx="804">
                  <c:v>165.89000000000001</c:v>
                </c:pt>
                <c:pt idx="805">
                  <c:v>165.9</c:v>
                </c:pt>
                <c:pt idx="806">
                  <c:v>165</c:v>
                </c:pt>
                <c:pt idx="807">
                  <c:v>164.99</c:v>
                </c:pt>
                <c:pt idx="808">
                  <c:v>165.01000000000002</c:v>
                </c:pt>
                <c:pt idx="809">
                  <c:v>164.99</c:v>
                </c:pt>
                <c:pt idx="810">
                  <c:v>164.99</c:v>
                </c:pt>
                <c:pt idx="811">
                  <c:v>161.85000000000002</c:v>
                </c:pt>
                <c:pt idx="812">
                  <c:v>161.84</c:v>
                </c:pt>
                <c:pt idx="813">
                  <c:v>161.84</c:v>
                </c:pt>
                <c:pt idx="814">
                  <c:v>161.84</c:v>
                </c:pt>
                <c:pt idx="815">
                  <c:v>161.83000000000001</c:v>
                </c:pt>
                <c:pt idx="816">
                  <c:v>161.84</c:v>
                </c:pt>
                <c:pt idx="817">
                  <c:v>161.85000000000002</c:v>
                </c:pt>
                <c:pt idx="818">
                  <c:v>161.84</c:v>
                </c:pt>
                <c:pt idx="819">
                  <c:v>161.85000000000002</c:v>
                </c:pt>
                <c:pt idx="820">
                  <c:v>161.85000000000002</c:v>
                </c:pt>
                <c:pt idx="821">
                  <c:v>161.85000000000002</c:v>
                </c:pt>
                <c:pt idx="822">
                  <c:v>160.95000000000002</c:v>
                </c:pt>
                <c:pt idx="823">
                  <c:v>159.16000000000003</c:v>
                </c:pt>
                <c:pt idx="824">
                  <c:v>156.02000000000001</c:v>
                </c:pt>
                <c:pt idx="825">
                  <c:v>156.03</c:v>
                </c:pt>
                <c:pt idx="826">
                  <c:v>155.58000000000001</c:v>
                </c:pt>
                <c:pt idx="827">
                  <c:v>155.59</c:v>
                </c:pt>
                <c:pt idx="828">
                  <c:v>155.59</c:v>
                </c:pt>
                <c:pt idx="829">
                  <c:v>155.59</c:v>
                </c:pt>
                <c:pt idx="830">
                  <c:v>154.69000000000003</c:v>
                </c:pt>
                <c:pt idx="831">
                  <c:v>151.10000000000002</c:v>
                </c:pt>
                <c:pt idx="832">
                  <c:v>151.10000000000002</c:v>
                </c:pt>
                <c:pt idx="833">
                  <c:v>151.11000000000001</c:v>
                </c:pt>
                <c:pt idx="834">
                  <c:v>151.10000000000002</c:v>
                </c:pt>
                <c:pt idx="835">
                  <c:v>151.10000000000002</c:v>
                </c:pt>
                <c:pt idx="836">
                  <c:v>151.10000000000002</c:v>
                </c:pt>
                <c:pt idx="837">
                  <c:v>151.55000000000001</c:v>
                </c:pt>
                <c:pt idx="838">
                  <c:v>151.59</c:v>
                </c:pt>
                <c:pt idx="839">
                  <c:v>149.25</c:v>
                </c:pt>
                <c:pt idx="840">
                  <c:v>148.85000000000002</c:v>
                </c:pt>
                <c:pt idx="841">
                  <c:v>147.91000000000003</c:v>
                </c:pt>
                <c:pt idx="842">
                  <c:v>147.46</c:v>
                </c:pt>
                <c:pt idx="843">
                  <c:v>147.47</c:v>
                </c:pt>
                <c:pt idx="844">
                  <c:v>147.47</c:v>
                </c:pt>
                <c:pt idx="845">
                  <c:v>145.21</c:v>
                </c:pt>
                <c:pt idx="846">
                  <c:v>145.21</c:v>
                </c:pt>
                <c:pt idx="847">
                  <c:v>145.21</c:v>
                </c:pt>
                <c:pt idx="848">
                  <c:v>145.21</c:v>
                </c:pt>
                <c:pt idx="849">
                  <c:v>145.21</c:v>
                </c:pt>
                <c:pt idx="850">
                  <c:v>145.21</c:v>
                </c:pt>
                <c:pt idx="851">
                  <c:v>145.21</c:v>
                </c:pt>
                <c:pt idx="852">
                  <c:v>144.77000000000001</c:v>
                </c:pt>
                <c:pt idx="853">
                  <c:v>144.77000000000001</c:v>
                </c:pt>
                <c:pt idx="854">
                  <c:v>144.77000000000001</c:v>
                </c:pt>
                <c:pt idx="855">
                  <c:v>144.32000000000002</c:v>
                </c:pt>
                <c:pt idx="856">
                  <c:v>144.33000000000001</c:v>
                </c:pt>
                <c:pt idx="857">
                  <c:v>144.32000000000002</c:v>
                </c:pt>
                <c:pt idx="858">
                  <c:v>142.08000000000001</c:v>
                </c:pt>
                <c:pt idx="859">
                  <c:v>142.07000000000002</c:v>
                </c:pt>
                <c:pt idx="860">
                  <c:v>142.98000000000002</c:v>
                </c:pt>
                <c:pt idx="861">
                  <c:v>142.97</c:v>
                </c:pt>
                <c:pt idx="862">
                  <c:v>142.97</c:v>
                </c:pt>
                <c:pt idx="863">
                  <c:v>142.97</c:v>
                </c:pt>
                <c:pt idx="864">
                  <c:v>145.22</c:v>
                </c:pt>
                <c:pt idx="865">
                  <c:v>145.22</c:v>
                </c:pt>
                <c:pt idx="866">
                  <c:v>145.22</c:v>
                </c:pt>
                <c:pt idx="867">
                  <c:v>145.22</c:v>
                </c:pt>
                <c:pt idx="868">
                  <c:v>145.22</c:v>
                </c:pt>
                <c:pt idx="869">
                  <c:v>145.22</c:v>
                </c:pt>
                <c:pt idx="870">
                  <c:v>145.22</c:v>
                </c:pt>
                <c:pt idx="871">
                  <c:v>145.21</c:v>
                </c:pt>
                <c:pt idx="872">
                  <c:v>145.22</c:v>
                </c:pt>
                <c:pt idx="873">
                  <c:v>145.22</c:v>
                </c:pt>
                <c:pt idx="874">
                  <c:v>145.22</c:v>
                </c:pt>
                <c:pt idx="875">
                  <c:v>145.22</c:v>
                </c:pt>
                <c:pt idx="876">
                  <c:v>145.23000000000002</c:v>
                </c:pt>
                <c:pt idx="877">
                  <c:v>145.23000000000002</c:v>
                </c:pt>
                <c:pt idx="878">
                  <c:v>145.23000000000002</c:v>
                </c:pt>
                <c:pt idx="879">
                  <c:v>145.23000000000002</c:v>
                </c:pt>
                <c:pt idx="880">
                  <c:v>145.23000000000002</c:v>
                </c:pt>
                <c:pt idx="881">
                  <c:v>145.23000000000002</c:v>
                </c:pt>
                <c:pt idx="882">
                  <c:v>145.22</c:v>
                </c:pt>
                <c:pt idx="883">
                  <c:v>145.22</c:v>
                </c:pt>
                <c:pt idx="884">
                  <c:v>145.23000000000002</c:v>
                </c:pt>
                <c:pt idx="885">
                  <c:v>145.24</c:v>
                </c:pt>
                <c:pt idx="886">
                  <c:v>145.25</c:v>
                </c:pt>
                <c:pt idx="887">
                  <c:v>145.23000000000002</c:v>
                </c:pt>
                <c:pt idx="888">
                  <c:v>145.24</c:v>
                </c:pt>
                <c:pt idx="889">
                  <c:v>145.23000000000002</c:v>
                </c:pt>
                <c:pt idx="890">
                  <c:v>145.25</c:v>
                </c:pt>
                <c:pt idx="891">
                  <c:v>146.58000000000001</c:v>
                </c:pt>
                <c:pt idx="892">
                  <c:v>146.58000000000001</c:v>
                </c:pt>
                <c:pt idx="893">
                  <c:v>146.58000000000001</c:v>
                </c:pt>
                <c:pt idx="894">
                  <c:v>146.59</c:v>
                </c:pt>
                <c:pt idx="895">
                  <c:v>149.69000000000003</c:v>
                </c:pt>
                <c:pt idx="896">
                  <c:v>149.69000000000003</c:v>
                </c:pt>
                <c:pt idx="897">
                  <c:v>149.69000000000003</c:v>
                </c:pt>
                <c:pt idx="898">
                  <c:v>149.70000000000002</c:v>
                </c:pt>
                <c:pt idx="899">
                  <c:v>149.70000000000002</c:v>
                </c:pt>
                <c:pt idx="900">
                  <c:v>149.69000000000003</c:v>
                </c:pt>
                <c:pt idx="901">
                  <c:v>151.92000000000002</c:v>
                </c:pt>
                <c:pt idx="902">
                  <c:v>151.92000000000002</c:v>
                </c:pt>
                <c:pt idx="903">
                  <c:v>151.93</c:v>
                </c:pt>
                <c:pt idx="904">
                  <c:v>157.26000000000002</c:v>
                </c:pt>
                <c:pt idx="905">
                  <c:v>157.30000000000001</c:v>
                </c:pt>
                <c:pt idx="906">
                  <c:v>154.13000000000002</c:v>
                </c:pt>
                <c:pt idx="907">
                  <c:v>139.86000000000001</c:v>
                </c:pt>
                <c:pt idx="908">
                  <c:v>154.16000000000003</c:v>
                </c:pt>
                <c:pt idx="909">
                  <c:v>139.86000000000001</c:v>
                </c:pt>
                <c:pt idx="910">
                  <c:v>154.06</c:v>
                </c:pt>
                <c:pt idx="911">
                  <c:v>162.26000000000002</c:v>
                </c:pt>
                <c:pt idx="912">
                  <c:v>162.28</c:v>
                </c:pt>
                <c:pt idx="913">
                  <c:v>162.20000000000002</c:v>
                </c:pt>
                <c:pt idx="914">
                  <c:v>162.25</c:v>
                </c:pt>
                <c:pt idx="915">
                  <c:v>162.23000000000002</c:v>
                </c:pt>
                <c:pt idx="916">
                  <c:v>162.19000000000003</c:v>
                </c:pt>
                <c:pt idx="917">
                  <c:v>162.23000000000002</c:v>
                </c:pt>
                <c:pt idx="918">
                  <c:v>162.29000000000002</c:v>
                </c:pt>
                <c:pt idx="919">
                  <c:v>162.30000000000001</c:v>
                </c:pt>
                <c:pt idx="920">
                  <c:v>162.29000000000002</c:v>
                </c:pt>
                <c:pt idx="921">
                  <c:v>162.22000000000003</c:v>
                </c:pt>
                <c:pt idx="922">
                  <c:v>162.27000000000001</c:v>
                </c:pt>
                <c:pt idx="923">
                  <c:v>160.06</c:v>
                </c:pt>
                <c:pt idx="924">
                  <c:v>160.06</c:v>
                </c:pt>
                <c:pt idx="925">
                  <c:v>159.62</c:v>
                </c:pt>
                <c:pt idx="926">
                  <c:v>159.60000000000002</c:v>
                </c:pt>
                <c:pt idx="927">
                  <c:v>159.57000000000002</c:v>
                </c:pt>
                <c:pt idx="928">
                  <c:v>159.61000000000001</c:v>
                </c:pt>
                <c:pt idx="929">
                  <c:v>159.56</c:v>
                </c:pt>
                <c:pt idx="930">
                  <c:v>159.56</c:v>
                </c:pt>
                <c:pt idx="931">
                  <c:v>155.96</c:v>
                </c:pt>
                <c:pt idx="932">
                  <c:v>155.97</c:v>
                </c:pt>
                <c:pt idx="933">
                  <c:v>155.98000000000002</c:v>
                </c:pt>
                <c:pt idx="934">
                  <c:v>155.9</c:v>
                </c:pt>
                <c:pt idx="935">
                  <c:v>155.05000000000001</c:v>
                </c:pt>
                <c:pt idx="936">
                  <c:v>155.07000000000002</c:v>
                </c:pt>
                <c:pt idx="937">
                  <c:v>155.08000000000001</c:v>
                </c:pt>
                <c:pt idx="938">
                  <c:v>155.04000000000002</c:v>
                </c:pt>
                <c:pt idx="939">
                  <c:v>155.06</c:v>
                </c:pt>
                <c:pt idx="940">
                  <c:v>155.07000000000002</c:v>
                </c:pt>
                <c:pt idx="941">
                  <c:v>155.07000000000002</c:v>
                </c:pt>
                <c:pt idx="942">
                  <c:v>155.01000000000002</c:v>
                </c:pt>
                <c:pt idx="943">
                  <c:v>155.08000000000001</c:v>
                </c:pt>
                <c:pt idx="944">
                  <c:v>155.07000000000002</c:v>
                </c:pt>
                <c:pt idx="945">
                  <c:v>155.04000000000002</c:v>
                </c:pt>
                <c:pt idx="946">
                  <c:v>155.01000000000002</c:v>
                </c:pt>
                <c:pt idx="947">
                  <c:v>155.06</c:v>
                </c:pt>
                <c:pt idx="948">
                  <c:v>155.06</c:v>
                </c:pt>
                <c:pt idx="949">
                  <c:v>155.03</c:v>
                </c:pt>
                <c:pt idx="950">
                  <c:v>154.12</c:v>
                </c:pt>
                <c:pt idx="951">
                  <c:v>154.47</c:v>
                </c:pt>
                <c:pt idx="952">
                  <c:v>154.43</c:v>
                </c:pt>
                <c:pt idx="953">
                  <c:v>154.46</c:v>
                </c:pt>
                <c:pt idx="954">
                  <c:v>154.44000000000003</c:v>
                </c:pt>
                <c:pt idx="955">
                  <c:v>154.42000000000002</c:v>
                </c:pt>
                <c:pt idx="956">
                  <c:v>154.41000000000003</c:v>
                </c:pt>
                <c:pt idx="957">
                  <c:v>154.45000000000002</c:v>
                </c:pt>
                <c:pt idx="958">
                  <c:v>154.44000000000003</c:v>
                </c:pt>
                <c:pt idx="959">
                  <c:v>155.79000000000002</c:v>
                </c:pt>
                <c:pt idx="960">
                  <c:v>156.70000000000002</c:v>
                </c:pt>
                <c:pt idx="961">
                  <c:v>156.66000000000003</c:v>
                </c:pt>
                <c:pt idx="962">
                  <c:v>155.76000000000002</c:v>
                </c:pt>
                <c:pt idx="963">
                  <c:v>155.74</c:v>
                </c:pt>
                <c:pt idx="964">
                  <c:v>155.74</c:v>
                </c:pt>
                <c:pt idx="965">
                  <c:v>155.74</c:v>
                </c:pt>
                <c:pt idx="966">
                  <c:v>155.25</c:v>
                </c:pt>
                <c:pt idx="967">
                  <c:v>155.73000000000002</c:v>
                </c:pt>
                <c:pt idx="968">
                  <c:v>155.74</c:v>
                </c:pt>
                <c:pt idx="969">
                  <c:v>155.74</c:v>
                </c:pt>
                <c:pt idx="970">
                  <c:v>153.20000000000002</c:v>
                </c:pt>
                <c:pt idx="971">
                  <c:v>153.13000000000002</c:v>
                </c:pt>
                <c:pt idx="972">
                  <c:v>153.16000000000003</c:v>
                </c:pt>
                <c:pt idx="973">
                  <c:v>153.13000000000002</c:v>
                </c:pt>
                <c:pt idx="974">
                  <c:v>153.19000000000003</c:v>
                </c:pt>
                <c:pt idx="975">
                  <c:v>153.16000000000003</c:v>
                </c:pt>
                <c:pt idx="976">
                  <c:v>156.28</c:v>
                </c:pt>
                <c:pt idx="977">
                  <c:v>157.5</c:v>
                </c:pt>
                <c:pt idx="978">
                  <c:v>156.28</c:v>
                </c:pt>
                <c:pt idx="979">
                  <c:v>156.28</c:v>
                </c:pt>
                <c:pt idx="980">
                  <c:v>153.19340000000003</c:v>
                </c:pt>
                <c:pt idx="981">
                  <c:v>155.47</c:v>
                </c:pt>
                <c:pt idx="982">
                  <c:v>154.60000000000002</c:v>
                </c:pt>
                <c:pt idx="983">
                  <c:v>154.60000000000002</c:v>
                </c:pt>
                <c:pt idx="984">
                  <c:v>152.80000000000001</c:v>
                </c:pt>
                <c:pt idx="985">
                  <c:v>152.81</c:v>
                </c:pt>
                <c:pt idx="986">
                  <c:v>154.13000000000002</c:v>
                </c:pt>
                <c:pt idx="987">
                  <c:v>155.44000000000003</c:v>
                </c:pt>
                <c:pt idx="988">
                  <c:v>153.73000000000002</c:v>
                </c:pt>
                <c:pt idx="989">
                  <c:v>152.38000000000002</c:v>
                </c:pt>
                <c:pt idx="990">
                  <c:v>152.37</c:v>
                </c:pt>
                <c:pt idx="991">
                  <c:v>153.28</c:v>
                </c:pt>
                <c:pt idx="992">
                  <c:v>154.58000000000001</c:v>
                </c:pt>
                <c:pt idx="993">
                  <c:v>154.59</c:v>
                </c:pt>
                <c:pt idx="994">
                  <c:v>154.64000000000001</c:v>
                </c:pt>
                <c:pt idx="995">
                  <c:v>152.19000000000003</c:v>
                </c:pt>
                <c:pt idx="996">
                  <c:v>152.18</c:v>
                </c:pt>
                <c:pt idx="997">
                  <c:v>151.78</c:v>
                </c:pt>
                <c:pt idx="998">
                  <c:v>152.25</c:v>
                </c:pt>
                <c:pt idx="999">
                  <c:v>152.21</c:v>
                </c:pt>
                <c:pt idx="1000">
                  <c:v>152.24</c:v>
                </c:pt>
                <c:pt idx="1001">
                  <c:v>152.25</c:v>
                </c:pt>
                <c:pt idx="1002">
                  <c:v>151.35000000000002</c:v>
                </c:pt>
                <c:pt idx="1003">
                  <c:v>151.33000000000001</c:v>
                </c:pt>
                <c:pt idx="1004">
                  <c:v>152.30000000000001</c:v>
                </c:pt>
                <c:pt idx="1005">
                  <c:v>150.01000000000002</c:v>
                </c:pt>
                <c:pt idx="1006">
                  <c:v>152.30670000000001</c:v>
                </c:pt>
                <c:pt idx="1007">
                  <c:v>149.99</c:v>
                </c:pt>
                <c:pt idx="1008">
                  <c:v>150</c:v>
                </c:pt>
                <c:pt idx="1009">
                  <c:v>152.20000000000002</c:v>
                </c:pt>
                <c:pt idx="1010">
                  <c:v>152.21</c:v>
                </c:pt>
                <c:pt idx="1011">
                  <c:v>150.02000000000001</c:v>
                </c:pt>
                <c:pt idx="1012">
                  <c:v>150</c:v>
                </c:pt>
                <c:pt idx="1013">
                  <c:v>149.97</c:v>
                </c:pt>
                <c:pt idx="1014">
                  <c:v>148.87</c:v>
                </c:pt>
                <c:pt idx="1015">
                  <c:v>148.89000000000001</c:v>
                </c:pt>
                <c:pt idx="1016">
                  <c:v>148.8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[alco.xlsm]cds!$C$4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7150">
              <a:solidFill>
                <a:srgbClr val="FF0000"/>
              </a:solidFill>
              <a:prstDash val="solid"/>
            </a:ln>
          </c:spPr>
          <c:marker>
            <c:symbol val="none"/>
          </c:marker>
          <c:dLbls>
            <c:dLbl>
              <c:idx val="1016"/>
              <c:layout>
                <c:manualLayout>
                  <c:x val="-1.3678263967660566E-3"/>
                  <c:y val="-8.401826967350633E-3"/>
                </c:manualLayout>
              </c:layout>
              <c:tx>
                <c:rich>
                  <a:bodyPr/>
                  <a:lstStyle/>
                  <a:p>
                    <a:r>
                      <a:rPr lang="en-US" b="1">
                        <a:solidFill>
                          <a:srgbClr val="FF0000"/>
                        </a:solidFill>
                      </a:rPr>
                      <a:t>14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FF0000"/>
                    </a:solidFill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[alco.xlsm]cds_west!$A$1578:$A$5000</c:f>
              <c:numCache>
                <c:formatCode>m/d/yyyy</c:formatCode>
                <c:ptCount val="3423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3</c:v>
                </c:pt>
                <c:pt idx="54">
                  <c:v>40984</c:v>
                </c:pt>
                <c:pt idx="55">
                  <c:v>40987</c:v>
                </c:pt>
                <c:pt idx="56">
                  <c:v>40988</c:v>
                </c:pt>
                <c:pt idx="57">
                  <c:v>40989</c:v>
                </c:pt>
                <c:pt idx="58">
                  <c:v>40990</c:v>
                </c:pt>
                <c:pt idx="59">
                  <c:v>40991</c:v>
                </c:pt>
                <c:pt idx="60">
                  <c:v>40994</c:v>
                </c:pt>
                <c:pt idx="61">
                  <c:v>40995</c:v>
                </c:pt>
                <c:pt idx="62">
                  <c:v>40996</c:v>
                </c:pt>
                <c:pt idx="63">
                  <c:v>40997</c:v>
                </c:pt>
                <c:pt idx="64">
                  <c:v>40998</c:v>
                </c:pt>
                <c:pt idx="65">
                  <c:v>41001</c:v>
                </c:pt>
                <c:pt idx="66">
                  <c:v>41002</c:v>
                </c:pt>
                <c:pt idx="67">
                  <c:v>41003</c:v>
                </c:pt>
                <c:pt idx="68">
                  <c:v>41004</c:v>
                </c:pt>
                <c:pt idx="69">
                  <c:v>41005</c:v>
                </c:pt>
                <c:pt idx="70">
                  <c:v>41008</c:v>
                </c:pt>
                <c:pt idx="71">
                  <c:v>41009</c:v>
                </c:pt>
                <c:pt idx="72">
                  <c:v>41010</c:v>
                </c:pt>
                <c:pt idx="73">
                  <c:v>41011</c:v>
                </c:pt>
                <c:pt idx="74">
                  <c:v>41012</c:v>
                </c:pt>
                <c:pt idx="75">
                  <c:v>41015</c:v>
                </c:pt>
                <c:pt idx="76">
                  <c:v>41016</c:v>
                </c:pt>
                <c:pt idx="77">
                  <c:v>41017</c:v>
                </c:pt>
                <c:pt idx="78">
                  <c:v>41018</c:v>
                </c:pt>
                <c:pt idx="79">
                  <c:v>41019</c:v>
                </c:pt>
                <c:pt idx="80">
                  <c:v>41022</c:v>
                </c:pt>
                <c:pt idx="81">
                  <c:v>41023</c:v>
                </c:pt>
                <c:pt idx="82">
                  <c:v>41024</c:v>
                </c:pt>
                <c:pt idx="83">
                  <c:v>41025</c:v>
                </c:pt>
                <c:pt idx="84">
                  <c:v>41026</c:v>
                </c:pt>
                <c:pt idx="85">
                  <c:v>41029</c:v>
                </c:pt>
                <c:pt idx="86">
                  <c:v>41030</c:v>
                </c:pt>
                <c:pt idx="87">
                  <c:v>41031</c:v>
                </c:pt>
                <c:pt idx="88">
                  <c:v>41032</c:v>
                </c:pt>
                <c:pt idx="89">
                  <c:v>41033</c:v>
                </c:pt>
                <c:pt idx="90">
                  <c:v>41036</c:v>
                </c:pt>
                <c:pt idx="91">
                  <c:v>41037</c:v>
                </c:pt>
                <c:pt idx="92">
                  <c:v>41038</c:v>
                </c:pt>
                <c:pt idx="93">
                  <c:v>41039</c:v>
                </c:pt>
                <c:pt idx="94">
                  <c:v>41040</c:v>
                </c:pt>
                <c:pt idx="95">
                  <c:v>41043</c:v>
                </c:pt>
                <c:pt idx="96">
                  <c:v>41044</c:v>
                </c:pt>
                <c:pt idx="97">
                  <c:v>41045</c:v>
                </c:pt>
                <c:pt idx="98">
                  <c:v>41046</c:v>
                </c:pt>
                <c:pt idx="99">
                  <c:v>41047</c:v>
                </c:pt>
                <c:pt idx="100">
                  <c:v>41050</c:v>
                </c:pt>
                <c:pt idx="101">
                  <c:v>41051</c:v>
                </c:pt>
                <c:pt idx="102">
                  <c:v>41052</c:v>
                </c:pt>
                <c:pt idx="103">
                  <c:v>41053</c:v>
                </c:pt>
                <c:pt idx="104">
                  <c:v>41054</c:v>
                </c:pt>
                <c:pt idx="105">
                  <c:v>41057</c:v>
                </c:pt>
                <c:pt idx="106">
                  <c:v>41058</c:v>
                </c:pt>
                <c:pt idx="107">
                  <c:v>41059</c:v>
                </c:pt>
                <c:pt idx="108">
                  <c:v>41060</c:v>
                </c:pt>
                <c:pt idx="109">
                  <c:v>41061</c:v>
                </c:pt>
                <c:pt idx="110">
                  <c:v>41064</c:v>
                </c:pt>
                <c:pt idx="111">
                  <c:v>41065</c:v>
                </c:pt>
                <c:pt idx="112">
                  <c:v>41066</c:v>
                </c:pt>
                <c:pt idx="113">
                  <c:v>41067</c:v>
                </c:pt>
                <c:pt idx="114">
                  <c:v>41068</c:v>
                </c:pt>
                <c:pt idx="115">
                  <c:v>41071</c:v>
                </c:pt>
                <c:pt idx="116">
                  <c:v>41072</c:v>
                </c:pt>
                <c:pt idx="117">
                  <c:v>41073</c:v>
                </c:pt>
                <c:pt idx="118">
                  <c:v>41074</c:v>
                </c:pt>
                <c:pt idx="119">
                  <c:v>41075</c:v>
                </c:pt>
                <c:pt idx="120">
                  <c:v>41078</c:v>
                </c:pt>
                <c:pt idx="121">
                  <c:v>41079</c:v>
                </c:pt>
                <c:pt idx="122">
                  <c:v>41080</c:v>
                </c:pt>
                <c:pt idx="123">
                  <c:v>41081</c:v>
                </c:pt>
                <c:pt idx="124">
                  <c:v>41082</c:v>
                </c:pt>
                <c:pt idx="125">
                  <c:v>41085</c:v>
                </c:pt>
                <c:pt idx="126">
                  <c:v>41086</c:v>
                </c:pt>
                <c:pt idx="127">
                  <c:v>41087</c:v>
                </c:pt>
                <c:pt idx="128">
                  <c:v>41088</c:v>
                </c:pt>
                <c:pt idx="129">
                  <c:v>41089</c:v>
                </c:pt>
                <c:pt idx="130">
                  <c:v>41092</c:v>
                </c:pt>
                <c:pt idx="131">
                  <c:v>41093</c:v>
                </c:pt>
                <c:pt idx="132">
                  <c:v>41094</c:v>
                </c:pt>
                <c:pt idx="133">
                  <c:v>41095</c:v>
                </c:pt>
                <c:pt idx="134">
                  <c:v>41096</c:v>
                </c:pt>
                <c:pt idx="135">
                  <c:v>41099</c:v>
                </c:pt>
                <c:pt idx="136">
                  <c:v>41100</c:v>
                </c:pt>
                <c:pt idx="137">
                  <c:v>41101</c:v>
                </c:pt>
                <c:pt idx="138">
                  <c:v>41102</c:v>
                </c:pt>
                <c:pt idx="139">
                  <c:v>41103</c:v>
                </c:pt>
                <c:pt idx="140">
                  <c:v>41106</c:v>
                </c:pt>
                <c:pt idx="141">
                  <c:v>41107</c:v>
                </c:pt>
                <c:pt idx="142">
                  <c:v>41108</c:v>
                </c:pt>
                <c:pt idx="143">
                  <c:v>41109</c:v>
                </c:pt>
                <c:pt idx="144">
                  <c:v>41110</c:v>
                </c:pt>
                <c:pt idx="145">
                  <c:v>41113</c:v>
                </c:pt>
                <c:pt idx="146">
                  <c:v>41114</c:v>
                </c:pt>
                <c:pt idx="147">
                  <c:v>41115</c:v>
                </c:pt>
                <c:pt idx="148">
                  <c:v>41116</c:v>
                </c:pt>
                <c:pt idx="149">
                  <c:v>41117</c:v>
                </c:pt>
                <c:pt idx="150">
                  <c:v>41120</c:v>
                </c:pt>
                <c:pt idx="151">
                  <c:v>41121</c:v>
                </c:pt>
                <c:pt idx="152">
                  <c:v>41122</c:v>
                </c:pt>
                <c:pt idx="153">
                  <c:v>41123</c:v>
                </c:pt>
                <c:pt idx="154">
                  <c:v>41124</c:v>
                </c:pt>
                <c:pt idx="155">
                  <c:v>41127</c:v>
                </c:pt>
                <c:pt idx="156">
                  <c:v>41128</c:v>
                </c:pt>
                <c:pt idx="157">
                  <c:v>41129</c:v>
                </c:pt>
                <c:pt idx="158">
                  <c:v>41130</c:v>
                </c:pt>
                <c:pt idx="159">
                  <c:v>41131</c:v>
                </c:pt>
                <c:pt idx="160">
                  <c:v>41134</c:v>
                </c:pt>
                <c:pt idx="161">
                  <c:v>41135</c:v>
                </c:pt>
                <c:pt idx="162">
                  <c:v>41136</c:v>
                </c:pt>
                <c:pt idx="163">
                  <c:v>41137</c:v>
                </c:pt>
                <c:pt idx="164">
                  <c:v>41138</c:v>
                </c:pt>
                <c:pt idx="165">
                  <c:v>41141</c:v>
                </c:pt>
                <c:pt idx="166">
                  <c:v>41142</c:v>
                </c:pt>
                <c:pt idx="167">
                  <c:v>41143</c:v>
                </c:pt>
                <c:pt idx="168">
                  <c:v>41144</c:v>
                </c:pt>
                <c:pt idx="169">
                  <c:v>41145</c:v>
                </c:pt>
                <c:pt idx="170">
                  <c:v>41148</c:v>
                </c:pt>
                <c:pt idx="171">
                  <c:v>41149</c:v>
                </c:pt>
                <c:pt idx="172">
                  <c:v>41150</c:v>
                </c:pt>
                <c:pt idx="173">
                  <c:v>41151</c:v>
                </c:pt>
                <c:pt idx="174">
                  <c:v>41152</c:v>
                </c:pt>
                <c:pt idx="175">
                  <c:v>41155</c:v>
                </c:pt>
                <c:pt idx="176">
                  <c:v>41156</c:v>
                </c:pt>
                <c:pt idx="177">
                  <c:v>41157</c:v>
                </c:pt>
                <c:pt idx="178">
                  <c:v>41158</c:v>
                </c:pt>
                <c:pt idx="179">
                  <c:v>41159</c:v>
                </c:pt>
                <c:pt idx="180">
                  <c:v>41162</c:v>
                </c:pt>
                <c:pt idx="181">
                  <c:v>41163</c:v>
                </c:pt>
                <c:pt idx="182">
                  <c:v>41164</c:v>
                </c:pt>
                <c:pt idx="183">
                  <c:v>41165</c:v>
                </c:pt>
                <c:pt idx="184">
                  <c:v>41166</c:v>
                </c:pt>
                <c:pt idx="185">
                  <c:v>41169</c:v>
                </c:pt>
                <c:pt idx="186">
                  <c:v>41170</c:v>
                </c:pt>
                <c:pt idx="187">
                  <c:v>41171</c:v>
                </c:pt>
                <c:pt idx="188">
                  <c:v>41172</c:v>
                </c:pt>
                <c:pt idx="189">
                  <c:v>41173</c:v>
                </c:pt>
                <c:pt idx="190">
                  <c:v>41176</c:v>
                </c:pt>
                <c:pt idx="191">
                  <c:v>41177</c:v>
                </c:pt>
                <c:pt idx="192">
                  <c:v>41178</c:v>
                </c:pt>
                <c:pt idx="193">
                  <c:v>41179</c:v>
                </c:pt>
                <c:pt idx="194">
                  <c:v>41180</c:v>
                </c:pt>
                <c:pt idx="195">
                  <c:v>41183</c:v>
                </c:pt>
                <c:pt idx="196">
                  <c:v>41184</c:v>
                </c:pt>
                <c:pt idx="197">
                  <c:v>41185</c:v>
                </c:pt>
                <c:pt idx="198">
                  <c:v>41186</c:v>
                </c:pt>
                <c:pt idx="199">
                  <c:v>41187</c:v>
                </c:pt>
                <c:pt idx="200">
                  <c:v>41190</c:v>
                </c:pt>
                <c:pt idx="201">
                  <c:v>41191</c:v>
                </c:pt>
                <c:pt idx="202">
                  <c:v>41192</c:v>
                </c:pt>
                <c:pt idx="203">
                  <c:v>41193</c:v>
                </c:pt>
                <c:pt idx="204">
                  <c:v>41194</c:v>
                </c:pt>
                <c:pt idx="205">
                  <c:v>41197</c:v>
                </c:pt>
                <c:pt idx="206">
                  <c:v>41198</c:v>
                </c:pt>
                <c:pt idx="207">
                  <c:v>41199</c:v>
                </c:pt>
                <c:pt idx="208">
                  <c:v>41200</c:v>
                </c:pt>
                <c:pt idx="209">
                  <c:v>41201</c:v>
                </c:pt>
                <c:pt idx="210">
                  <c:v>41204</c:v>
                </c:pt>
                <c:pt idx="211">
                  <c:v>41205</c:v>
                </c:pt>
                <c:pt idx="212">
                  <c:v>41206</c:v>
                </c:pt>
                <c:pt idx="213">
                  <c:v>41207</c:v>
                </c:pt>
                <c:pt idx="214">
                  <c:v>41208</c:v>
                </c:pt>
                <c:pt idx="215">
                  <c:v>41211</c:v>
                </c:pt>
                <c:pt idx="216">
                  <c:v>41212</c:v>
                </c:pt>
                <c:pt idx="217">
                  <c:v>41213</c:v>
                </c:pt>
                <c:pt idx="218">
                  <c:v>41214</c:v>
                </c:pt>
                <c:pt idx="219">
                  <c:v>41215</c:v>
                </c:pt>
                <c:pt idx="220">
                  <c:v>41218</c:v>
                </c:pt>
                <c:pt idx="221">
                  <c:v>41219</c:v>
                </c:pt>
                <c:pt idx="222">
                  <c:v>41220</c:v>
                </c:pt>
                <c:pt idx="223">
                  <c:v>41221</c:v>
                </c:pt>
                <c:pt idx="224">
                  <c:v>41222</c:v>
                </c:pt>
                <c:pt idx="225">
                  <c:v>41225</c:v>
                </c:pt>
                <c:pt idx="226">
                  <c:v>41226</c:v>
                </c:pt>
                <c:pt idx="227">
                  <c:v>41227</c:v>
                </c:pt>
                <c:pt idx="228">
                  <c:v>41228</c:v>
                </c:pt>
                <c:pt idx="229">
                  <c:v>41229</c:v>
                </c:pt>
                <c:pt idx="230">
                  <c:v>41232</c:v>
                </c:pt>
                <c:pt idx="231">
                  <c:v>41233</c:v>
                </c:pt>
                <c:pt idx="232">
                  <c:v>41234</c:v>
                </c:pt>
                <c:pt idx="233">
                  <c:v>41235</c:v>
                </c:pt>
                <c:pt idx="234">
                  <c:v>41236</c:v>
                </c:pt>
                <c:pt idx="235">
                  <c:v>41239</c:v>
                </c:pt>
                <c:pt idx="236">
                  <c:v>41240</c:v>
                </c:pt>
                <c:pt idx="237">
                  <c:v>41241</c:v>
                </c:pt>
                <c:pt idx="238">
                  <c:v>41242</c:v>
                </c:pt>
                <c:pt idx="239">
                  <c:v>41243</c:v>
                </c:pt>
                <c:pt idx="240">
                  <c:v>41246</c:v>
                </c:pt>
                <c:pt idx="241">
                  <c:v>41247</c:v>
                </c:pt>
                <c:pt idx="242">
                  <c:v>41248</c:v>
                </c:pt>
                <c:pt idx="243">
                  <c:v>41249</c:v>
                </c:pt>
                <c:pt idx="244">
                  <c:v>41250</c:v>
                </c:pt>
                <c:pt idx="245">
                  <c:v>41253</c:v>
                </c:pt>
                <c:pt idx="246">
                  <c:v>41254</c:v>
                </c:pt>
                <c:pt idx="247">
                  <c:v>41255</c:v>
                </c:pt>
                <c:pt idx="248">
                  <c:v>41256</c:v>
                </c:pt>
                <c:pt idx="249">
                  <c:v>41257</c:v>
                </c:pt>
                <c:pt idx="250">
                  <c:v>41260</c:v>
                </c:pt>
                <c:pt idx="251">
                  <c:v>41261</c:v>
                </c:pt>
                <c:pt idx="252">
                  <c:v>41262</c:v>
                </c:pt>
                <c:pt idx="253">
                  <c:v>41263</c:v>
                </c:pt>
                <c:pt idx="254">
                  <c:v>41264</c:v>
                </c:pt>
                <c:pt idx="255">
                  <c:v>41267</c:v>
                </c:pt>
                <c:pt idx="256">
                  <c:v>41268</c:v>
                </c:pt>
                <c:pt idx="257">
                  <c:v>41269</c:v>
                </c:pt>
                <c:pt idx="258">
                  <c:v>41270</c:v>
                </c:pt>
                <c:pt idx="259">
                  <c:v>41271</c:v>
                </c:pt>
                <c:pt idx="260">
                  <c:v>41274</c:v>
                </c:pt>
                <c:pt idx="261">
                  <c:v>41275</c:v>
                </c:pt>
                <c:pt idx="262">
                  <c:v>41276</c:v>
                </c:pt>
                <c:pt idx="263">
                  <c:v>41277</c:v>
                </c:pt>
                <c:pt idx="264">
                  <c:v>41278</c:v>
                </c:pt>
                <c:pt idx="265">
                  <c:v>41281</c:v>
                </c:pt>
                <c:pt idx="266">
                  <c:v>41282</c:v>
                </c:pt>
                <c:pt idx="267">
                  <c:v>41283</c:v>
                </c:pt>
                <c:pt idx="268">
                  <c:v>41284</c:v>
                </c:pt>
                <c:pt idx="269">
                  <c:v>41285</c:v>
                </c:pt>
                <c:pt idx="270">
                  <c:v>41288</c:v>
                </c:pt>
                <c:pt idx="271">
                  <c:v>41289</c:v>
                </c:pt>
                <c:pt idx="272">
                  <c:v>41290</c:v>
                </c:pt>
                <c:pt idx="273">
                  <c:v>41291</c:v>
                </c:pt>
                <c:pt idx="274">
                  <c:v>41292</c:v>
                </c:pt>
                <c:pt idx="275">
                  <c:v>41295</c:v>
                </c:pt>
                <c:pt idx="276">
                  <c:v>41296</c:v>
                </c:pt>
                <c:pt idx="277">
                  <c:v>41297</c:v>
                </c:pt>
                <c:pt idx="278">
                  <c:v>41298</c:v>
                </c:pt>
                <c:pt idx="279">
                  <c:v>41299</c:v>
                </c:pt>
                <c:pt idx="280">
                  <c:v>41302</c:v>
                </c:pt>
                <c:pt idx="281">
                  <c:v>41303</c:v>
                </c:pt>
                <c:pt idx="282">
                  <c:v>41304</c:v>
                </c:pt>
                <c:pt idx="283">
                  <c:v>41305</c:v>
                </c:pt>
                <c:pt idx="284">
                  <c:v>41306</c:v>
                </c:pt>
                <c:pt idx="285">
                  <c:v>41309</c:v>
                </c:pt>
                <c:pt idx="286">
                  <c:v>41310</c:v>
                </c:pt>
                <c:pt idx="287">
                  <c:v>41311</c:v>
                </c:pt>
                <c:pt idx="288">
                  <c:v>41312</c:v>
                </c:pt>
                <c:pt idx="289">
                  <c:v>41313</c:v>
                </c:pt>
                <c:pt idx="290">
                  <c:v>41316</c:v>
                </c:pt>
                <c:pt idx="291">
                  <c:v>41317</c:v>
                </c:pt>
                <c:pt idx="292">
                  <c:v>41318</c:v>
                </c:pt>
                <c:pt idx="293">
                  <c:v>41319</c:v>
                </c:pt>
                <c:pt idx="294">
                  <c:v>41320</c:v>
                </c:pt>
                <c:pt idx="295">
                  <c:v>41323</c:v>
                </c:pt>
                <c:pt idx="296">
                  <c:v>41324</c:v>
                </c:pt>
                <c:pt idx="297">
                  <c:v>41325</c:v>
                </c:pt>
                <c:pt idx="298">
                  <c:v>41326</c:v>
                </c:pt>
                <c:pt idx="299">
                  <c:v>41327</c:v>
                </c:pt>
                <c:pt idx="300">
                  <c:v>41330</c:v>
                </c:pt>
                <c:pt idx="301">
                  <c:v>41331</c:v>
                </c:pt>
                <c:pt idx="302">
                  <c:v>41332</c:v>
                </c:pt>
                <c:pt idx="303">
                  <c:v>41333</c:v>
                </c:pt>
                <c:pt idx="304">
                  <c:v>41334</c:v>
                </c:pt>
                <c:pt idx="305">
                  <c:v>41337</c:v>
                </c:pt>
                <c:pt idx="306">
                  <c:v>41338</c:v>
                </c:pt>
                <c:pt idx="307">
                  <c:v>41339</c:v>
                </c:pt>
                <c:pt idx="308">
                  <c:v>41340</c:v>
                </c:pt>
                <c:pt idx="309">
                  <c:v>41341</c:v>
                </c:pt>
                <c:pt idx="310">
                  <c:v>41344</c:v>
                </c:pt>
                <c:pt idx="311">
                  <c:v>41345</c:v>
                </c:pt>
                <c:pt idx="312">
                  <c:v>41346</c:v>
                </c:pt>
                <c:pt idx="313">
                  <c:v>41347</c:v>
                </c:pt>
                <c:pt idx="314">
                  <c:v>41348</c:v>
                </c:pt>
                <c:pt idx="315">
                  <c:v>41351</c:v>
                </c:pt>
                <c:pt idx="316">
                  <c:v>41352</c:v>
                </c:pt>
                <c:pt idx="317">
                  <c:v>41353</c:v>
                </c:pt>
                <c:pt idx="318">
                  <c:v>41354</c:v>
                </c:pt>
                <c:pt idx="319">
                  <c:v>41355</c:v>
                </c:pt>
                <c:pt idx="320">
                  <c:v>41358</c:v>
                </c:pt>
                <c:pt idx="321">
                  <c:v>41359</c:v>
                </c:pt>
                <c:pt idx="322">
                  <c:v>41360</c:v>
                </c:pt>
                <c:pt idx="323">
                  <c:v>41361</c:v>
                </c:pt>
                <c:pt idx="324">
                  <c:v>41362</c:v>
                </c:pt>
                <c:pt idx="325">
                  <c:v>41365</c:v>
                </c:pt>
                <c:pt idx="326">
                  <c:v>41366</c:v>
                </c:pt>
                <c:pt idx="327">
                  <c:v>41367</c:v>
                </c:pt>
                <c:pt idx="328">
                  <c:v>41368</c:v>
                </c:pt>
                <c:pt idx="329">
                  <c:v>41369</c:v>
                </c:pt>
                <c:pt idx="330">
                  <c:v>41372</c:v>
                </c:pt>
                <c:pt idx="331">
                  <c:v>41373</c:v>
                </c:pt>
                <c:pt idx="332">
                  <c:v>41374</c:v>
                </c:pt>
                <c:pt idx="333">
                  <c:v>41375</c:v>
                </c:pt>
                <c:pt idx="334">
                  <c:v>41376</c:v>
                </c:pt>
                <c:pt idx="335">
                  <c:v>41379</c:v>
                </c:pt>
                <c:pt idx="336">
                  <c:v>41380</c:v>
                </c:pt>
                <c:pt idx="337">
                  <c:v>41381</c:v>
                </c:pt>
                <c:pt idx="338">
                  <c:v>41382</c:v>
                </c:pt>
                <c:pt idx="339">
                  <c:v>41383</c:v>
                </c:pt>
                <c:pt idx="340">
                  <c:v>41386</c:v>
                </c:pt>
                <c:pt idx="341">
                  <c:v>41387</c:v>
                </c:pt>
                <c:pt idx="342">
                  <c:v>41388</c:v>
                </c:pt>
                <c:pt idx="343">
                  <c:v>41389</c:v>
                </c:pt>
                <c:pt idx="344">
                  <c:v>41390</c:v>
                </c:pt>
                <c:pt idx="345">
                  <c:v>41393</c:v>
                </c:pt>
                <c:pt idx="346">
                  <c:v>41394</c:v>
                </c:pt>
                <c:pt idx="347">
                  <c:v>41395</c:v>
                </c:pt>
                <c:pt idx="348">
                  <c:v>41396</c:v>
                </c:pt>
                <c:pt idx="349">
                  <c:v>41397</c:v>
                </c:pt>
                <c:pt idx="350">
                  <c:v>41400</c:v>
                </c:pt>
                <c:pt idx="351">
                  <c:v>41401</c:v>
                </c:pt>
                <c:pt idx="352">
                  <c:v>41402</c:v>
                </c:pt>
                <c:pt idx="353">
                  <c:v>41403</c:v>
                </c:pt>
                <c:pt idx="354">
                  <c:v>41404</c:v>
                </c:pt>
                <c:pt idx="355">
                  <c:v>41407</c:v>
                </c:pt>
                <c:pt idx="356">
                  <c:v>41408</c:v>
                </c:pt>
                <c:pt idx="357">
                  <c:v>41409</c:v>
                </c:pt>
                <c:pt idx="358">
                  <c:v>41410</c:v>
                </c:pt>
                <c:pt idx="359">
                  <c:v>41411</c:v>
                </c:pt>
                <c:pt idx="360">
                  <c:v>41414</c:v>
                </c:pt>
                <c:pt idx="361">
                  <c:v>41415</c:v>
                </c:pt>
                <c:pt idx="362">
                  <c:v>41416</c:v>
                </c:pt>
                <c:pt idx="363">
                  <c:v>41417</c:v>
                </c:pt>
                <c:pt idx="364">
                  <c:v>41418</c:v>
                </c:pt>
                <c:pt idx="365">
                  <c:v>41421</c:v>
                </c:pt>
                <c:pt idx="366">
                  <c:v>41422</c:v>
                </c:pt>
                <c:pt idx="367">
                  <c:v>41423</c:v>
                </c:pt>
                <c:pt idx="368">
                  <c:v>41424</c:v>
                </c:pt>
                <c:pt idx="369">
                  <c:v>41425</c:v>
                </c:pt>
                <c:pt idx="370">
                  <c:v>41428</c:v>
                </c:pt>
                <c:pt idx="371">
                  <c:v>41429</c:v>
                </c:pt>
                <c:pt idx="372">
                  <c:v>41430</c:v>
                </c:pt>
                <c:pt idx="373">
                  <c:v>41431</c:v>
                </c:pt>
                <c:pt idx="374">
                  <c:v>41432</c:v>
                </c:pt>
                <c:pt idx="375">
                  <c:v>41435</c:v>
                </c:pt>
                <c:pt idx="376">
                  <c:v>41436</c:v>
                </c:pt>
                <c:pt idx="377">
                  <c:v>41437</c:v>
                </c:pt>
                <c:pt idx="378">
                  <c:v>41438</c:v>
                </c:pt>
                <c:pt idx="379">
                  <c:v>41439</c:v>
                </c:pt>
                <c:pt idx="380">
                  <c:v>41442</c:v>
                </c:pt>
                <c:pt idx="381">
                  <c:v>41443</c:v>
                </c:pt>
                <c:pt idx="382">
                  <c:v>41444</c:v>
                </c:pt>
                <c:pt idx="383">
                  <c:v>41445</c:v>
                </c:pt>
                <c:pt idx="384">
                  <c:v>41446</c:v>
                </c:pt>
                <c:pt idx="385">
                  <c:v>41449</c:v>
                </c:pt>
                <c:pt idx="386">
                  <c:v>41450</c:v>
                </c:pt>
                <c:pt idx="387">
                  <c:v>41451</c:v>
                </c:pt>
                <c:pt idx="388">
                  <c:v>41452</c:v>
                </c:pt>
                <c:pt idx="389">
                  <c:v>41453</c:v>
                </c:pt>
                <c:pt idx="390">
                  <c:v>41456</c:v>
                </c:pt>
                <c:pt idx="391">
                  <c:v>41457</c:v>
                </c:pt>
                <c:pt idx="392">
                  <c:v>41458</c:v>
                </c:pt>
                <c:pt idx="393">
                  <c:v>41459</c:v>
                </c:pt>
                <c:pt idx="394">
                  <c:v>41460</c:v>
                </c:pt>
                <c:pt idx="395">
                  <c:v>41463</c:v>
                </c:pt>
                <c:pt idx="396">
                  <c:v>41464</c:v>
                </c:pt>
                <c:pt idx="397">
                  <c:v>41465</c:v>
                </c:pt>
                <c:pt idx="398">
                  <c:v>41466</c:v>
                </c:pt>
                <c:pt idx="399">
                  <c:v>41467</c:v>
                </c:pt>
                <c:pt idx="400">
                  <c:v>41470</c:v>
                </c:pt>
                <c:pt idx="401">
                  <c:v>41471</c:v>
                </c:pt>
                <c:pt idx="402">
                  <c:v>41472</c:v>
                </c:pt>
                <c:pt idx="403">
                  <c:v>41473</c:v>
                </c:pt>
                <c:pt idx="404">
                  <c:v>41474</c:v>
                </c:pt>
                <c:pt idx="405">
                  <c:v>41477</c:v>
                </c:pt>
                <c:pt idx="406">
                  <c:v>41478</c:v>
                </c:pt>
                <c:pt idx="407">
                  <c:v>41479</c:v>
                </c:pt>
                <c:pt idx="408">
                  <c:v>41480</c:v>
                </c:pt>
                <c:pt idx="409">
                  <c:v>41481</c:v>
                </c:pt>
                <c:pt idx="410">
                  <c:v>41484</c:v>
                </c:pt>
                <c:pt idx="411">
                  <c:v>41485</c:v>
                </c:pt>
                <c:pt idx="412">
                  <c:v>41486</c:v>
                </c:pt>
                <c:pt idx="413">
                  <c:v>41487</c:v>
                </c:pt>
                <c:pt idx="414">
                  <c:v>41488</c:v>
                </c:pt>
                <c:pt idx="415">
                  <c:v>41491</c:v>
                </c:pt>
                <c:pt idx="416">
                  <c:v>41492</c:v>
                </c:pt>
                <c:pt idx="417">
                  <c:v>41493</c:v>
                </c:pt>
                <c:pt idx="418">
                  <c:v>41494</c:v>
                </c:pt>
                <c:pt idx="419">
                  <c:v>41495</c:v>
                </c:pt>
                <c:pt idx="420">
                  <c:v>41498</c:v>
                </c:pt>
                <c:pt idx="421">
                  <c:v>41499</c:v>
                </c:pt>
                <c:pt idx="422">
                  <c:v>41500</c:v>
                </c:pt>
                <c:pt idx="423">
                  <c:v>41501</c:v>
                </c:pt>
                <c:pt idx="424">
                  <c:v>41502</c:v>
                </c:pt>
                <c:pt idx="425">
                  <c:v>41505</c:v>
                </c:pt>
                <c:pt idx="426">
                  <c:v>41506</c:v>
                </c:pt>
                <c:pt idx="427">
                  <c:v>41507</c:v>
                </c:pt>
                <c:pt idx="428">
                  <c:v>41508</c:v>
                </c:pt>
                <c:pt idx="429">
                  <c:v>41509</c:v>
                </c:pt>
                <c:pt idx="430">
                  <c:v>41512</c:v>
                </c:pt>
                <c:pt idx="431">
                  <c:v>41513</c:v>
                </c:pt>
                <c:pt idx="432">
                  <c:v>41514</c:v>
                </c:pt>
                <c:pt idx="433">
                  <c:v>41515</c:v>
                </c:pt>
                <c:pt idx="434">
                  <c:v>41516</c:v>
                </c:pt>
                <c:pt idx="435">
                  <c:v>41519</c:v>
                </c:pt>
                <c:pt idx="436">
                  <c:v>41520</c:v>
                </c:pt>
                <c:pt idx="437">
                  <c:v>41521</c:v>
                </c:pt>
                <c:pt idx="438">
                  <c:v>41522</c:v>
                </c:pt>
                <c:pt idx="439">
                  <c:v>41523</c:v>
                </c:pt>
                <c:pt idx="440">
                  <c:v>41526</c:v>
                </c:pt>
                <c:pt idx="441">
                  <c:v>41527</c:v>
                </c:pt>
                <c:pt idx="442">
                  <c:v>41528</c:v>
                </c:pt>
                <c:pt idx="443">
                  <c:v>41529</c:v>
                </c:pt>
                <c:pt idx="444">
                  <c:v>41530</c:v>
                </c:pt>
                <c:pt idx="445">
                  <c:v>41533</c:v>
                </c:pt>
                <c:pt idx="446">
                  <c:v>41534</c:v>
                </c:pt>
                <c:pt idx="447">
                  <c:v>41535</c:v>
                </c:pt>
                <c:pt idx="448">
                  <c:v>41536</c:v>
                </c:pt>
                <c:pt idx="449">
                  <c:v>41537</c:v>
                </c:pt>
                <c:pt idx="450">
                  <c:v>41540</c:v>
                </c:pt>
                <c:pt idx="451">
                  <c:v>41541</c:v>
                </c:pt>
                <c:pt idx="452">
                  <c:v>41542</c:v>
                </c:pt>
                <c:pt idx="453">
                  <c:v>41543</c:v>
                </c:pt>
                <c:pt idx="454">
                  <c:v>41544</c:v>
                </c:pt>
                <c:pt idx="455">
                  <c:v>41547</c:v>
                </c:pt>
                <c:pt idx="456">
                  <c:v>41548</c:v>
                </c:pt>
                <c:pt idx="457">
                  <c:v>41549</c:v>
                </c:pt>
                <c:pt idx="458">
                  <c:v>41550</c:v>
                </c:pt>
                <c:pt idx="459">
                  <c:v>41551</c:v>
                </c:pt>
                <c:pt idx="460">
                  <c:v>41554</c:v>
                </c:pt>
                <c:pt idx="461">
                  <c:v>41555</c:v>
                </c:pt>
                <c:pt idx="462">
                  <c:v>41556</c:v>
                </c:pt>
                <c:pt idx="463">
                  <c:v>41557</c:v>
                </c:pt>
                <c:pt idx="464">
                  <c:v>41558</c:v>
                </c:pt>
                <c:pt idx="465">
                  <c:v>41561</c:v>
                </c:pt>
                <c:pt idx="466">
                  <c:v>41562</c:v>
                </c:pt>
                <c:pt idx="467">
                  <c:v>41563</c:v>
                </c:pt>
                <c:pt idx="468">
                  <c:v>41564</c:v>
                </c:pt>
                <c:pt idx="469">
                  <c:v>41565</c:v>
                </c:pt>
                <c:pt idx="470">
                  <c:v>41568</c:v>
                </c:pt>
                <c:pt idx="471">
                  <c:v>41569</c:v>
                </c:pt>
                <c:pt idx="472">
                  <c:v>41570</c:v>
                </c:pt>
                <c:pt idx="473">
                  <c:v>41571</c:v>
                </c:pt>
                <c:pt idx="474">
                  <c:v>41572</c:v>
                </c:pt>
                <c:pt idx="475">
                  <c:v>41575</c:v>
                </c:pt>
                <c:pt idx="476">
                  <c:v>41576</c:v>
                </c:pt>
                <c:pt idx="477">
                  <c:v>41577</c:v>
                </c:pt>
                <c:pt idx="478">
                  <c:v>41578</c:v>
                </c:pt>
                <c:pt idx="479">
                  <c:v>41579</c:v>
                </c:pt>
                <c:pt idx="480">
                  <c:v>41582</c:v>
                </c:pt>
                <c:pt idx="481">
                  <c:v>41583</c:v>
                </c:pt>
                <c:pt idx="482">
                  <c:v>41584</c:v>
                </c:pt>
                <c:pt idx="483">
                  <c:v>41585</c:v>
                </c:pt>
                <c:pt idx="484">
                  <c:v>41586</c:v>
                </c:pt>
                <c:pt idx="485">
                  <c:v>41589</c:v>
                </c:pt>
                <c:pt idx="486">
                  <c:v>41590</c:v>
                </c:pt>
                <c:pt idx="487">
                  <c:v>41591</c:v>
                </c:pt>
                <c:pt idx="488">
                  <c:v>41592</c:v>
                </c:pt>
                <c:pt idx="489">
                  <c:v>41593</c:v>
                </c:pt>
                <c:pt idx="490">
                  <c:v>41596</c:v>
                </c:pt>
                <c:pt idx="491">
                  <c:v>41597</c:v>
                </c:pt>
                <c:pt idx="492">
                  <c:v>41598</c:v>
                </c:pt>
                <c:pt idx="493">
                  <c:v>41599</c:v>
                </c:pt>
                <c:pt idx="494">
                  <c:v>41600</c:v>
                </c:pt>
                <c:pt idx="495">
                  <c:v>41603</c:v>
                </c:pt>
                <c:pt idx="496">
                  <c:v>41604</c:v>
                </c:pt>
                <c:pt idx="497">
                  <c:v>41605</c:v>
                </c:pt>
                <c:pt idx="498">
                  <c:v>41606</c:v>
                </c:pt>
                <c:pt idx="499">
                  <c:v>41607</c:v>
                </c:pt>
                <c:pt idx="500">
                  <c:v>41610</c:v>
                </c:pt>
                <c:pt idx="501">
                  <c:v>41611</c:v>
                </c:pt>
                <c:pt idx="502">
                  <c:v>41612</c:v>
                </c:pt>
                <c:pt idx="503">
                  <c:v>41613</c:v>
                </c:pt>
                <c:pt idx="504">
                  <c:v>41614</c:v>
                </c:pt>
                <c:pt idx="505">
                  <c:v>41617</c:v>
                </c:pt>
                <c:pt idx="506">
                  <c:v>41618</c:v>
                </c:pt>
                <c:pt idx="507">
                  <c:v>41619</c:v>
                </c:pt>
                <c:pt idx="508">
                  <c:v>41620</c:v>
                </c:pt>
                <c:pt idx="509">
                  <c:v>41621</c:v>
                </c:pt>
                <c:pt idx="510">
                  <c:v>41624</c:v>
                </c:pt>
                <c:pt idx="511">
                  <c:v>41625</c:v>
                </c:pt>
                <c:pt idx="512">
                  <c:v>41626</c:v>
                </c:pt>
                <c:pt idx="513">
                  <c:v>41627</c:v>
                </c:pt>
                <c:pt idx="514">
                  <c:v>41628</c:v>
                </c:pt>
                <c:pt idx="515">
                  <c:v>41631</c:v>
                </c:pt>
                <c:pt idx="516">
                  <c:v>41632</c:v>
                </c:pt>
                <c:pt idx="517">
                  <c:v>41633</c:v>
                </c:pt>
                <c:pt idx="518">
                  <c:v>41634</c:v>
                </c:pt>
                <c:pt idx="519">
                  <c:v>41635</c:v>
                </c:pt>
                <c:pt idx="520">
                  <c:v>41638</c:v>
                </c:pt>
                <c:pt idx="521">
                  <c:v>41639</c:v>
                </c:pt>
                <c:pt idx="522">
                  <c:v>41640</c:v>
                </c:pt>
                <c:pt idx="523">
                  <c:v>41641</c:v>
                </c:pt>
                <c:pt idx="524">
                  <c:v>41642</c:v>
                </c:pt>
                <c:pt idx="525">
                  <c:v>41645</c:v>
                </c:pt>
                <c:pt idx="526">
                  <c:v>41646</c:v>
                </c:pt>
                <c:pt idx="527">
                  <c:v>41647</c:v>
                </c:pt>
                <c:pt idx="528">
                  <c:v>41648</c:v>
                </c:pt>
                <c:pt idx="529">
                  <c:v>41649</c:v>
                </c:pt>
                <c:pt idx="530">
                  <c:v>41652</c:v>
                </c:pt>
                <c:pt idx="531">
                  <c:v>41653</c:v>
                </c:pt>
                <c:pt idx="532">
                  <c:v>41654</c:v>
                </c:pt>
                <c:pt idx="533">
                  <c:v>41655</c:v>
                </c:pt>
                <c:pt idx="534">
                  <c:v>41656</c:v>
                </c:pt>
                <c:pt idx="535">
                  <c:v>41659</c:v>
                </c:pt>
                <c:pt idx="536">
                  <c:v>41660</c:v>
                </c:pt>
                <c:pt idx="537">
                  <c:v>41661</c:v>
                </c:pt>
                <c:pt idx="538">
                  <c:v>41662</c:v>
                </c:pt>
                <c:pt idx="539">
                  <c:v>41663</c:v>
                </c:pt>
                <c:pt idx="540">
                  <c:v>41666</c:v>
                </c:pt>
                <c:pt idx="541">
                  <c:v>41667</c:v>
                </c:pt>
                <c:pt idx="542">
                  <c:v>41668</c:v>
                </c:pt>
                <c:pt idx="543">
                  <c:v>41669</c:v>
                </c:pt>
                <c:pt idx="544">
                  <c:v>41670</c:v>
                </c:pt>
                <c:pt idx="545">
                  <c:v>41673</c:v>
                </c:pt>
                <c:pt idx="546">
                  <c:v>41674</c:v>
                </c:pt>
                <c:pt idx="547">
                  <c:v>41675</c:v>
                </c:pt>
                <c:pt idx="548">
                  <c:v>41676</c:v>
                </c:pt>
                <c:pt idx="549">
                  <c:v>41677</c:v>
                </c:pt>
                <c:pt idx="550">
                  <c:v>41680</c:v>
                </c:pt>
                <c:pt idx="551">
                  <c:v>41681</c:v>
                </c:pt>
                <c:pt idx="552">
                  <c:v>41682</c:v>
                </c:pt>
                <c:pt idx="553">
                  <c:v>41683</c:v>
                </c:pt>
                <c:pt idx="554">
                  <c:v>41684</c:v>
                </c:pt>
                <c:pt idx="555">
                  <c:v>41687</c:v>
                </c:pt>
                <c:pt idx="556">
                  <c:v>41688</c:v>
                </c:pt>
                <c:pt idx="557">
                  <c:v>41689</c:v>
                </c:pt>
                <c:pt idx="558">
                  <c:v>41690</c:v>
                </c:pt>
                <c:pt idx="559">
                  <c:v>41691</c:v>
                </c:pt>
                <c:pt idx="560">
                  <c:v>41694</c:v>
                </c:pt>
                <c:pt idx="561">
                  <c:v>41695</c:v>
                </c:pt>
                <c:pt idx="562">
                  <c:v>41696</c:v>
                </c:pt>
                <c:pt idx="563">
                  <c:v>41697</c:v>
                </c:pt>
                <c:pt idx="564">
                  <c:v>41698</c:v>
                </c:pt>
                <c:pt idx="565">
                  <c:v>41701</c:v>
                </c:pt>
                <c:pt idx="566">
                  <c:v>41702</c:v>
                </c:pt>
                <c:pt idx="567">
                  <c:v>41703</c:v>
                </c:pt>
                <c:pt idx="568">
                  <c:v>41704</c:v>
                </c:pt>
                <c:pt idx="569">
                  <c:v>41705</c:v>
                </c:pt>
                <c:pt idx="570">
                  <c:v>41708</c:v>
                </c:pt>
                <c:pt idx="571">
                  <c:v>41709</c:v>
                </c:pt>
                <c:pt idx="572">
                  <c:v>41710</c:v>
                </c:pt>
                <c:pt idx="573">
                  <c:v>41711</c:v>
                </c:pt>
                <c:pt idx="574">
                  <c:v>41712</c:v>
                </c:pt>
                <c:pt idx="575">
                  <c:v>41715</c:v>
                </c:pt>
                <c:pt idx="576">
                  <c:v>41716</c:v>
                </c:pt>
                <c:pt idx="577">
                  <c:v>41717</c:v>
                </c:pt>
                <c:pt idx="578">
                  <c:v>41718</c:v>
                </c:pt>
                <c:pt idx="579">
                  <c:v>41719</c:v>
                </c:pt>
                <c:pt idx="580">
                  <c:v>41722</c:v>
                </c:pt>
                <c:pt idx="581">
                  <c:v>41723</c:v>
                </c:pt>
                <c:pt idx="582">
                  <c:v>41724</c:v>
                </c:pt>
                <c:pt idx="583">
                  <c:v>41725</c:v>
                </c:pt>
                <c:pt idx="584">
                  <c:v>41726</c:v>
                </c:pt>
                <c:pt idx="585">
                  <c:v>41729</c:v>
                </c:pt>
                <c:pt idx="586">
                  <c:v>41730</c:v>
                </c:pt>
                <c:pt idx="587">
                  <c:v>41731</c:v>
                </c:pt>
                <c:pt idx="588">
                  <c:v>41732</c:v>
                </c:pt>
                <c:pt idx="589">
                  <c:v>41733</c:v>
                </c:pt>
                <c:pt idx="590">
                  <c:v>41736</c:v>
                </c:pt>
                <c:pt idx="591">
                  <c:v>41737</c:v>
                </c:pt>
                <c:pt idx="592">
                  <c:v>41738</c:v>
                </c:pt>
                <c:pt idx="593">
                  <c:v>41739</c:v>
                </c:pt>
                <c:pt idx="594">
                  <c:v>41740</c:v>
                </c:pt>
                <c:pt idx="595">
                  <c:v>41743</c:v>
                </c:pt>
                <c:pt idx="596">
                  <c:v>41744</c:v>
                </c:pt>
                <c:pt idx="597">
                  <c:v>41745</c:v>
                </c:pt>
                <c:pt idx="598">
                  <c:v>41746</c:v>
                </c:pt>
                <c:pt idx="599">
                  <c:v>41747</c:v>
                </c:pt>
                <c:pt idx="600">
                  <c:v>41750</c:v>
                </c:pt>
                <c:pt idx="601">
                  <c:v>41751</c:v>
                </c:pt>
                <c:pt idx="602">
                  <c:v>41752</c:v>
                </c:pt>
                <c:pt idx="603">
                  <c:v>41753</c:v>
                </c:pt>
                <c:pt idx="604">
                  <c:v>41754</c:v>
                </c:pt>
                <c:pt idx="605">
                  <c:v>41757</c:v>
                </c:pt>
                <c:pt idx="606">
                  <c:v>41758</c:v>
                </c:pt>
                <c:pt idx="607">
                  <c:v>41759</c:v>
                </c:pt>
                <c:pt idx="608">
                  <c:v>41760</c:v>
                </c:pt>
                <c:pt idx="609">
                  <c:v>41761</c:v>
                </c:pt>
                <c:pt idx="610">
                  <c:v>41764</c:v>
                </c:pt>
                <c:pt idx="611">
                  <c:v>41765</c:v>
                </c:pt>
                <c:pt idx="612">
                  <c:v>41766</c:v>
                </c:pt>
                <c:pt idx="613">
                  <c:v>41767</c:v>
                </c:pt>
                <c:pt idx="614">
                  <c:v>41768</c:v>
                </c:pt>
                <c:pt idx="615">
                  <c:v>41771</c:v>
                </c:pt>
                <c:pt idx="616">
                  <c:v>41772</c:v>
                </c:pt>
                <c:pt idx="617">
                  <c:v>41773</c:v>
                </c:pt>
                <c:pt idx="618">
                  <c:v>41774</c:v>
                </c:pt>
                <c:pt idx="619">
                  <c:v>41775</c:v>
                </c:pt>
                <c:pt idx="620">
                  <c:v>41778</c:v>
                </c:pt>
                <c:pt idx="621">
                  <c:v>41779</c:v>
                </c:pt>
                <c:pt idx="622">
                  <c:v>41780</c:v>
                </c:pt>
                <c:pt idx="623">
                  <c:v>41781</c:v>
                </c:pt>
                <c:pt idx="624">
                  <c:v>41782</c:v>
                </c:pt>
                <c:pt idx="625">
                  <c:v>41785</c:v>
                </c:pt>
                <c:pt idx="626">
                  <c:v>41786</c:v>
                </c:pt>
                <c:pt idx="627">
                  <c:v>41787</c:v>
                </c:pt>
                <c:pt idx="628">
                  <c:v>41788</c:v>
                </c:pt>
                <c:pt idx="629">
                  <c:v>41789</c:v>
                </c:pt>
                <c:pt idx="630">
                  <c:v>41792</c:v>
                </c:pt>
                <c:pt idx="631">
                  <c:v>41793</c:v>
                </c:pt>
                <c:pt idx="632">
                  <c:v>41794</c:v>
                </c:pt>
                <c:pt idx="633">
                  <c:v>41795</c:v>
                </c:pt>
                <c:pt idx="634">
                  <c:v>41796</c:v>
                </c:pt>
                <c:pt idx="635">
                  <c:v>41799</c:v>
                </c:pt>
                <c:pt idx="636">
                  <c:v>41800</c:v>
                </c:pt>
                <c:pt idx="637">
                  <c:v>41801</c:v>
                </c:pt>
                <c:pt idx="638">
                  <c:v>41802</c:v>
                </c:pt>
                <c:pt idx="639">
                  <c:v>41803</c:v>
                </c:pt>
                <c:pt idx="640">
                  <c:v>41806</c:v>
                </c:pt>
                <c:pt idx="641">
                  <c:v>41807</c:v>
                </c:pt>
                <c:pt idx="642">
                  <c:v>41808</c:v>
                </c:pt>
                <c:pt idx="643">
                  <c:v>41809</c:v>
                </c:pt>
                <c:pt idx="644">
                  <c:v>41810</c:v>
                </c:pt>
                <c:pt idx="645">
                  <c:v>41813</c:v>
                </c:pt>
                <c:pt idx="646">
                  <c:v>41814</c:v>
                </c:pt>
                <c:pt idx="647">
                  <c:v>41815</c:v>
                </c:pt>
                <c:pt idx="648">
                  <c:v>41816</c:v>
                </c:pt>
                <c:pt idx="649">
                  <c:v>41817</c:v>
                </c:pt>
                <c:pt idx="650">
                  <c:v>41820</c:v>
                </c:pt>
                <c:pt idx="651">
                  <c:v>41821</c:v>
                </c:pt>
                <c:pt idx="652">
                  <c:v>41822</c:v>
                </c:pt>
                <c:pt idx="653">
                  <c:v>41823</c:v>
                </c:pt>
                <c:pt idx="654">
                  <c:v>41824</c:v>
                </c:pt>
                <c:pt idx="655">
                  <c:v>41827</c:v>
                </c:pt>
                <c:pt idx="656">
                  <c:v>41828</c:v>
                </c:pt>
                <c:pt idx="657">
                  <c:v>41829</c:v>
                </c:pt>
                <c:pt idx="658">
                  <c:v>41830</c:v>
                </c:pt>
                <c:pt idx="659">
                  <c:v>41831</c:v>
                </c:pt>
                <c:pt idx="660">
                  <c:v>41834</c:v>
                </c:pt>
                <c:pt idx="661">
                  <c:v>41835</c:v>
                </c:pt>
                <c:pt idx="662">
                  <c:v>41836</c:v>
                </c:pt>
                <c:pt idx="663">
                  <c:v>41837</c:v>
                </c:pt>
                <c:pt idx="664">
                  <c:v>41838</c:v>
                </c:pt>
                <c:pt idx="665">
                  <c:v>41841</c:v>
                </c:pt>
                <c:pt idx="666">
                  <c:v>41842</c:v>
                </c:pt>
                <c:pt idx="667">
                  <c:v>41843</c:v>
                </c:pt>
                <c:pt idx="668">
                  <c:v>41844</c:v>
                </c:pt>
                <c:pt idx="669">
                  <c:v>41845</c:v>
                </c:pt>
                <c:pt idx="670">
                  <c:v>41848</c:v>
                </c:pt>
                <c:pt idx="671">
                  <c:v>41849</c:v>
                </c:pt>
                <c:pt idx="672">
                  <c:v>41850</c:v>
                </c:pt>
                <c:pt idx="673">
                  <c:v>41851</c:v>
                </c:pt>
                <c:pt idx="674">
                  <c:v>41852</c:v>
                </c:pt>
                <c:pt idx="675">
                  <c:v>41855</c:v>
                </c:pt>
                <c:pt idx="676">
                  <c:v>41856</c:v>
                </c:pt>
                <c:pt idx="677">
                  <c:v>41857</c:v>
                </c:pt>
                <c:pt idx="678">
                  <c:v>41858</c:v>
                </c:pt>
                <c:pt idx="679">
                  <c:v>41859</c:v>
                </c:pt>
                <c:pt idx="680">
                  <c:v>41862</c:v>
                </c:pt>
                <c:pt idx="681">
                  <c:v>41863</c:v>
                </c:pt>
                <c:pt idx="682">
                  <c:v>41864</c:v>
                </c:pt>
                <c:pt idx="683">
                  <c:v>41865</c:v>
                </c:pt>
                <c:pt idx="684">
                  <c:v>41866</c:v>
                </c:pt>
                <c:pt idx="685">
                  <c:v>41869</c:v>
                </c:pt>
                <c:pt idx="686">
                  <c:v>41870</c:v>
                </c:pt>
                <c:pt idx="687">
                  <c:v>41871</c:v>
                </c:pt>
                <c:pt idx="688">
                  <c:v>41872</c:v>
                </c:pt>
                <c:pt idx="689">
                  <c:v>41873</c:v>
                </c:pt>
                <c:pt idx="690">
                  <c:v>41876</c:v>
                </c:pt>
                <c:pt idx="691">
                  <c:v>41877</c:v>
                </c:pt>
                <c:pt idx="692">
                  <c:v>41878</c:v>
                </c:pt>
                <c:pt idx="693">
                  <c:v>41879</c:v>
                </c:pt>
                <c:pt idx="694">
                  <c:v>41880</c:v>
                </c:pt>
                <c:pt idx="695">
                  <c:v>41883</c:v>
                </c:pt>
                <c:pt idx="696">
                  <c:v>41884</c:v>
                </c:pt>
                <c:pt idx="697">
                  <c:v>41885</c:v>
                </c:pt>
                <c:pt idx="698">
                  <c:v>41886</c:v>
                </c:pt>
                <c:pt idx="699">
                  <c:v>41887</c:v>
                </c:pt>
                <c:pt idx="700">
                  <c:v>41890</c:v>
                </c:pt>
                <c:pt idx="701">
                  <c:v>41891</c:v>
                </c:pt>
                <c:pt idx="702">
                  <c:v>41892</c:v>
                </c:pt>
                <c:pt idx="703">
                  <c:v>41893</c:v>
                </c:pt>
                <c:pt idx="704">
                  <c:v>41894</c:v>
                </c:pt>
                <c:pt idx="705">
                  <c:v>41897</c:v>
                </c:pt>
                <c:pt idx="706">
                  <c:v>41898</c:v>
                </c:pt>
                <c:pt idx="707">
                  <c:v>41899</c:v>
                </c:pt>
                <c:pt idx="708">
                  <c:v>41900</c:v>
                </c:pt>
                <c:pt idx="709">
                  <c:v>41901</c:v>
                </c:pt>
                <c:pt idx="710">
                  <c:v>41904</c:v>
                </c:pt>
                <c:pt idx="711">
                  <c:v>41905</c:v>
                </c:pt>
                <c:pt idx="712">
                  <c:v>41906</c:v>
                </c:pt>
                <c:pt idx="713">
                  <c:v>41907</c:v>
                </c:pt>
                <c:pt idx="714">
                  <c:v>41908</c:v>
                </c:pt>
                <c:pt idx="715">
                  <c:v>41911</c:v>
                </c:pt>
                <c:pt idx="716">
                  <c:v>41912</c:v>
                </c:pt>
                <c:pt idx="717">
                  <c:v>41913</c:v>
                </c:pt>
                <c:pt idx="718">
                  <c:v>41914</c:v>
                </c:pt>
                <c:pt idx="719">
                  <c:v>41915</c:v>
                </c:pt>
                <c:pt idx="720">
                  <c:v>41918</c:v>
                </c:pt>
                <c:pt idx="721">
                  <c:v>41919</c:v>
                </c:pt>
                <c:pt idx="722">
                  <c:v>41920</c:v>
                </c:pt>
                <c:pt idx="723">
                  <c:v>41921</c:v>
                </c:pt>
                <c:pt idx="724">
                  <c:v>41922</c:v>
                </c:pt>
                <c:pt idx="725">
                  <c:v>41925</c:v>
                </c:pt>
                <c:pt idx="726">
                  <c:v>41926</c:v>
                </c:pt>
                <c:pt idx="727">
                  <c:v>41927</c:v>
                </c:pt>
                <c:pt idx="728">
                  <c:v>41928</c:v>
                </c:pt>
                <c:pt idx="729">
                  <c:v>41929</c:v>
                </c:pt>
                <c:pt idx="730">
                  <c:v>41932</c:v>
                </c:pt>
                <c:pt idx="731">
                  <c:v>41933</c:v>
                </c:pt>
                <c:pt idx="732">
                  <c:v>41934</c:v>
                </c:pt>
                <c:pt idx="733">
                  <c:v>41935</c:v>
                </c:pt>
                <c:pt idx="734">
                  <c:v>41936</c:v>
                </c:pt>
                <c:pt idx="735">
                  <c:v>41939</c:v>
                </c:pt>
                <c:pt idx="736">
                  <c:v>41940</c:v>
                </c:pt>
                <c:pt idx="737">
                  <c:v>41941</c:v>
                </c:pt>
                <c:pt idx="738">
                  <c:v>41942</c:v>
                </c:pt>
                <c:pt idx="739">
                  <c:v>41943</c:v>
                </c:pt>
                <c:pt idx="740">
                  <c:v>41946</c:v>
                </c:pt>
                <c:pt idx="741">
                  <c:v>41947</c:v>
                </c:pt>
                <c:pt idx="742">
                  <c:v>41948</c:v>
                </c:pt>
                <c:pt idx="743">
                  <c:v>41949</c:v>
                </c:pt>
                <c:pt idx="744">
                  <c:v>41950</c:v>
                </c:pt>
                <c:pt idx="745">
                  <c:v>41953</c:v>
                </c:pt>
                <c:pt idx="746">
                  <c:v>41954</c:v>
                </c:pt>
                <c:pt idx="747">
                  <c:v>41955</c:v>
                </c:pt>
                <c:pt idx="748">
                  <c:v>41956</c:v>
                </c:pt>
                <c:pt idx="749">
                  <c:v>41957</c:v>
                </c:pt>
                <c:pt idx="750">
                  <c:v>41960</c:v>
                </c:pt>
                <c:pt idx="751">
                  <c:v>41961</c:v>
                </c:pt>
                <c:pt idx="752">
                  <c:v>41962</c:v>
                </c:pt>
                <c:pt idx="753">
                  <c:v>41963</c:v>
                </c:pt>
                <c:pt idx="754">
                  <c:v>41964</c:v>
                </c:pt>
                <c:pt idx="755">
                  <c:v>41967</c:v>
                </c:pt>
                <c:pt idx="756">
                  <c:v>41968</c:v>
                </c:pt>
                <c:pt idx="757">
                  <c:v>41969</c:v>
                </c:pt>
                <c:pt idx="758">
                  <c:v>41970</c:v>
                </c:pt>
                <c:pt idx="759">
                  <c:v>41971</c:v>
                </c:pt>
                <c:pt idx="760">
                  <c:v>41974</c:v>
                </c:pt>
                <c:pt idx="761">
                  <c:v>41975</c:v>
                </c:pt>
                <c:pt idx="762">
                  <c:v>41976</c:v>
                </c:pt>
                <c:pt idx="763">
                  <c:v>41977</c:v>
                </c:pt>
                <c:pt idx="764">
                  <c:v>41978</c:v>
                </c:pt>
                <c:pt idx="765">
                  <c:v>41981</c:v>
                </c:pt>
                <c:pt idx="766">
                  <c:v>41982</c:v>
                </c:pt>
                <c:pt idx="767">
                  <c:v>41983</c:v>
                </c:pt>
                <c:pt idx="768">
                  <c:v>41984</c:v>
                </c:pt>
                <c:pt idx="769">
                  <c:v>41985</c:v>
                </c:pt>
                <c:pt idx="770">
                  <c:v>41988</c:v>
                </c:pt>
                <c:pt idx="771">
                  <c:v>41989</c:v>
                </c:pt>
                <c:pt idx="772">
                  <c:v>41990</c:v>
                </c:pt>
                <c:pt idx="773">
                  <c:v>41991</c:v>
                </c:pt>
                <c:pt idx="774">
                  <c:v>41992</c:v>
                </c:pt>
                <c:pt idx="775">
                  <c:v>41995</c:v>
                </c:pt>
                <c:pt idx="776">
                  <c:v>41996</c:v>
                </c:pt>
                <c:pt idx="777">
                  <c:v>41997</c:v>
                </c:pt>
                <c:pt idx="778">
                  <c:v>41998</c:v>
                </c:pt>
                <c:pt idx="779">
                  <c:v>41999</c:v>
                </c:pt>
                <c:pt idx="780">
                  <c:v>42002</c:v>
                </c:pt>
                <c:pt idx="781">
                  <c:v>42003</c:v>
                </c:pt>
                <c:pt idx="782">
                  <c:v>42004</c:v>
                </c:pt>
                <c:pt idx="783">
                  <c:v>42005</c:v>
                </c:pt>
                <c:pt idx="784">
                  <c:v>42006</c:v>
                </c:pt>
                <c:pt idx="785">
                  <c:v>42009</c:v>
                </c:pt>
                <c:pt idx="786">
                  <c:v>42010</c:v>
                </c:pt>
                <c:pt idx="787">
                  <c:v>42011</c:v>
                </c:pt>
                <c:pt idx="788">
                  <c:v>42012</c:v>
                </c:pt>
                <c:pt idx="789">
                  <c:v>42013</c:v>
                </c:pt>
                <c:pt idx="790">
                  <c:v>42016</c:v>
                </c:pt>
                <c:pt idx="791">
                  <c:v>42017</c:v>
                </c:pt>
                <c:pt idx="792">
                  <c:v>42018</c:v>
                </c:pt>
                <c:pt idx="793">
                  <c:v>42019</c:v>
                </c:pt>
                <c:pt idx="794">
                  <c:v>42020</c:v>
                </c:pt>
                <c:pt idx="795">
                  <c:v>42023</c:v>
                </c:pt>
                <c:pt idx="796">
                  <c:v>42024</c:v>
                </c:pt>
                <c:pt idx="797">
                  <c:v>42025</c:v>
                </c:pt>
                <c:pt idx="798">
                  <c:v>42026</c:v>
                </c:pt>
                <c:pt idx="799">
                  <c:v>42027</c:v>
                </c:pt>
                <c:pt idx="800">
                  <c:v>42030</c:v>
                </c:pt>
                <c:pt idx="801">
                  <c:v>42031</c:v>
                </c:pt>
                <c:pt idx="802">
                  <c:v>42032</c:v>
                </c:pt>
                <c:pt idx="803">
                  <c:v>42033</c:v>
                </c:pt>
                <c:pt idx="804">
                  <c:v>42034</c:v>
                </c:pt>
                <c:pt idx="805">
                  <c:v>42037</c:v>
                </c:pt>
                <c:pt idx="806">
                  <c:v>42038</c:v>
                </c:pt>
                <c:pt idx="807">
                  <c:v>42039</c:v>
                </c:pt>
                <c:pt idx="808">
                  <c:v>42040</c:v>
                </c:pt>
                <c:pt idx="809">
                  <c:v>42041</c:v>
                </c:pt>
                <c:pt idx="810">
                  <c:v>42044</c:v>
                </c:pt>
                <c:pt idx="811">
                  <c:v>42045</c:v>
                </c:pt>
                <c:pt idx="812">
                  <c:v>42046</c:v>
                </c:pt>
                <c:pt idx="813">
                  <c:v>42047</c:v>
                </c:pt>
                <c:pt idx="814">
                  <c:v>42048</c:v>
                </c:pt>
                <c:pt idx="815">
                  <c:v>42051</c:v>
                </c:pt>
                <c:pt idx="816">
                  <c:v>42052</c:v>
                </c:pt>
                <c:pt idx="817">
                  <c:v>42053</c:v>
                </c:pt>
                <c:pt idx="818">
                  <c:v>42054</c:v>
                </c:pt>
                <c:pt idx="819">
                  <c:v>42055</c:v>
                </c:pt>
                <c:pt idx="820">
                  <c:v>42058</c:v>
                </c:pt>
                <c:pt idx="821">
                  <c:v>42059</c:v>
                </c:pt>
                <c:pt idx="822">
                  <c:v>42060</c:v>
                </c:pt>
                <c:pt idx="823">
                  <c:v>42061</c:v>
                </c:pt>
                <c:pt idx="824">
                  <c:v>42062</c:v>
                </c:pt>
                <c:pt idx="825">
                  <c:v>42065</c:v>
                </c:pt>
                <c:pt idx="826">
                  <c:v>42066</c:v>
                </c:pt>
                <c:pt idx="827">
                  <c:v>42067</c:v>
                </c:pt>
                <c:pt idx="828">
                  <c:v>42068</c:v>
                </c:pt>
                <c:pt idx="829">
                  <c:v>42069</c:v>
                </c:pt>
                <c:pt idx="830">
                  <c:v>42072</c:v>
                </c:pt>
                <c:pt idx="831">
                  <c:v>42073</c:v>
                </c:pt>
                <c:pt idx="832">
                  <c:v>42074</c:v>
                </c:pt>
                <c:pt idx="833">
                  <c:v>42075</c:v>
                </c:pt>
                <c:pt idx="834">
                  <c:v>42076</c:v>
                </c:pt>
                <c:pt idx="835">
                  <c:v>42079</c:v>
                </c:pt>
                <c:pt idx="836">
                  <c:v>42080</c:v>
                </c:pt>
                <c:pt idx="837">
                  <c:v>42081</c:v>
                </c:pt>
                <c:pt idx="838">
                  <c:v>42082</c:v>
                </c:pt>
                <c:pt idx="839">
                  <c:v>42083</c:v>
                </c:pt>
                <c:pt idx="840">
                  <c:v>42086</c:v>
                </c:pt>
                <c:pt idx="841">
                  <c:v>42087</c:v>
                </c:pt>
                <c:pt idx="842">
                  <c:v>42088</c:v>
                </c:pt>
                <c:pt idx="843">
                  <c:v>42089</c:v>
                </c:pt>
                <c:pt idx="844">
                  <c:v>42090</c:v>
                </c:pt>
                <c:pt idx="845">
                  <c:v>42093</c:v>
                </c:pt>
                <c:pt idx="846">
                  <c:v>42094</c:v>
                </c:pt>
                <c:pt idx="847">
                  <c:v>42095</c:v>
                </c:pt>
                <c:pt idx="848">
                  <c:v>42096</c:v>
                </c:pt>
                <c:pt idx="849">
                  <c:v>42097</c:v>
                </c:pt>
                <c:pt idx="850">
                  <c:v>42100</c:v>
                </c:pt>
                <c:pt idx="851">
                  <c:v>42101</c:v>
                </c:pt>
                <c:pt idx="852">
                  <c:v>42102</c:v>
                </c:pt>
                <c:pt idx="853">
                  <c:v>42103</c:v>
                </c:pt>
                <c:pt idx="854">
                  <c:v>42104</c:v>
                </c:pt>
                <c:pt idx="855">
                  <c:v>42107</c:v>
                </c:pt>
                <c:pt idx="856">
                  <c:v>42108</c:v>
                </c:pt>
                <c:pt idx="857">
                  <c:v>42109</c:v>
                </c:pt>
                <c:pt idx="858">
                  <c:v>42110</c:v>
                </c:pt>
                <c:pt idx="859">
                  <c:v>42111</c:v>
                </c:pt>
                <c:pt idx="860">
                  <c:v>42114</c:v>
                </c:pt>
                <c:pt idx="861">
                  <c:v>42115</c:v>
                </c:pt>
                <c:pt idx="862">
                  <c:v>42116</c:v>
                </c:pt>
                <c:pt idx="863">
                  <c:v>42117</c:v>
                </c:pt>
                <c:pt idx="864">
                  <c:v>42118</c:v>
                </c:pt>
                <c:pt idx="865">
                  <c:v>42121</c:v>
                </c:pt>
                <c:pt idx="866">
                  <c:v>42122</c:v>
                </c:pt>
                <c:pt idx="867">
                  <c:v>42123</c:v>
                </c:pt>
                <c:pt idx="868">
                  <c:v>42124</c:v>
                </c:pt>
                <c:pt idx="869">
                  <c:v>42125</c:v>
                </c:pt>
                <c:pt idx="870">
                  <c:v>42128</c:v>
                </c:pt>
                <c:pt idx="871">
                  <c:v>42129</c:v>
                </c:pt>
                <c:pt idx="872">
                  <c:v>42130</c:v>
                </c:pt>
                <c:pt idx="873">
                  <c:v>42131</c:v>
                </c:pt>
                <c:pt idx="874">
                  <c:v>42132</c:v>
                </c:pt>
                <c:pt idx="875">
                  <c:v>42135</c:v>
                </c:pt>
                <c:pt idx="876">
                  <c:v>42136</c:v>
                </c:pt>
                <c:pt idx="877">
                  <c:v>42137</c:v>
                </c:pt>
                <c:pt idx="878">
                  <c:v>42138</c:v>
                </c:pt>
                <c:pt idx="879">
                  <c:v>42139</c:v>
                </c:pt>
                <c:pt idx="880">
                  <c:v>42142</c:v>
                </c:pt>
                <c:pt idx="881">
                  <c:v>42143</c:v>
                </c:pt>
                <c:pt idx="882">
                  <c:v>42144</c:v>
                </c:pt>
                <c:pt idx="883">
                  <c:v>42145</c:v>
                </c:pt>
                <c:pt idx="884">
                  <c:v>42146</c:v>
                </c:pt>
                <c:pt idx="885">
                  <c:v>42149</c:v>
                </c:pt>
                <c:pt idx="886">
                  <c:v>42150</c:v>
                </c:pt>
                <c:pt idx="887">
                  <c:v>42151</c:v>
                </c:pt>
                <c:pt idx="888">
                  <c:v>42152</c:v>
                </c:pt>
                <c:pt idx="889">
                  <c:v>42153</c:v>
                </c:pt>
                <c:pt idx="890">
                  <c:v>42156</c:v>
                </c:pt>
                <c:pt idx="891">
                  <c:v>42157</c:v>
                </c:pt>
                <c:pt idx="892">
                  <c:v>42158</c:v>
                </c:pt>
                <c:pt idx="893">
                  <c:v>42159</c:v>
                </c:pt>
                <c:pt idx="894">
                  <c:v>42160</c:v>
                </c:pt>
                <c:pt idx="895">
                  <c:v>42163</c:v>
                </c:pt>
                <c:pt idx="896">
                  <c:v>42164</c:v>
                </c:pt>
                <c:pt idx="897">
                  <c:v>42165</c:v>
                </c:pt>
                <c:pt idx="898">
                  <c:v>42166</c:v>
                </c:pt>
                <c:pt idx="899">
                  <c:v>42167</c:v>
                </c:pt>
                <c:pt idx="900">
                  <c:v>42170</c:v>
                </c:pt>
                <c:pt idx="901">
                  <c:v>42171</c:v>
                </c:pt>
                <c:pt idx="902">
                  <c:v>42172</c:v>
                </c:pt>
                <c:pt idx="903">
                  <c:v>42173</c:v>
                </c:pt>
                <c:pt idx="904">
                  <c:v>42174</c:v>
                </c:pt>
                <c:pt idx="905">
                  <c:v>42177</c:v>
                </c:pt>
                <c:pt idx="906">
                  <c:v>42178</c:v>
                </c:pt>
                <c:pt idx="907">
                  <c:v>42179</c:v>
                </c:pt>
                <c:pt idx="908">
                  <c:v>42180</c:v>
                </c:pt>
                <c:pt idx="909">
                  <c:v>42181</c:v>
                </c:pt>
                <c:pt idx="910">
                  <c:v>42184</c:v>
                </c:pt>
                <c:pt idx="911">
                  <c:v>42185</c:v>
                </c:pt>
                <c:pt idx="912">
                  <c:v>42186</c:v>
                </c:pt>
                <c:pt idx="913">
                  <c:v>42187</c:v>
                </c:pt>
                <c:pt idx="914">
                  <c:v>42188</c:v>
                </c:pt>
                <c:pt idx="915">
                  <c:v>42191</c:v>
                </c:pt>
                <c:pt idx="916">
                  <c:v>42192</c:v>
                </c:pt>
                <c:pt idx="917">
                  <c:v>42193</c:v>
                </c:pt>
                <c:pt idx="918">
                  <c:v>42194</c:v>
                </c:pt>
                <c:pt idx="919">
                  <c:v>42195</c:v>
                </c:pt>
                <c:pt idx="920">
                  <c:v>42198</c:v>
                </c:pt>
                <c:pt idx="921">
                  <c:v>42199</c:v>
                </c:pt>
                <c:pt idx="922">
                  <c:v>42200</c:v>
                </c:pt>
                <c:pt idx="923">
                  <c:v>42201</c:v>
                </c:pt>
                <c:pt idx="924">
                  <c:v>42202</c:v>
                </c:pt>
                <c:pt idx="925">
                  <c:v>42205</c:v>
                </c:pt>
                <c:pt idx="926">
                  <c:v>42206</c:v>
                </c:pt>
                <c:pt idx="927">
                  <c:v>42207</c:v>
                </c:pt>
                <c:pt idx="928">
                  <c:v>42208</c:v>
                </c:pt>
                <c:pt idx="929">
                  <c:v>42209</c:v>
                </c:pt>
                <c:pt idx="930">
                  <c:v>42212</c:v>
                </c:pt>
                <c:pt idx="931">
                  <c:v>42213</c:v>
                </c:pt>
                <c:pt idx="932">
                  <c:v>42214</c:v>
                </c:pt>
                <c:pt idx="933">
                  <c:v>42215</c:v>
                </c:pt>
                <c:pt idx="934">
                  <c:v>42216</c:v>
                </c:pt>
                <c:pt idx="935">
                  <c:v>42219</c:v>
                </c:pt>
                <c:pt idx="936">
                  <c:v>42220</c:v>
                </c:pt>
                <c:pt idx="937">
                  <c:v>42221</c:v>
                </c:pt>
                <c:pt idx="938">
                  <c:v>42222</c:v>
                </c:pt>
                <c:pt idx="939">
                  <c:v>42223</c:v>
                </c:pt>
                <c:pt idx="940">
                  <c:v>42226</c:v>
                </c:pt>
                <c:pt idx="941">
                  <c:v>42227</c:v>
                </c:pt>
                <c:pt idx="942">
                  <c:v>42228</c:v>
                </c:pt>
                <c:pt idx="943">
                  <c:v>42229</c:v>
                </c:pt>
                <c:pt idx="944">
                  <c:v>42230</c:v>
                </c:pt>
                <c:pt idx="945">
                  <c:v>42233</c:v>
                </c:pt>
                <c:pt idx="946">
                  <c:v>42234</c:v>
                </c:pt>
                <c:pt idx="947">
                  <c:v>42235</c:v>
                </c:pt>
                <c:pt idx="948">
                  <c:v>42236</c:v>
                </c:pt>
                <c:pt idx="949">
                  <c:v>42237</c:v>
                </c:pt>
                <c:pt idx="950">
                  <c:v>42240</c:v>
                </c:pt>
                <c:pt idx="951">
                  <c:v>42241</c:v>
                </c:pt>
                <c:pt idx="952">
                  <c:v>42242</c:v>
                </c:pt>
                <c:pt idx="953">
                  <c:v>42243</c:v>
                </c:pt>
                <c:pt idx="954">
                  <c:v>42244</c:v>
                </c:pt>
                <c:pt idx="955">
                  <c:v>42247</c:v>
                </c:pt>
                <c:pt idx="956">
                  <c:v>42248</c:v>
                </c:pt>
                <c:pt idx="957">
                  <c:v>42249</c:v>
                </c:pt>
                <c:pt idx="958">
                  <c:v>42250</c:v>
                </c:pt>
                <c:pt idx="959">
                  <c:v>42251</c:v>
                </c:pt>
                <c:pt idx="960">
                  <c:v>42254</c:v>
                </c:pt>
                <c:pt idx="961">
                  <c:v>42255</c:v>
                </c:pt>
                <c:pt idx="962">
                  <c:v>42256</c:v>
                </c:pt>
                <c:pt idx="963">
                  <c:v>42257</c:v>
                </c:pt>
                <c:pt idx="964">
                  <c:v>42258</c:v>
                </c:pt>
                <c:pt idx="965">
                  <c:v>42261</c:v>
                </c:pt>
                <c:pt idx="966">
                  <c:v>42262</c:v>
                </c:pt>
                <c:pt idx="967">
                  <c:v>42263</c:v>
                </c:pt>
                <c:pt idx="968">
                  <c:v>42264</c:v>
                </c:pt>
                <c:pt idx="969">
                  <c:v>42265</c:v>
                </c:pt>
                <c:pt idx="970">
                  <c:v>42268</c:v>
                </c:pt>
                <c:pt idx="971">
                  <c:v>42269</c:v>
                </c:pt>
                <c:pt idx="972">
                  <c:v>42270</c:v>
                </c:pt>
                <c:pt idx="973">
                  <c:v>42271</c:v>
                </c:pt>
                <c:pt idx="974">
                  <c:v>42272</c:v>
                </c:pt>
                <c:pt idx="975">
                  <c:v>42275</c:v>
                </c:pt>
                <c:pt idx="976">
                  <c:v>42276</c:v>
                </c:pt>
                <c:pt idx="977">
                  <c:v>42277</c:v>
                </c:pt>
                <c:pt idx="978">
                  <c:v>42278</c:v>
                </c:pt>
                <c:pt idx="979">
                  <c:v>42279</c:v>
                </c:pt>
                <c:pt idx="980">
                  <c:v>42282</c:v>
                </c:pt>
                <c:pt idx="981">
                  <c:v>42283</c:v>
                </c:pt>
                <c:pt idx="982">
                  <c:v>42284</c:v>
                </c:pt>
                <c:pt idx="983">
                  <c:v>42285</c:v>
                </c:pt>
                <c:pt idx="984">
                  <c:v>42286</c:v>
                </c:pt>
                <c:pt idx="985">
                  <c:v>42289</c:v>
                </c:pt>
                <c:pt idx="986">
                  <c:v>42290</c:v>
                </c:pt>
                <c:pt idx="987">
                  <c:v>42291</c:v>
                </c:pt>
                <c:pt idx="988">
                  <c:v>42292</c:v>
                </c:pt>
                <c:pt idx="989">
                  <c:v>42293</c:v>
                </c:pt>
                <c:pt idx="990">
                  <c:v>42296</c:v>
                </c:pt>
                <c:pt idx="991">
                  <c:v>42297</c:v>
                </c:pt>
                <c:pt idx="992">
                  <c:v>42298</c:v>
                </c:pt>
                <c:pt idx="993">
                  <c:v>42299</c:v>
                </c:pt>
                <c:pt idx="994">
                  <c:v>42300</c:v>
                </c:pt>
                <c:pt idx="995">
                  <c:v>42303</c:v>
                </c:pt>
                <c:pt idx="996">
                  <c:v>42304</c:v>
                </c:pt>
                <c:pt idx="997">
                  <c:v>42305</c:v>
                </c:pt>
                <c:pt idx="998">
                  <c:v>42306</c:v>
                </c:pt>
                <c:pt idx="999">
                  <c:v>42307</c:v>
                </c:pt>
                <c:pt idx="1000">
                  <c:v>42310</c:v>
                </c:pt>
                <c:pt idx="1001">
                  <c:v>42311</c:v>
                </c:pt>
                <c:pt idx="1002">
                  <c:v>42312</c:v>
                </c:pt>
                <c:pt idx="1003">
                  <c:v>42313</c:v>
                </c:pt>
                <c:pt idx="1004">
                  <c:v>42314</c:v>
                </c:pt>
                <c:pt idx="1005">
                  <c:v>42317</c:v>
                </c:pt>
                <c:pt idx="1006">
                  <c:v>42318</c:v>
                </c:pt>
                <c:pt idx="1007">
                  <c:v>42319</c:v>
                </c:pt>
                <c:pt idx="1008">
                  <c:v>42320</c:v>
                </c:pt>
                <c:pt idx="1009">
                  <c:v>42321</c:v>
                </c:pt>
                <c:pt idx="1010">
                  <c:v>42324</c:v>
                </c:pt>
                <c:pt idx="1011">
                  <c:v>42325</c:v>
                </c:pt>
                <c:pt idx="1012">
                  <c:v>42326</c:v>
                </c:pt>
                <c:pt idx="1013">
                  <c:v>42327</c:v>
                </c:pt>
                <c:pt idx="1014">
                  <c:v>42328</c:v>
                </c:pt>
                <c:pt idx="1015">
                  <c:v>42331</c:v>
                </c:pt>
                <c:pt idx="1016">
                  <c:v>42332</c:v>
                </c:pt>
              </c:numCache>
            </c:numRef>
          </c:cat>
          <c:val>
            <c:numRef>
              <c:f>[alco.xlsm]cds!$C$1578:$C$5000</c:f>
              <c:numCache>
                <c:formatCode>General</c:formatCode>
                <c:ptCount val="3423"/>
                <c:pt idx="0">
                  <c:v>551.90989999999999</c:v>
                </c:pt>
                <c:pt idx="1">
                  <c:v>576.67990000000009</c:v>
                </c:pt>
                <c:pt idx="2">
                  <c:v>641.12990000000002</c:v>
                </c:pt>
                <c:pt idx="3">
                  <c:v>661.24</c:v>
                </c:pt>
                <c:pt idx="4">
                  <c:v>623.8098</c:v>
                </c:pt>
                <c:pt idx="5">
                  <c:v>614.92990000000009</c:v>
                </c:pt>
                <c:pt idx="6">
                  <c:v>614.92990000000009</c:v>
                </c:pt>
                <c:pt idx="7">
                  <c:v>614.92990000000009</c:v>
                </c:pt>
                <c:pt idx="8">
                  <c:v>614.92990000000009</c:v>
                </c:pt>
                <c:pt idx="9">
                  <c:v>614.92990000000009</c:v>
                </c:pt>
                <c:pt idx="10">
                  <c:v>614.92990000000009</c:v>
                </c:pt>
                <c:pt idx="11">
                  <c:v>614.92990000000009</c:v>
                </c:pt>
                <c:pt idx="12">
                  <c:v>595.63990000000001</c:v>
                </c:pt>
                <c:pt idx="13">
                  <c:v>558.00980000000004</c:v>
                </c:pt>
                <c:pt idx="14">
                  <c:v>549.1499</c:v>
                </c:pt>
                <c:pt idx="15">
                  <c:v>535.76980000000003</c:v>
                </c:pt>
                <c:pt idx="16">
                  <c:v>535.76980000000003</c:v>
                </c:pt>
                <c:pt idx="17">
                  <c:v>526.49</c:v>
                </c:pt>
                <c:pt idx="18">
                  <c:v>514.8098</c:v>
                </c:pt>
                <c:pt idx="19">
                  <c:v>517.22</c:v>
                </c:pt>
                <c:pt idx="20">
                  <c:v>526.5</c:v>
                </c:pt>
                <c:pt idx="21">
                  <c:v>523.34990000000005</c:v>
                </c:pt>
                <c:pt idx="22">
                  <c:v>514.1699000000001</c:v>
                </c:pt>
                <c:pt idx="23">
                  <c:v>510.75980000000004</c:v>
                </c:pt>
                <c:pt idx="24">
                  <c:v>497.68990000000002</c:v>
                </c:pt>
                <c:pt idx="25">
                  <c:v>495.59990000000005</c:v>
                </c:pt>
                <c:pt idx="26">
                  <c:v>493.41990000000004</c:v>
                </c:pt>
                <c:pt idx="27">
                  <c:v>490.95000000000005</c:v>
                </c:pt>
                <c:pt idx="28">
                  <c:v>493.17990000000003</c:v>
                </c:pt>
                <c:pt idx="29">
                  <c:v>498.10990000000004</c:v>
                </c:pt>
                <c:pt idx="30">
                  <c:v>496.89990000000006</c:v>
                </c:pt>
                <c:pt idx="31">
                  <c:v>496.76980000000003</c:v>
                </c:pt>
                <c:pt idx="32">
                  <c:v>495.90990000000005</c:v>
                </c:pt>
                <c:pt idx="33">
                  <c:v>499.43990000000002</c:v>
                </c:pt>
                <c:pt idx="34">
                  <c:v>494.92990000000003</c:v>
                </c:pt>
                <c:pt idx="35">
                  <c:v>492.74000000000007</c:v>
                </c:pt>
                <c:pt idx="36">
                  <c:v>478.07980000000003</c:v>
                </c:pt>
                <c:pt idx="37">
                  <c:v>468.57980000000003</c:v>
                </c:pt>
                <c:pt idx="38">
                  <c:v>468.23</c:v>
                </c:pt>
                <c:pt idx="39">
                  <c:v>460.56980000000004</c:v>
                </c:pt>
                <c:pt idx="40">
                  <c:v>461.29980000000006</c:v>
                </c:pt>
                <c:pt idx="41">
                  <c:v>457.87990000000002</c:v>
                </c:pt>
                <c:pt idx="42">
                  <c:v>456.16990000000004</c:v>
                </c:pt>
                <c:pt idx="43">
                  <c:v>450.14990000000006</c:v>
                </c:pt>
                <c:pt idx="44">
                  <c:v>447.80980000000005</c:v>
                </c:pt>
                <c:pt idx="45">
                  <c:v>446.08980000000003</c:v>
                </c:pt>
                <c:pt idx="46">
                  <c:v>457.18990000000002</c:v>
                </c:pt>
                <c:pt idx="47">
                  <c:v>476.86990000000003</c:v>
                </c:pt>
                <c:pt idx="48">
                  <c:v>469.25980000000004</c:v>
                </c:pt>
                <c:pt idx="49">
                  <c:v>467.89990000000006</c:v>
                </c:pt>
                <c:pt idx="50">
                  <c:v>468.68990000000002</c:v>
                </c:pt>
                <c:pt idx="51">
                  <c:v>462.01980000000003</c:v>
                </c:pt>
                <c:pt idx="52">
                  <c:v>456.72</c:v>
                </c:pt>
                <c:pt idx="53">
                  <c:v>463.89790000000005</c:v>
                </c:pt>
                <c:pt idx="54" formatCode="##0.00##">
                  <c:v>460.12990000000002</c:v>
                </c:pt>
                <c:pt idx="55" formatCode="##0.00##">
                  <c:v>460.12990000000002</c:v>
                </c:pt>
                <c:pt idx="56" formatCode="##0.00##">
                  <c:v>460.68990000000002</c:v>
                </c:pt>
                <c:pt idx="57" formatCode="##0.00##">
                  <c:v>463.90990000000005</c:v>
                </c:pt>
                <c:pt idx="58" formatCode="##0.00##">
                  <c:v>472.50000000000006</c:v>
                </c:pt>
                <c:pt idx="59" formatCode="##0.00##">
                  <c:v>480.20000000000005</c:v>
                </c:pt>
                <c:pt idx="60" formatCode="##0.00##">
                  <c:v>478.92990000000003</c:v>
                </c:pt>
                <c:pt idx="61" formatCode="##0.00##">
                  <c:v>476.20000000000005</c:v>
                </c:pt>
                <c:pt idx="62" formatCode="##0.00##">
                  <c:v>476.03980000000001</c:v>
                </c:pt>
                <c:pt idx="63" formatCode="##0.00##">
                  <c:v>489.67990000000003</c:v>
                </c:pt>
                <c:pt idx="64" formatCode="##0.00##">
                  <c:v>487.50000000000006</c:v>
                </c:pt>
                <c:pt idx="65" formatCode="##0.00##">
                  <c:v>480.85990000000004</c:v>
                </c:pt>
                <c:pt idx="66" formatCode="##0.00##">
                  <c:v>479.50980000000004</c:v>
                </c:pt>
                <c:pt idx="67" formatCode="##0.00##">
                  <c:v>484.29980000000006</c:v>
                </c:pt>
                <c:pt idx="68" formatCode="##0.00##">
                  <c:v>494.62990000000002</c:v>
                </c:pt>
                <c:pt idx="69" formatCode="##0.00##">
                  <c:v>494.61990000000003</c:v>
                </c:pt>
                <c:pt idx="70" formatCode="##0.00##">
                  <c:v>495.01980000000003</c:v>
                </c:pt>
                <c:pt idx="71" formatCode="##0.00##">
                  <c:v>509.05980000000005</c:v>
                </c:pt>
                <c:pt idx="72" formatCode="##0.00##">
                  <c:v>504.50980000000004</c:v>
                </c:pt>
                <c:pt idx="73" formatCode="##0.00##">
                  <c:v>503.20000000000005</c:v>
                </c:pt>
                <c:pt idx="74" formatCode="##0.00##">
                  <c:v>505.47</c:v>
                </c:pt>
                <c:pt idx="75" formatCode="##0.00##">
                  <c:v>510.85180000000003</c:v>
                </c:pt>
                <c:pt idx="76" formatCode="##0.00##">
                  <c:v>512.68990000000008</c:v>
                </c:pt>
                <c:pt idx="77" formatCode="##0.00##">
                  <c:v>526.16190000000006</c:v>
                </c:pt>
                <c:pt idx="78" formatCode="##0.00##">
                  <c:v>528.81690000000003</c:v>
                </c:pt>
                <c:pt idx="79">
                  <c:v>528.78980000000001</c:v>
                </c:pt>
                <c:pt idx="80">
                  <c:v>535.03780000000006</c:v>
                </c:pt>
                <c:pt idx="81">
                  <c:v>510.03980000000001</c:v>
                </c:pt>
                <c:pt idx="82">
                  <c:v>475.56980000000004</c:v>
                </c:pt>
                <c:pt idx="83">
                  <c:v>472.50980000000004</c:v>
                </c:pt>
                <c:pt idx="84">
                  <c:v>466.75000000000006</c:v>
                </c:pt>
                <c:pt idx="85">
                  <c:v>459.86990000000003</c:v>
                </c:pt>
                <c:pt idx="86">
                  <c:v>449.54980000000006</c:v>
                </c:pt>
                <c:pt idx="87">
                  <c:v>444.74</c:v>
                </c:pt>
                <c:pt idx="88">
                  <c:v>440.72</c:v>
                </c:pt>
                <c:pt idx="89">
                  <c:v>442.10990000000004</c:v>
                </c:pt>
                <c:pt idx="90">
                  <c:v>442.16990000000004</c:v>
                </c:pt>
                <c:pt idx="91">
                  <c:v>448.39990000000006</c:v>
                </c:pt>
                <c:pt idx="92">
                  <c:v>462.79980000000006</c:v>
                </c:pt>
                <c:pt idx="93">
                  <c:v>453.89990000000006</c:v>
                </c:pt>
                <c:pt idx="94">
                  <c:v>462.61990000000003</c:v>
                </c:pt>
                <c:pt idx="95">
                  <c:v>480.59990000000005</c:v>
                </c:pt>
                <c:pt idx="96">
                  <c:v>489.50000000000006</c:v>
                </c:pt>
                <c:pt idx="97">
                  <c:v>498.39990000000006</c:v>
                </c:pt>
                <c:pt idx="98">
                  <c:v>509.97</c:v>
                </c:pt>
                <c:pt idx="99">
                  <c:v>512.63990000000001</c:v>
                </c:pt>
                <c:pt idx="100">
                  <c:v>516.96</c:v>
                </c:pt>
                <c:pt idx="101">
                  <c:v>505.51980000000003</c:v>
                </c:pt>
                <c:pt idx="102">
                  <c:v>518.86990000000003</c:v>
                </c:pt>
                <c:pt idx="103">
                  <c:v>529.69970000000001</c:v>
                </c:pt>
                <c:pt idx="104">
                  <c:v>527.77980000000002</c:v>
                </c:pt>
                <c:pt idx="105">
                  <c:v>527.77980000000002</c:v>
                </c:pt>
                <c:pt idx="106">
                  <c:v>522.43970000000002</c:v>
                </c:pt>
                <c:pt idx="107">
                  <c:v>534.89970000000005</c:v>
                </c:pt>
                <c:pt idx="108">
                  <c:v>543.78980000000001</c:v>
                </c:pt>
                <c:pt idx="109">
                  <c:v>552.68990000000008</c:v>
                </c:pt>
                <c:pt idx="110">
                  <c:v>552.68990000000008</c:v>
                </c:pt>
                <c:pt idx="111">
                  <c:v>552.68990000000008</c:v>
                </c:pt>
                <c:pt idx="112">
                  <c:v>544.65989999999999</c:v>
                </c:pt>
                <c:pt idx="113">
                  <c:v>520.58980000000008</c:v>
                </c:pt>
                <c:pt idx="114">
                  <c:v>526.8999</c:v>
                </c:pt>
                <c:pt idx="115">
                  <c:v>519.98</c:v>
                </c:pt>
                <c:pt idx="116">
                  <c:v>518.1699000000001</c:v>
                </c:pt>
                <c:pt idx="117">
                  <c:v>506.51980000000003</c:v>
                </c:pt>
                <c:pt idx="118">
                  <c:v>506.09990000000005</c:v>
                </c:pt>
                <c:pt idx="119">
                  <c:v>502.87990000000002</c:v>
                </c:pt>
                <c:pt idx="120">
                  <c:v>498.61990000000003</c:v>
                </c:pt>
                <c:pt idx="121">
                  <c:v>476.31980000000004</c:v>
                </c:pt>
                <c:pt idx="122">
                  <c:v>474.76980000000003</c:v>
                </c:pt>
                <c:pt idx="123">
                  <c:v>469.49000000000007</c:v>
                </c:pt>
                <c:pt idx="124">
                  <c:v>465.85690000000005</c:v>
                </c:pt>
                <c:pt idx="125">
                  <c:v>473.84990000000005</c:v>
                </c:pt>
                <c:pt idx="126">
                  <c:v>469.39990000000006</c:v>
                </c:pt>
                <c:pt idx="127">
                  <c:v>462.63990000000001</c:v>
                </c:pt>
                <c:pt idx="128">
                  <c:v>465.72</c:v>
                </c:pt>
                <c:pt idx="129">
                  <c:v>453.25980000000004</c:v>
                </c:pt>
                <c:pt idx="130">
                  <c:v>447.83980000000003</c:v>
                </c:pt>
                <c:pt idx="131">
                  <c:v>441.17990000000003</c:v>
                </c:pt>
                <c:pt idx="132">
                  <c:v>441.25980000000004</c:v>
                </c:pt>
                <c:pt idx="133">
                  <c:v>448.81980000000004</c:v>
                </c:pt>
                <c:pt idx="134">
                  <c:v>453.18990000000002</c:v>
                </c:pt>
                <c:pt idx="135">
                  <c:v>459.77980000000002</c:v>
                </c:pt>
                <c:pt idx="136">
                  <c:v>453.60990000000004</c:v>
                </c:pt>
                <c:pt idx="137">
                  <c:v>453.06980000000004</c:v>
                </c:pt>
                <c:pt idx="138">
                  <c:v>454.77980000000002</c:v>
                </c:pt>
                <c:pt idx="139">
                  <c:v>449.87990000000002</c:v>
                </c:pt>
                <c:pt idx="140">
                  <c:v>439.62990000000002</c:v>
                </c:pt>
                <c:pt idx="141">
                  <c:v>435.16990000000004</c:v>
                </c:pt>
                <c:pt idx="142">
                  <c:v>427.57980000000003</c:v>
                </c:pt>
                <c:pt idx="143">
                  <c:v>428.51980000000003</c:v>
                </c:pt>
                <c:pt idx="144">
                  <c:v>431.26980000000003</c:v>
                </c:pt>
                <c:pt idx="145">
                  <c:v>449.21000000000004</c:v>
                </c:pt>
                <c:pt idx="146">
                  <c:v>450.59990000000005</c:v>
                </c:pt>
                <c:pt idx="147">
                  <c:v>452.45000000000005</c:v>
                </c:pt>
                <c:pt idx="148">
                  <c:v>440.25980000000004</c:v>
                </c:pt>
                <c:pt idx="149">
                  <c:v>432.75000000000006</c:v>
                </c:pt>
                <c:pt idx="150" formatCode="##0.00##">
                  <c:v>420.17990000000003</c:v>
                </c:pt>
                <c:pt idx="151" formatCode="##0.00##">
                  <c:v>417.76980000000003</c:v>
                </c:pt>
                <c:pt idx="152" formatCode="##0.00##">
                  <c:v>415.59990000000005</c:v>
                </c:pt>
                <c:pt idx="153" formatCode="##0.00##">
                  <c:v>422.73</c:v>
                </c:pt>
                <c:pt idx="154" formatCode="##0.00##">
                  <c:v>396.72</c:v>
                </c:pt>
                <c:pt idx="155" formatCode="##0.00##">
                  <c:v>388.21000000000004</c:v>
                </c:pt>
                <c:pt idx="156" formatCode="##0.00##">
                  <c:v>390.02980000000002</c:v>
                </c:pt>
                <c:pt idx="157" formatCode="##0.00##">
                  <c:v>395.83980000000003</c:v>
                </c:pt>
                <c:pt idx="158" formatCode="##0.00##">
                  <c:v>392.30980000000005</c:v>
                </c:pt>
                <c:pt idx="159" formatCode="##0.00##">
                  <c:v>397.64990000000006</c:v>
                </c:pt>
                <c:pt idx="160" formatCode="##0.00##">
                  <c:v>396.85990000000004</c:v>
                </c:pt>
                <c:pt idx="161" formatCode="##0.00##">
                  <c:v>395.13990000000001</c:v>
                </c:pt>
                <c:pt idx="162" formatCode="##0.00##">
                  <c:v>396.00000000000006</c:v>
                </c:pt>
                <c:pt idx="163" formatCode="##0.00##">
                  <c:v>393.52980000000002</c:v>
                </c:pt>
                <c:pt idx="164" formatCode="##0.00##">
                  <c:v>392.12180000000001</c:v>
                </c:pt>
                <c:pt idx="165" formatCode="##0.00##">
                  <c:v>387.72</c:v>
                </c:pt>
                <c:pt idx="166" formatCode="##0.00##">
                  <c:v>380.67990000000003</c:v>
                </c:pt>
                <c:pt idx="167" formatCode="##0.00##">
                  <c:v>411.00980000000004</c:v>
                </c:pt>
                <c:pt idx="168" formatCode="##0.00##">
                  <c:v>388.43990000000002</c:v>
                </c:pt>
                <c:pt idx="169" formatCode="##0.00##">
                  <c:v>412.06980000000004</c:v>
                </c:pt>
                <c:pt idx="170" formatCode="##0.00##">
                  <c:v>412.11990000000003</c:v>
                </c:pt>
                <c:pt idx="171" formatCode="##0.00##">
                  <c:v>388.56980000000004</c:v>
                </c:pt>
                <c:pt idx="172" formatCode="##0.00##">
                  <c:v>385.49</c:v>
                </c:pt>
                <c:pt idx="173" formatCode="##0.00##">
                  <c:v>408.85990000000004</c:v>
                </c:pt>
                <c:pt idx="174" formatCode="##0.00##">
                  <c:v>408.02980000000002</c:v>
                </c:pt>
                <c:pt idx="175" formatCode="##0.00##">
                  <c:v>384.70000000000005</c:v>
                </c:pt>
                <c:pt idx="176" formatCode="##0.00##">
                  <c:v>402.12990000000002</c:v>
                </c:pt>
                <c:pt idx="177">
                  <c:v>393.84990000000005</c:v>
                </c:pt>
                <c:pt idx="178">
                  <c:v>360.87990000000002</c:v>
                </c:pt>
                <c:pt idx="179">
                  <c:v>359.8999</c:v>
                </c:pt>
                <c:pt idx="180">
                  <c:v>351.91990000000004</c:v>
                </c:pt>
                <c:pt idx="181">
                  <c:v>349.77980000000002</c:v>
                </c:pt>
                <c:pt idx="182">
                  <c:v>346.5498</c:v>
                </c:pt>
                <c:pt idx="183">
                  <c:v>349.67990000000003</c:v>
                </c:pt>
                <c:pt idx="184">
                  <c:v>351.65990000000005</c:v>
                </c:pt>
                <c:pt idx="185">
                  <c:v>351.77980000000002</c:v>
                </c:pt>
                <c:pt idx="186">
                  <c:v>354.32890000000003</c:v>
                </c:pt>
                <c:pt idx="187">
                  <c:v>354.32890000000003</c:v>
                </c:pt>
                <c:pt idx="188">
                  <c:v>356.33980000000003</c:v>
                </c:pt>
                <c:pt idx="189">
                  <c:v>356.40990000000005</c:v>
                </c:pt>
                <c:pt idx="190">
                  <c:v>344.84990000000005</c:v>
                </c:pt>
                <c:pt idx="191">
                  <c:v>365.11990000000003</c:v>
                </c:pt>
                <c:pt idx="192">
                  <c:v>348.48</c:v>
                </c:pt>
                <c:pt idx="193">
                  <c:v>364.75000000000006</c:v>
                </c:pt>
                <c:pt idx="194">
                  <c:v>341.72390000000001</c:v>
                </c:pt>
                <c:pt idx="195">
                  <c:v>358.82400000000001</c:v>
                </c:pt>
                <c:pt idx="196">
                  <c:v>337.04200000000003</c:v>
                </c:pt>
                <c:pt idx="197">
                  <c:v>332.76590000000004</c:v>
                </c:pt>
                <c:pt idx="198">
                  <c:v>351.85690000000005</c:v>
                </c:pt>
                <c:pt idx="199">
                  <c:v>330.67900000000003</c:v>
                </c:pt>
                <c:pt idx="200">
                  <c:v>315.01100000000002</c:v>
                </c:pt>
                <c:pt idx="201">
                  <c:v>315.0129</c:v>
                </c:pt>
                <c:pt idx="202">
                  <c:v>299.34280000000001</c:v>
                </c:pt>
                <c:pt idx="203">
                  <c:v>286.65990000000005</c:v>
                </c:pt>
                <c:pt idx="204">
                  <c:v>273.16480000000001</c:v>
                </c:pt>
                <c:pt idx="205">
                  <c:v>243.10300000000001</c:v>
                </c:pt>
                <c:pt idx="206">
                  <c:v>222.94000000000003</c:v>
                </c:pt>
                <c:pt idx="207">
                  <c:v>220.68800000000002</c:v>
                </c:pt>
                <c:pt idx="208">
                  <c:v>225.25000000000003</c:v>
                </c:pt>
                <c:pt idx="209">
                  <c:v>228.88000000000002</c:v>
                </c:pt>
                <c:pt idx="210">
                  <c:v>234.43</c:v>
                </c:pt>
                <c:pt idx="211">
                  <c:v>247.98000000000002</c:v>
                </c:pt>
                <c:pt idx="212">
                  <c:v>248.02</c:v>
                </c:pt>
                <c:pt idx="213">
                  <c:v>234.56000000000003</c:v>
                </c:pt>
                <c:pt idx="214">
                  <c:v>236.78000000000003</c:v>
                </c:pt>
                <c:pt idx="215">
                  <c:v>250.46</c:v>
                </c:pt>
                <c:pt idx="216">
                  <c:v>251.86</c:v>
                </c:pt>
                <c:pt idx="217">
                  <c:v>250.62200000000001</c:v>
                </c:pt>
                <c:pt idx="218">
                  <c:v>250.60000000000002</c:v>
                </c:pt>
                <c:pt idx="219">
                  <c:v>243.88000000000002</c:v>
                </c:pt>
                <c:pt idx="220">
                  <c:v>251.17100000000002</c:v>
                </c:pt>
                <c:pt idx="221">
                  <c:v>255.25500000000002</c:v>
                </c:pt>
                <c:pt idx="222">
                  <c:v>259.72000000000003</c:v>
                </c:pt>
                <c:pt idx="223">
                  <c:v>258.8098</c:v>
                </c:pt>
                <c:pt idx="224">
                  <c:v>266.63990000000001</c:v>
                </c:pt>
                <c:pt idx="225">
                  <c:v>266.71000000000004</c:v>
                </c:pt>
                <c:pt idx="226">
                  <c:v>266.73</c:v>
                </c:pt>
                <c:pt idx="227">
                  <c:v>266.78980000000001</c:v>
                </c:pt>
                <c:pt idx="228">
                  <c:v>275.8569</c:v>
                </c:pt>
                <c:pt idx="229">
                  <c:v>283.07980000000003</c:v>
                </c:pt>
                <c:pt idx="230">
                  <c:v>284.52980000000002</c:v>
                </c:pt>
                <c:pt idx="231">
                  <c:v>282.30080000000004</c:v>
                </c:pt>
                <c:pt idx="232">
                  <c:v>273.74</c:v>
                </c:pt>
                <c:pt idx="233">
                  <c:v>273.78200000000004</c:v>
                </c:pt>
                <c:pt idx="234">
                  <c:v>272.90890000000002</c:v>
                </c:pt>
                <c:pt idx="235">
                  <c:v>272.52980000000002</c:v>
                </c:pt>
                <c:pt idx="236">
                  <c:v>267.11990000000003</c:v>
                </c:pt>
                <c:pt idx="237">
                  <c:v>267.17290000000003</c:v>
                </c:pt>
                <c:pt idx="238">
                  <c:v>261.79689999999999</c:v>
                </c:pt>
                <c:pt idx="239">
                  <c:v>262.72000000000003</c:v>
                </c:pt>
                <c:pt idx="240">
                  <c:v>259.15380000000005</c:v>
                </c:pt>
                <c:pt idx="241">
                  <c:v>260.09590000000003</c:v>
                </c:pt>
                <c:pt idx="242">
                  <c:v>260.5598</c:v>
                </c:pt>
                <c:pt idx="243">
                  <c:v>262.85990000000004</c:v>
                </c:pt>
                <c:pt idx="244">
                  <c:v>265.13380000000001</c:v>
                </c:pt>
                <c:pt idx="245">
                  <c:v>265.20780000000002</c:v>
                </c:pt>
                <c:pt idx="246">
                  <c:v>265.24880000000002</c:v>
                </c:pt>
                <c:pt idx="247">
                  <c:v>265.30080000000004</c:v>
                </c:pt>
                <c:pt idx="248">
                  <c:v>263.04390000000001</c:v>
                </c:pt>
                <c:pt idx="249">
                  <c:v>260.81080000000003</c:v>
                </c:pt>
                <c:pt idx="250">
                  <c:v>260.81080000000003</c:v>
                </c:pt>
                <c:pt idx="251">
                  <c:v>260.81080000000003</c:v>
                </c:pt>
                <c:pt idx="252">
                  <c:v>254.21</c:v>
                </c:pt>
                <c:pt idx="253">
                  <c:v>251.61100000000002</c:v>
                </c:pt>
                <c:pt idx="254">
                  <c:v>246.19000000000003</c:v>
                </c:pt>
                <c:pt idx="255">
                  <c:v>246.27500000000003</c:v>
                </c:pt>
                <c:pt idx="256">
                  <c:v>246.27</c:v>
                </c:pt>
                <c:pt idx="257">
                  <c:v>246.30400000000003</c:v>
                </c:pt>
                <c:pt idx="258">
                  <c:v>246.35000000000002</c:v>
                </c:pt>
                <c:pt idx="259">
                  <c:v>246.39000000000001</c:v>
                </c:pt>
                <c:pt idx="260">
                  <c:v>246.50600000000003</c:v>
                </c:pt>
                <c:pt idx="261">
                  <c:v>246.52</c:v>
                </c:pt>
                <c:pt idx="262">
                  <c:v>242.51300000000003</c:v>
                </c:pt>
                <c:pt idx="263">
                  <c:v>236.21800000000002</c:v>
                </c:pt>
                <c:pt idx="264">
                  <c:v>233.97900000000001</c:v>
                </c:pt>
                <c:pt idx="265">
                  <c:v>235.41000000000003</c:v>
                </c:pt>
                <c:pt idx="266">
                  <c:v>237.24700000000001</c:v>
                </c:pt>
                <c:pt idx="267">
                  <c:v>237.28800000000001</c:v>
                </c:pt>
                <c:pt idx="268">
                  <c:v>236.42300000000003</c:v>
                </c:pt>
                <c:pt idx="269">
                  <c:v>236.42300000000003</c:v>
                </c:pt>
                <c:pt idx="270">
                  <c:v>247.93</c:v>
                </c:pt>
                <c:pt idx="271">
                  <c:v>252.88000000000002</c:v>
                </c:pt>
                <c:pt idx="272">
                  <c:v>252.88000000000002</c:v>
                </c:pt>
                <c:pt idx="273">
                  <c:v>251.66000000000003</c:v>
                </c:pt>
                <c:pt idx="274">
                  <c:v>249.42000000000002</c:v>
                </c:pt>
                <c:pt idx="275">
                  <c:v>249.49800000000002</c:v>
                </c:pt>
                <c:pt idx="276">
                  <c:v>249.52</c:v>
                </c:pt>
                <c:pt idx="277">
                  <c:v>249.08</c:v>
                </c:pt>
                <c:pt idx="278">
                  <c:v>249.12000000000003</c:v>
                </c:pt>
                <c:pt idx="279">
                  <c:v>249.14000000000001</c:v>
                </c:pt>
                <c:pt idx="280">
                  <c:v>249.22300000000001</c:v>
                </c:pt>
                <c:pt idx="281">
                  <c:v>252.82900000000001</c:v>
                </c:pt>
                <c:pt idx="282">
                  <c:v>266.45000000000005</c:v>
                </c:pt>
                <c:pt idx="283">
                  <c:v>264.17900000000003</c:v>
                </c:pt>
                <c:pt idx="284">
                  <c:v>266.48880000000003</c:v>
                </c:pt>
                <c:pt idx="285">
                  <c:v>273.36380000000003</c:v>
                </c:pt>
                <c:pt idx="286">
                  <c:v>272.92900000000003</c:v>
                </c:pt>
                <c:pt idx="287">
                  <c:v>272.9348</c:v>
                </c:pt>
                <c:pt idx="288">
                  <c:v>270.74</c:v>
                </c:pt>
                <c:pt idx="289">
                  <c:v>268.91990000000004</c:v>
                </c:pt>
                <c:pt idx="290">
                  <c:v>268.91990000000004</c:v>
                </c:pt>
                <c:pt idx="291">
                  <c:v>263.6189</c:v>
                </c:pt>
                <c:pt idx="292">
                  <c:v>261.86600000000004</c:v>
                </c:pt>
                <c:pt idx="293">
                  <c:v>261.87890000000004</c:v>
                </c:pt>
                <c:pt idx="294">
                  <c:v>260.11690000000004</c:v>
                </c:pt>
                <c:pt idx="295">
                  <c:v>260.20090000000005</c:v>
                </c:pt>
                <c:pt idx="296">
                  <c:v>260.23</c:v>
                </c:pt>
                <c:pt idx="297">
                  <c:v>261.16090000000003</c:v>
                </c:pt>
                <c:pt idx="298">
                  <c:v>271.13280000000003</c:v>
                </c:pt>
                <c:pt idx="299">
                  <c:v>280.21680000000003</c:v>
                </c:pt>
                <c:pt idx="300">
                  <c:v>280.29790000000003</c:v>
                </c:pt>
                <c:pt idx="301">
                  <c:v>286.1968</c:v>
                </c:pt>
                <c:pt idx="302">
                  <c:v>287.07890000000003</c:v>
                </c:pt>
                <c:pt idx="303">
                  <c:v>286.25390000000004</c:v>
                </c:pt>
                <c:pt idx="304">
                  <c:v>288.53490000000005</c:v>
                </c:pt>
                <c:pt idx="305">
                  <c:v>288.61990000000003</c:v>
                </c:pt>
                <c:pt idx="306">
                  <c:v>284.15890000000002</c:v>
                </c:pt>
                <c:pt idx="307">
                  <c:v>281.94190000000003</c:v>
                </c:pt>
                <c:pt idx="308">
                  <c:v>281.95390000000003</c:v>
                </c:pt>
                <c:pt idx="309">
                  <c:v>281.04390000000001</c:v>
                </c:pt>
                <c:pt idx="310">
                  <c:v>289.71190000000001</c:v>
                </c:pt>
                <c:pt idx="311">
                  <c:v>305.99680000000001</c:v>
                </c:pt>
                <c:pt idx="312">
                  <c:v>306.053</c:v>
                </c:pt>
                <c:pt idx="313">
                  <c:v>306.1438</c:v>
                </c:pt>
                <c:pt idx="314">
                  <c:v>307.49880000000002</c:v>
                </c:pt>
                <c:pt idx="315">
                  <c:v>309.78390000000002</c:v>
                </c:pt>
                <c:pt idx="316">
                  <c:v>312.99100000000004</c:v>
                </c:pt>
                <c:pt idx="317">
                  <c:v>310.35690000000005</c:v>
                </c:pt>
                <c:pt idx="318">
                  <c:v>312.60500000000002</c:v>
                </c:pt>
                <c:pt idx="319">
                  <c:v>339.78390000000002</c:v>
                </c:pt>
                <c:pt idx="320">
                  <c:v>337.64700000000005</c:v>
                </c:pt>
                <c:pt idx="321">
                  <c:v>337.68290000000002</c:v>
                </c:pt>
                <c:pt idx="322">
                  <c:v>345.35180000000003</c:v>
                </c:pt>
                <c:pt idx="323">
                  <c:v>353.09180000000003</c:v>
                </c:pt>
                <c:pt idx="324">
                  <c:v>353.54690000000005</c:v>
                </c:pt>
                <c:pt idx="325">
                  <c:v>353.65580000000006</c:v>
                </c:pt>
                <c:pt idx="326">
                  <c:v>340.15800000000002</c:v>
                </c:pt>
                <c:pt idx="327">
                  <c:v>334.31790000000001</c:v>
                </c:pt>
                <c:pt idx="328">
                  <c:v>332.12790000000001</c:v>
                </c:pt>
                <c:pt idx="329">
                  <c:v>316.13380000000001</c:v>
                </c:pt>
                <c:pt idx="330">
                  <c:v>300.00100000000003</c:v>
                </c:pt>
                <c:pt idx="331">
                  <c:v>300.00100000000003</c:v>
                </c:pt>
                <c:pt idx="332">
                  <c:v>286.4409</c:v>
                </c:pt>
                <c:pt idx="333">
                  <c:v>279.72290000000004</c:v>
                </c:pt>
                <c:pt idx="334">
                  <c:v>278.80590000000001</c:v>
                </c:pt>
                <c:pt idx="335">
                  <c:v>282.08180000000004</c:v>
                </c:pt>
                <c:pt idx="336">
                  <c:v>284.3809</c:v>
                </c:pt>
                <c:pt idx="337">
                  <c:v>284.38990000000001</c:v>
                </c:pt>
                <c:pt idx="338">
                  <c:v>298.10790000000003</c:v>
                </c:pt>
                <c:pt idx="339">
                  <c:v>300.8818</c:v>
                </c:pt>
                <c:pt idx="340">
                  <c:v>300.93680000000001</c:v>
                </c:pt>
                <c:pt idx="341">
                  <c:v>282.37380000000002</c:v>
                </c:pt>
                <c:pt idx="342">
                  <c:v>280.1909</c:v>
                </c:pt>
                <c:pt idx="343">
                  <c:v>277.9819</c:v>
                </c:pt>
                <c:pt idx="344">
                  <c:v>277.98880000000003</c:v>
                </c:pt>
                <c:pt idx="345">
                  <c:v>273.54690000000005</c:v>
                </c:pt>
                <c:pt idx="346">
                  <c:v>270.40280000000001</c:v>
                </c:pt>
                <c:pt idx="347">
                  <c:v>270.42380000000003</c:v>
                </c:pt>
                <c:pt idx="348">
                  <c:v>266.86600000000004</c:v>
                </c:pt>
                <c:pt idx="349">
                  <c:v>257.81980000000004</c:v>
                </c:pt>
                <c:pt idx="350">
                  <c:v>257.86990000000003</c:v>
                </c:pt>
                <c:pt idx="351">
                  <c:v>257.86990000000003</c:v>
                </c:pt>
                <c:pt idx="352">
                  <c:v>251.13400000000001</c:v>
                </c:pt>
                <c:pt idx="353">
                  <c:v>247.53100000000003</c:v>
                </c:pt>
                <c:pt idx="354">
                  <c:v>245.35100000000003</c:v>
                </c:pt>
                <c:pt idx="355">
                  <c:v>250.89100000000002</c:v>
                </c:pt>
                <c:pt idx="356">
                  <c:v>253.14600000000002</c:v>
                </c:pt>
                <c:pt idx="357">
                  <c:v>254.54600000000002</c:v>
                </c:pt>
                <c:pt idx="358">
                  <c:v>253.22100000000003</c:v>
                </c:pt>
                <c:pt idx="359">
                  <c:v>250.52700000000002</c:v>
                </c:pt>
                <c:pt idx="360">
                  <c:v>250.59800000000001</c:v>
                </c:pt>
                <c:pt idx="361">
                  <c:v>247.01900000000003</c:v>
                </c:pt>
                <c:pt idx="362">
                  <c:v>247.05400000000003</c:v>
                </c:pt>
                <c:pt idx="363">
                  <c:v>254.40400000000002</c:v>
                </c:pt>
                <c:pt idx="364">
                  <c:v>258.95580000000001</c:v>
                </c:pt>
                <c:pt idx="365">
                  <c:v>258.93190000000004</c:v>
                </c:pt>
                <c:pt idx="366">
                  <c:v>252.22000000000003</c:v>
                </c:pt>
                <c:pt idx="367">
                  <c:v>252.15700000000001</c:v>
                </c:pt>
                <c:pt idx="368">
                  <c:v>258.9409</c:v>
                </c:pt>
                <c:pt idx="369">
                  <c:v>261.23490000000004</c:v>
                </c:pt>
                <c:pt idx="370">
                  <c:v>265.73490000000004</c:v>
                </c:pt>
                <c:pt idx="371">
                  <c:v>263.48099999999999</c:v>
                </c:pt>
                <c:pt idx="372">
                  <c:v>264.35599999999999</c:v>
                </c:pt>
                <c:pt idx="373">
                  <c:v>272.49290000000002</c:v>
                </c:pt>
                <c:pt idx="374">
                  <c:v>280.63480000000004</c:v>
                </c:pt>
                <c:pt idx="375">
                  <c:v>281.07890000000003</c:v>
                </c:pt>
                <c:pt idx="376">
                  <c:v>298.36790000000002</c:v>
                </c:pt>
                <c:pt idx="377">
                  <c:v>286.09990000000005</c:v>
                </c:pt>
                <c:pt idx="378">
                  <c:v>270.17990000000003</c:v>
                </c:pt>
                <c:pt idx="379">
                  <c:v>261.22000000000003</c:v>
                </c:pt>
                <c:pt idx="380">
                  <c:v>259</c:v>
                </c:pt>
                <c:pt idx="381">
                  <c:v>272.59990000000005</c:v>
                </c:pt>
                <c:pt idx="382">
                  <c:v>281.60990000000004</c:v>
                </c:pt>
                <c:pt idx="383">
                  <c:v>310.78980000000001</c:v>
                </c:pt>
                <c:pt idx="384">
                  <c:v>317.45000000000005</c:v>
                </c:pt>
                <c:pt idx="385">
                  <c:v>317.45000000000005</c:v>
                </c:pt>
                <c:pt idx="386">
                  <c:v>312.73</c:v>
                </c:pt>
                <c:pt idx="387">
                  <c:v>299.35990000000004</c:v>
                </c:pt>
                <c:pt idx="388">
                  <c:v>292.61990000000003</c:v>
                </c:pt>
                <c:pt idx="389">
                  <c:v>292.61990000000003</c:v>
                </c:pt>
                <c:pt idx="390">
                  <c:v>288.21000000000004</c:v>
                </c:pt>
                <c:pt idx="391">
                  <c:v>283.76980000000003</c:v>
                </c:pt>
                <c:pt idx="392">
                  <c:v>283.56980000000004</c:v>
                </c:pt>
                <c:pt idx="393">
                  <c:v>283.77980000000002</c:v>
                </c:pt>
                <c:pt idx="394">
                  <c:v>283.63990000000001</c:v>
                </c:pt>
                <c:pt idx="395">
                  <c:v>283.63990000000001</c:v>
                </c:pt>
                <c:pt idx="396">
                  <c:v>279.10990000000004</c:v>
                </c:pt>
                <c:pt idx="397">
                  <c:v>279.10990000000004</c:v>
                </c:pt>
                <c:pt idx="398">
                  <c:v>279.12990000000002</c:v>
                </c:pt>
                <c:pt idx="399">
                  <c:v>272.31980000000004</c:v>
                </c:pt>
                <c:pt idx="400">
                  <c:v>270.08980000000003</c:v>
                </c:pt>
                <c:pt idx="401">
                  <c:v>265.51980000000003</c:v>
                </c:pt>
                <c:pt idx="402">
                  <c:v>267.78980000000001</c:v>
                </c:pt>
                <c:pt idx="403">
                  <c:v>266.92990000000003</c:v>
                </c:pt>
                <c:pt idx="404">
                  <c:v>267.78980000000001</c:v>
                </c:pt>
                <c:pt idx="405">
                  <c:v>268.27980000000002</c:v>
                </c:pt>
                <c:pt idx="406">
                  <c:v>270.12990000000002</c:v>
                </c:pt>
                <c:pt idx="407">
                  <c:v>279.17990000000003</c:v>
                </c:pt>
                <c:pt idx="408">
                  <c:v>286.84990000000005</c:v>
                </c:pt>
                <c:pt idx="409">
                  <c:v>287.3098</c:v>
                </c:pt>
                <c:pt idx="410">
                  <c:v>287.27980000000002</c:v>
                </c:pt>
                <c:pt idx="411">
                  <c:v>287.27980000000002</c:v>
                </c:pt>
                <c:pt idx="412">
                  <c:v>289.58980000000003</c:v>
                </c:pt>
                <c:pt idx="413">
                  <c:v>287.32980000000003</c:v>
                </c:pt>
                <c:pt idx="414">
                  <c:v>287.32980000000003</c:v>
                </c:pt>
                <c:pt idx="415">
                  <c:v>287.31980000000004</c:v>
                </c:pt>
                <c:pt idx="416">
                  <c:v>287.31980000000004</c:v>
                </c:pt>
                <c:pt idx="417">
                  <c:v>291.34990000000005</c:v>
                </c:pt>
                <c:pt idx="418">
                  <c:v>291.34990000000005</c:v>
                </c:pt>
                <c:pt idx="419">
                  <c:v>291.3999</c:v>
                </c:pt>
                <c:pt idx="420">
                  <c:v>291.38990000000001</c:v>
                </c:pt>
                <c:pt idx="421">
                  <c:v>290.92990000000003</c:v>
                </c:pt>
                <c:pt idx="422">
                  <c:v>290.93990000000002</c:v>
                </c:pt>
                <c:pt idx="423">
                  <c:v>293.65990000000005</c:v>
                </c:pt>
                <c:pt idx="424">
                  <c:v>293.65990000000005</c:v>
                </c:pt>
                <c:pt idx="425">
                  <c:v>298.16990000000004</c:v>
                </c:pt>
                <c:pt idx="426">
                  <c:v>298.16990000000004</c:v>
                </c:pt>
                <c:pt idx="427">
                  <c:v>298.16990000000004</c:v>
                </c:pt>
                <c:pt idx="428">
                  <c:v>299.50980000000004</c:v>
                </c:pt>
                <c:pt idx="429">
                  <c:v>297.18990000000002</c:v>
                </c:pt>
                <c:pt idx="430">
                  <c:v>297.26980000000003</c:v>
                </c:pt>
                <c:pt idx="431">
                  <c:v>299.0498</c:v>
                </c:pt>
                <c:pt idx="432">
                  <c:v>299.50980000000004</c:v>
                </c:pt>
                <c:pt idx="433">
                  <c:v>298.26980000000003</c:v>
                </c:pt>
                <c:pt idx="434">
                  <c:v>298.17990000000003</c:v>
                </c:pt>
                <c:pt idx="435">
                  <c:v>296.80980000000005</c:v>
                </c:pt>
                <c:pt idx="436">
                  <c:v>295.8999</c:v>
                </c:pt>
                <c:pt idx="437">
                  <c:v>295.97000000000003</c:v>
                </c:pt>
                <c:pt idx="438">
                  <c:v>290.62990000000002</c:v>
                </c:pt>
                <c:pt idx="439">
                  <c:v>287.45000000000005</c:v>
                </c:pt>
                <c:pt idx="440">
                  <c:v>280.5498</c:v>
                </c:pt>
                <c:pt idx="441">
                  <c:v>277.0498</c:v>
                </c:pt>
                <c:pt idx="442">
                  <c:v>270.16990000000004</c:v>
                </c:pt>
                <c:pt idx="443">
                  <c:v>262.51980000000003</c:v>
                </c:pt>
                <c:pt idx="444" formatCode="0.00">
                  <c:v>260.25</c:v>
                </c:pt>
                <c:pt idx="445" formatCode="0.00">
                  <c:v>255.14000000000001</c:v>
                </c:pt>
                <c:pt idx="446" formatCode="0.00">
                  <c:v>252.86</c:v>
                </c:pt>
                <c:pt idx="447" formatCode="0.00">
                  <c:v>254.37000000000003</c:v>
                </c:pt>
                <c:pt idx="448" formatCode="0.00">
                  <c:v>254.37000000000003</c:v>
                </c:pt>
                <c:pt idx="449" formatCode="0.00">
                  <c:v>248.8</c:v>
                </c:pt>
                <c:pt idx="450">
                  <c:v>249.69000000000003</c:v>
                </c:pt>
                <c:pt idx="451">
                  <c:v>255.56000000000003</c:v>
                </c:pt>
                <c:pt idx="452">
                  <c:v>254.19000000000003</c:v>
                </c:pt>
                <c:pt idx="453">
                  <c:v>254.20000000000002</c:v>
                </c:pt>
                <c:pt idx="454">
                  <c:v>255.56000000000003</c:v>
                </c:pt>
                <c:pt idx="455">
                  <c:v>253.28000000000003</c:v>
                </c:pt>
                <c:pt idx="456">
                  <c:v>251.99</c:v>
                </c:pt>
                <c:pt idx="457">
                  <c:v>251.99</c:v>
                </c:pt>
                <c:pt idx="458">
                  <c:v>251.94000000000003</c:v>
                </c:pt>
                <c:pt idx="459">
                  <c:v>251.94000000000003</c:v>
                </c:pt>
                <c:pt idx="460">
                  <c:v>251.92000000000002</c:v>
                </c:pt>
                <c:pt idx="461">
                  <c:v>249.69000000000003</c:v>
                </c:pt>
                <c:pt idx="462">
                  <c:v>247.35000000000002</c:v>
                </c:pt>
                <c:pt idx="463">
                  <c:v>244.29000000000002</c:v>
                </c:pt>
                <c:pt idx="464">
                  <c:v>240.65</c:v>
                </c:pt>
                <c:pt idx="465">
                  <c:v>240.65</c:v>
                </c:pt>
                <c:pt idx="466">
                  <c:v>237.07000000000002</c:v>
                </c:pt>
                <c:pt idx="467">
                  <c:v>233.89000000000001</c:v>
                </c:pt>
                <c:pt idx="468">
                  <c:v>234.74</c:v>
                </c:pt>
                <c:pt idx="469">
                  <c:v>232.96</c:v>
                </c:pt>
                <c:pt idx="470">
                  <c:v>232.96</c:v>
                </c:pt>
                <c:pt idx="471">
                  <c:v>232.54000000000002</c:v>
                </c:pt>
                <c:pt idx="472">
                  <c:v>230.28000000000003</c:v>
                </c:pt>
                <c:pt idx="473">
                  <c:v>298.67990000000003</c:v>
                </c:pt>
                <c:pt idx="474">
                  <c:v>236.63000000000002</c:v>
                </c:pt>
                <c:pt idx="475">
                  <c:v>237.54000000000002</c:v>
                </c:pt>
                <c:pt idx="476">
                  <c:v>238.45000000000002</c:v>
                </c:pt>
                <c:pt idx="477">
                  <c:v>239.8</c:v>
                </c:pt>
                <c:pt idx="478">
                  <c:v>238.43</c:v>
                </c:pt>
                <c:pt idx="479">
                  <c:v>240.72000000000003</c:v>
                </c:pt>
                <c:pt idx="480">
                  <c:v>240.72000000000003</c:v>
                </c:pt>
                <c:pt idx="481">
                  <c:v>245.25000000000003</c:v>
                </c:pt>
                <c:pt idx="482">
                  <c:v>245.25000000000003</c:v>
                </c:pt>
                <c:pt idx="483">
                  <c:v>252.00000000000003</c:v>
                </c:pt>
                <c:pt idx="484">
                  <c:v>254.27</c:v>
                </c:pt>
                <c:pt idx="485">
                  <c:v>254.27</c:v>
                </c:pt>
                <c:pt idx="486">
                  <c:v>258.81980000000004</c:v>
                </c:pt>
                <c:pt idx="487">
                  <c:v>256.50980000000004</c:v>
                </c:pt>
                <c:pt idx="488">
                  <c:v>256.50980000000004</c:v>
                </c:pt>
                <c:pt idx="489">
                  <c:v>249.8</c:v>
                </c:pt>
                <c:pt idx="490">
                  <c:v>246.17000000000002</c:v>
                </c:pt>
                <c:pt idx="491">
                  <c:v>245.32000000000002</c:v>
                </c:pt>
                <c:pt idx="492">
                  <c:v>247.91000000000003</c:v>
                </c:pt>
                <c:pt idx="493">
                  <c:v>250.17000000000002</c:v>
                </c:pt>
                <c:pt idx="494">
                  <c:v>251.54000000000002</c:v>
                </c:pt>
                <c:pt idx="495">
                  <c:v>251.55</c:v>
                </c:pt>
                <c:pt idx="496">
                  <c:v>251.55</c:v>
                </c:pt>
                <c:pt idx="497">
                  <c:v>252.01000000000002</c:v>
                </c:pt>
                <c:pt idx="498">
                  <c:v>252.01000000000002</c:v>
                </c:pt>
                <c:pt idx="499">
                  <c:v>252.02</c:v>
                </c:pt>
                <c:pt idx="500">
                  <c:v>255.22000000000003</c:v>
                </c:pt>
                <c:pt idx="501">
                  <c:v>256.57980000000003</c:v>
                </c:pt>
                <c:pt idx="502">
                  <c:v>257</c:v>
                </c:pt>
                <c:pt idx="503">
                  <c:v>257.00980000000004</c:v>
                </c:pt>
                <c:pt idx="504">
                  <c:v>258.36990000000003</c:v>
                </c:pt>
                <c:pt idx="505">
                  <c:v>257.48</c:v>
                </c:pt>
                <c:pt idx="506">
                  <c:v>254.29000000000002</c:v>
                </c:pt>
                <c:pt idx="507">
                  <c:v>247.56000000000003</c:v>
                </c:pt>
                <c:pt idx="508">
                  <c:v>247.57000000000002</c:v>
                </c:pt>
                <c:pt idx="509">
                  <c:v>247.11</c:v>
                </c:pt>
                <c:pt idx="510">
                  <c:v>242.60000000000002</c:v>
                </c:pt>
                <c:pt idx="511">
                  <c:v>233.98000000000002</c:v>
                </c:pt>
                <c:pt idx="512">
                  <c:v>234.01000000000002</c:v>
                </c:pt>
                <c:pt idx="513">
                  <c:v>232.33</c:v>
                </c:pt>
                <c:pt idx="514">
                  <c:v>233.87000000000003</c:v>
                </c:pt>
                <c:pt idx="515">
                  <c:v>233.83</c:v>
                </c:pt>
                <c:pt idx="516">
                  <c:v>233.84000000000003</c:v>
                </c:pt>
                <c:pt idx="517">
                  <c:v>233.84000000000003</c:v>
                </c:pt>
                <c:pt idx="518">
                  <c:v>233.85000000000002</c:v>
                </c:pt>
                <c:pt idx="519">
                  <c:v>233.84000000000003</c:v>
                </c:pt>
                <c:pt idx="520">
                  <c:v>233.86</c:v>
                </c:pt>
                <c:pt idx="521">
                  <c:v>233.85000000000002</c:v>
                </c:pt>
                <c:pt idx="522">
                  <c:v>233.82000000000002</c:v>
                </c:pt>
                <c:pt idx="523">
                  <c:v>233.85000000000002</c:v>
                </c:pt>
                <c:pt idx="524">
                  <c:v>232.95000000000002</c:v>
                </c:pt>
                <c:pt idx="525">
                  <c:v>223.46</c:v>
                </c:pt>
                <c:pt idx="526">
                  <c:v>217.16000000000003</c:v>
                </c:pt>
                <c:pt idx="527">
                  <c:v>216.27</c:v>
                </c:pt>
                <c:pt idx="528">
                  <c:v>216.25000000000003</c:v>
                </c:pt>
                <c:pt idx="529">
                  <c:v>214.91000000000003</c:v>
                </c:pt>
                <c:pt idx="530">
                  <c:v>214.91000000000003</c:v>
                </c:pt>
                <c:pt idx="531">
                  <c:v>212.64000000000001</c:v>
                </c:pt>
                <c:pt idx="532">
                  <c:v>208.16000000000003</c:v>
                </c:pt>
                <c:pt idx="533">
                  <c:v>205.88000000000002</c:v>
                </c:pt>
                <c:pt idx="534">
                  <c:v>208.10000000000002</c:v>
                </c:pt>
                <c:pt idx="535">
                  <c:v>208.13000000000002</c:v>
                </c:pt>
                <c:pt idx="536">
                  <c:v>208.17000000000002</c:v>
                </c:pt>
                <c:pt idx="537">
                  <c:v>209.03000000000003</c:v>
                </c:pt>
                <c:pt idx="538">
                  <c:v>213.51000000000002</c:v>
                </c:pt>
                <c:pt idx="539">
                  <c:v>224.78000000000003</c:v>
                </c:pt>
                <c:pt idx="540">
                  <c:v>225.72000000000003</c:v>
                </c:pt>
                <c:pt idx="541">
                  <c:v>225.70000000000002</c:v>
                </c:pt>
                <c:pt idx="542">
                  <c:v>229.31000000000003</c:v>
                </c:pt>
                <c:pt idx="543">
                  <c:v>239.29000000000002</c:v>
                </c:pt>
                <c:pt idx="544">
                  <c:v>243.73000000000002</c:v>
                </c:pt>
                <c:pt idx="545">
                  <c:v>243.79000000000002</c:v>
                </c:pt>
                <c:pt idx="546">
                  <c:v>243.83</c:v>
                </c:pt>
                <c:pt idx="547">
                  <c:v>241.99</c:v>
                </c:pt>
                <c:pt idx="548">
                  <c:v>240.67000000000002</c:v>
                </c:pt>
                <c:pt idx="549">
                  <c:v>236.14000000000001</c:v>
                </c:pt>
                <c:pt idx="550">
                  <c:v>238.37000000000003</c:v>
                </c:pt>
                <c:pt idx="551">
                  <c:v>236.17000000000002</c:v>
                </c:pt>
                <c:pt idx="552">
                  <c:v>233.87000000000003</c:v>
                </c:pt>
                <c:pt idx="553">
                  <c:v>238.31000000000003</c:v>
                </c:pt>
                <c:pt idx="554">
                  <c:v>236.16000000000003</c:v>
                </c:pt>
                <c:pt idx="555">
                  <c:v>234.8</c:v>
                </c:pt>
                <c:pt idx="556">
                  <c:v>233.85000000000002</c:v>
                </c:pt>
                <c:pt idx="557">
                  <c:v>233.89000000000001</c:v>
                </c:pt>
                <c:pt idx="558">
                  <c:v>236.18</c:v>
                </c:pt>
                <c:pt idx="559">
                  <c:v>236.18</c:v>
                </c:pt>
                <c:pt idx="560">
                  <c:v>233.93</c:v>
                </c:pt>
                <c:pt idx="561">
                  <c:v>233.94000000000003</c:v>
                </c:pt>
                <c:pt idx="562">
                  <c:v>233.95000000000002</c:v>
                </c:pt>
                <c:pt idx="563">
                  <c:v>224.88000000000002</c:v>
                </c:pt>
                <c:pt idx="564">
                  <c:v>218.09000000000003</c:v>
                </c:pt>
                <c:pt idx="565">
                  <c:v>222.55</c:v>
                </c:pt>
                <c:pt idx="566">
                  <c:v>218.15</c:v>
                </c:pt>
                <c:pt idx="567">
                  <c:v>218.10000000000002</c:v>
                </c:pt>
                <c:pt idx="568">
                  <c:v>219.51000000000002</c:v>
                </c:pt>
                <c:pt idx="569">
                  <c:v>219.54000000000002</c:v>
                </c:pt>
                <c:pt idx="570">
                  <c:v>219.47000000000003</c:v>
                </c:pt>
                <c:pt idx="571">
                  <c:v>219.92000000000002</c:v>
                </c:pt>
                <c:pt idx="572">
                  <c:v>221.70000000000002</c:v>
                </c:pt>
                <c:pt idx="573">
                  <c:v>227.11</c:v>
                </c:pt>
                <c:pt idx="574">
                  <c:v>227.14000000000001</c:v>
                </c:pt>
                <c:pt idx="575">
                  <c:v>223.14000000000001</c:v>
                </c:pt>
                <c:pt idx="576">
                  <c:v>220.4</c:v>
                </c:pt>
                <c:pt idx="577">
                  <c:v>218.65</c:v>
                </c:pt>
                <c:pt idx="578">
                  <c:v>218.05</c:v>
                </c:pt>
                <c:pt idx="579">
                  <c:v>221.69000000000003</c:v>
                </c:pt>
                <c:pt idx="580">
                  <c:v>221.70000000000002</c:v>
                </c:pt>
                <c:pt idx="581">
                  <c:v>220.31000000000003</c:v>
                </c:pt>
                <c:pt idx="582">
                  <c:v>220.74</c:v>
                </c:pt>
                <c:pt idx="583">
                  <c:v>220.81000000000003</c:v>
                </c:pt>
                <c:pt idx="584">
                  <c:v>215.36</c:v>
                </c:pt>
                <c:pt idx="585">
                  <c:v>213.98000000000002</c:v>
                </c:pt>
                <c:pt idx="586">
                  <c:v>214.00000000000003</c:v>
                </c:pt>
                <c:pt idx="587">
                  <c:v>215.81000000000003</c:v>
                </c:pt>
                <c:pt idx="588">
                  <c:v>214.42000000000002</c:v>
                </c:pt>
                <c:pt idx="589">
                  <c:v>210.73000000000002</c:v>
                </c:pt>
                <c:pt idx="590">
                  <c:v>212.13000000000002</c:v>
                </c:pt>
                <c:pt idx="591">
                  <c:v>212.19000000000003</c:v>
                </c:pt>
                <c:pt idx="592">
                  <c:v>210.86</c:v>
                </c:pt>
                <c:pt idx="593">
                  <c:v>207.66000000000003</c:v>
                </c:pt>
                <c:pt idx="594">
                  <c:v>207.23000000000002</c:v>
                </c:pt>
                <c:pt idx="595">
                  <c:v>208.16000000000003</c:v>
                </c:pt>
                <c:pt idx="596">
                  <c:v>209.01000000000002</c:v>
                </c:pt>
                <c:pt idx="597">
                  <c:v>209.95000000000002</c:v>
                </c:pt>
                <c:pt idx="598">
                  <c:v>208.17000000000002</c:v>
                </c:pt>
                <c:pt idx="599">
                  <c:v>208.10000000000002</c:v>
                </c:pt>
                <c:pt idx="600">
                  <c:v>208.11</c:v>
                </c:pt>
                <c:pt idx="601">
                  <c:v>208.17000000000002</c:v>
                </c:pt>
                <c:pt idx="602">
                  <c:v>209.00000000000003</c:v>
                </c:pt>
                <c:pt idx="603">
                  <c:v>206.84</c:v>
                </c:pt>
                <c:pt idx="604">
                  <c:v>208.13000000000002</c:v>
                </c:pt>
                <c:pt idx="605">
                  <c:v>205.9</c:v>
                </c:pt>
                <c:pt idx="606">
                  <c:v>202.29000000000002</c:v>
                </c:pt>
                <c:pt idx="607">
                  <c:v>196.85000000000002</c:v>
                </c:pt>
                <c:pt idx="608">
                  <c:v>195.55</c:v>
                </c:pt>
                <c:pt idx="609">
                  <c:v>193.33</c:v>
                </c:pt>
                <c:pt idx="610">
                  <c:v>193.31</c:v>
                </c:pt>
                <c:pt idx="611">
                  <c:v>186.48000000000002</c:v>
                </c:pt>
                <c:pt idx="612">
                  <c:v>186.48000000000002</c:v>
                </c:pt>
                <c:pt idx="613">
                  <c:v>182.00000000000003</c:v>
                </c:pt>
                <c:pt idx="614">
                  <c:v>184.21</c:v>
                </c:pt>
                <c:pt idx="615">
                  <c:v>182.00000000000003</c:v>
                </c:pt>
                <c:pt idx="616">
                  <c:v>182.00000000000003</c:v>
                </c:pt>
                <c:pt idx="617">
                  <c:v>172.9</c:v>
                </c:pt>
                <c:pt idx="618">
                  <c:v>172.9</c:v>
                </c:pt>
                <c:pt idx="619">
                  <c:v>172.9</c:v>
                </c:pt>
                <c:pt idx="620">
                  <c:v>172.9</c:v>
                </c:pt>
                <c:pt idx="621">
                  <c:v>177.45000000000002</c:v>
                </c:pt>
                <c:pt idx="622">
                  <c:v>177.45000000000002</c:v>
                </c:pt>
                <c:pt idx="623">
                  <c:v>177.45000000000002</c:v>
                </c:pt>
                <c:pt idx="624">
                  <c:v>177.45000000000002</c:v>
                </c:pt>
                <c:pt idx="625">
                  <c:v>177.45000000000002</c:v>
                </c:pt>
                <c:pt idx="626">
                  <c:v>177.45000000000002</c:v>
                </c:pt>
                <c:pt idx="627">
                  <c:v>177.45000000000002</c:v>
                </c:pt>
                <c:pt idx="628">
                  <c:v>177.45000000000002</c:v>
                </c:pt>
                <c:pt idx="629">
                  <c:v>172.9</c:v>
                </c:pt>
                <c:pt idx="630">
                  <c:v>172.9</c:v>
                </c:pt>
                <c:pt idx="631">
                  <c:v>172.9</c:v>
                </c:pt>
                <c:pt idx="632">
                  <c:v>172.9</c:v>
                </c:pt>
                <c:pt idx="633">
                  <c:v>172.9</c:v>
                </c:pt>
                <c:pt idx="634">
                  <c:v>163.80000000000001</c:v>
                </c:pt>
                <c:pt idx="635">
                  <c:v>163.80000000000001</c:v>
                </c:pt>
                <c:pt idx="636">
                  <c:v>163.80000000000001</c:v>
                </c:pt>
                <c:pt idx="637">
                  <c:v>163.80000000000001</c:v>
                </c:pt>
                <c:pt idx="638">
                  <c:v>163.80000000000001</c:v>
                </c:pt>
                <c:pt idx="639">
                  <c:v>163.80000000000001</c:v>
                </c:pt>
                <c:pt idx="640">
                  <c:v>163.80000000000001</c:v>
                </c:pt>
                <c:pt idx="641">
                  <c:v>157.21</c:v>
                </c:pt>
                <c:pt idx="642">
                  <c:v>157.17000000000002</c:v>
                </c:pt>
                <c:pt idx="643">
                  <c:v>155.83000000000001</c:v>
                </c:pt>
                <c:pt idx="644">
                  <c:v>158.04000000000002</c:v>
                </c:pt>
                <c:pt idx="645">
                  <c:v>148.94000000000003</c:v>
                </c:pt>
                <c:pt idx="646">
                  <c:v>148.04000000000002</c:v>
                </c:pt>
                <c:pt idx="647">
                  <c:v>148.02000000000001</c:v>
                </c:pt>
                <c:pt idx="648">
                  <c:v>148.02000000000001</c:v>
                </c:pt>
                <c:pt idx="649">
                  <c:v>148.04000000000002</c:v>
                </c:pt>
                <c:pt idx="650">
                  <c:v>150.31</c:v>
                </c:pt>
                <c:pt idx="651">
                  <c:v>151.68</c:v>
                </c:pt>
                <c:pt idx="652">
                  <c:v>151.68</c:v>
                </c:pt>
                <c:pt idx="653">
                  <c:v>151.69000000000003</c:v>
                </c:pt>
                <c:pt idx="654">
                  <c:v>151.67000000000002</c:v>
                </c:pt>
                <c:pt idx="655">
                  <c:v>151.67000000000002</c:v>
                </c:pt>
                <c:pt idx="656">
                  <c:v>152.56</c:v>
                </c:pt>
                <c:pt idx="657">
                  <c:v>152.60000000000002</c:v>
                </c:pt>
                <c:pt idx="658">
                  <c:v>152.55000000000001</c:v>
                </c:pt>
                <c:pt idx="659">
                  <c:v>152.54000000000002</c:v>
                </c:pt>
                <c:pt idx="660">
                  <c:v>152.58000000000001</c:v>
                </c:pt>
                <c:pt idx="661">
                  <c:v>152.58000000000001</c:v>
                </c:pt>
                <c:pt idx="662">
                  <c:v>152.58000000000001</c:v>
                </c:pt>
                <c:pt idx="663">
                  <c:v>152.55000000000001</c:v>
                </c:pt>
                <c:pt idx="664">
                  <c:v>153.04000000000002</c:v>
                </c:pt>
                <c:pt idx="665">
                  <c:v>153.93</c:v>
                </c:pt>
                <c:pt idx="666">
                  <c:v>153.93</c:v>
                </c:pt>
                <c:pt idx="667">
                  <c:v>153.92000000000002</c:v>
                </c:pt>
                <c:pt idx="668">
                  <c:v>153.51000000000002</c:v>
                </c:pt>
                <c:pt idx="669">
                  <c:v>153.47</c:v>
                </c:pt>
                <c:pt idx="670">
                  <c:v>153.48000000000002</c:v>
                </c:pt>
                <c:pt idx="671">
                  <c:v>153.48000000000002</c:v>
                </c:pt>
                <c:pt idx="672">
                  <c:v>153.48000000000002</c:v>
                </c:pt>
                <c:pt idx="673">
                  <c:v>157.55000000000001</c:v>
                </c:pt>
                <c:pt idx="674">
                  <c:v>158.39000000000001</c:v>
                </c:pt>
                <c:pt idx="675">
                  <c:v>158.39000000000001</c:v>
                </c:pt>
                <c:pt idx="676">
                  <c:v>158.47</c:v>
                </c:pt>
                <c:pt idx="677">
                  <c:v>161.59</c:v>
                </c:pt>
                <c:pt idx="678">
                  <c:v>169.32000000000002</c:v>
                </c:pt>
                <c:pt idx="679">
                  <c:v>168.35000000000002</c:v>
                </c:pt>
                <c:pt idx="680">
                  <c:v>169.32000000000002</c:v>
                </c:pt>
                <c:pt idx="681">
                  <c:v>169.32000000000002</c:v>
                </c:pt>
                <c:pt idx="682">
                  <c:v>169.3</c:v>
                </c:pt>
                <c:pt idx="683">
                  <c:v>161.67000000000002</c:v>
                </c:pt>
                <c:pt idx="684">
                  <c:v>161.66000000000003</c:v>
                </c:pt>
                <c:pt idx="685">
                  <c:v>159.43</c:v>
                </c:pt>
                <c:pt idx="686">
                  <c:v>157.13000000000002</c:v>
                </c:pt>
                <c:pt idx="687">
                  <c:v>157.15</c:v>
                </c:pt>
                <c:pt idx="688">
                  <c:v>154.85000000000002</c:v>
                </c:pt>
                <c:pt idx="689">
                  <c:v>157.13000000000002</c:v>
                </c:pt>
                <c:pt idx="690">
                  <c:v>157.11000000000001</c:v>
                </c:pt>
                <c:pt idx="691">
                  <c:v>157.11000000000001</c:v>
                </c:pt>
                <c:pt idx="692">
                  <c:v>153.5</c:v>
                </c:pt>
                <c:pt idx="693">
                  <c:v>151.24</c:v>
                </c:pt>
                <c:pt idx="694">
                  <c:v>151.24</c:v>
                </c:pt>
                <c:pt idx="695">
                  <c:v>151.24</c:v>
                </c:pt>
                <c:pt idx="696">
                  <c:v>151.26000000000002</c:v>
                </c:pt>
                <c:pt idx="697">
                  <c:v>150.34</c:v>
                </c:pt>
                <c:pt idx="698">
                  <c:v>148.11000000000001</c:v>
                </c:pt>
                <c:pt idx="699">
                  <c:v>147.20000000000002</c:v>
                </c:pt>
                <c:pt idx="700">
                  <c:v>139.92000000000002</c:v>
                </c:pt>
                <c:pt idx="701">
                  <c:v>139.92000000000002</c:v>
                </c:pt>
                <c:pt idx="702">
                  <c:v>139.93</c:v>
                </c:pt>
                <c:pt idx="703">
                  <c:v>139.92000000000002</c:v>
                </c:pt>
                <c:pt idx="704">
                  <c:v>146.08000000000001</c:v>
                </c:pt>
                <c:pt idx="705">
                  <c:v>141.28</c:v>
                </c:pt>
                <c:pt idx="706">
                  <c:v>141.28</c:v>
                </c:pt>
                <c:pt idx="707">
                  <c:v>141.29000000000002</c:v>
                </c:pt>
                <c:pt idx="708">
                  <c:v>139.01000000000002</c:v>
                </c:pt>
                <c:pt idx="709">
                  <c:v>139.03</c:v>
                </c:pt>
                <c:pt idx="710">
                  <c:v>138.99</c:v>
                </c:pt>
                <c:pt idx="711">
                  <c:v>138.99</c:v>
                </c:pt>
                <c:pt idx="712">
                  <c:v>139.02000000000001</c:v>
                </c:pt>
                <c:pt idx="713">
                  <c:v>141.26000000000002</c:v>
                </c:pt>
                <c:pt idx="714">
                  <c:v>141.27000000000001</c:v>
                </c:pt>
                <c:pt idx="715">
                  <c:v>148.04000000000002</c:v>
                </c:pt>
                <c:pt idx="716">
                  <c:v>152.57000000000002</c:v>
                </c:pt>
                <c:pt idx="717">
                  <c:v>152.57000000000002</c:v>
                </c:pt>
                <c:pt idx="718">
                  <c:v>153.46</c:v>
                </c:pt>
                <c:pt idx="719">
                  <c:v>153.46</c:v>
                </c:pt>
                <c:pt idx="720">
                  <c:v>153.47</c:v>
                </c:pt>
                <c:pt idx="721">
                  <c:v>156.78</c:v>
                </c:pt>
                <c:pt idx="722">
                  <c:v>153.45000000000002</c:v>
                </c:pt>
                <c:pt idx="723">
                  <c:v>150.33000000000001</c:v>
                </c:pt>
                <c:pt idx="724">
                  <c:v>150.31</c:v>
                </c:pt>
                <c:pt idx="725">
                  <c:v>150.34</c:v>
                </c:pt>
                <c:pt idx="726">
                  <c:v>150.27000000000001</c:v>
                </c:pt>
                <c:pt idx="727">
                  <c:v>152.01000000000002</c:v>
                </c:pt>
                <c:pt idx="728">
                  <c:v>152.12</c:v>
                </c:pt>
                <c:pt idx="729">
                  <c:v>152.15</c:v>
                </c:pt>
                <c:pt idx="730">
                  <c:v>153.89000000000001</c:v>
                </c:pt>
                <c:pt idx="731">
                  <c:v>154.82000000000002</c:v>
                </c:pt>
                <c:pt idx="732">
                  <c:v>154.84</c:v>
                </c:pt>
                <c:pt idx="733">
                  <c:v>157.14000000000001</c:v>
                </c:pt>
                <c:pt idx="734">
                  <c:v>157.09</c:v>
                </c:pt>
                <c:pt idx="735">
                  <c:v>158</c:v>
                </c:pt>
                <c:pt idx="736">
                  <c:v>158</c:v>
                </c:pt>
                <c:pt idx="737">
                  <c:v>161.63000000000002</c:v>
                </c:pt>
                <c:pt idx="738">
                  <c:v>161.65</c:v>
                </c:pt>
                <c:pt idx="739">
                  <c:v>162.11000000000001</c:v>
                </c:pt>
                <c:pt idx="740">
                  <c:v>162.11000000000001</c:v>
                </c:pt>
                <c:pt idx="741">
                  <c:v>163.92000000000002</c:v>
                </c:pt>
                <c:pt idx="742">
                  <c:v>163.92000000000002</c:v>
                </c:pt>
                <c:pt idx="743">
                  <c:v>166.20000000000002</c:v>
                </c:pt>
                <c:pt idx="744">
                  <c:v>166.19000000000003</c:v>
                </c:pt>
                <c:pt idx="745">
                  <c:v>163.94000000000003</c:v>
                </c:pt>
                <c:pt idx="746">
                  <c:v>163.95000000000002</c:v>
                </c:pt>
                <c:pt idx="747">
                  <c:v>159.4</c:v>
                </c:pt>
                <c:pt idx="748">
                  <c:v>157.16000000000003</c:v>
                </c:pt>
                <c:pt idx="749">
                  <c:v>157.16000000000003</c:v>
                </c:pt>
                <c:pt idx="750">
                  <c:v>157.16000000000003</c:v>
                </c:pt>
                <c:pt idx="751">
                  <c:v>157.16000000000003</c:v>
                </c:pt>
                <c:pt idx="752">
                  <c:v>158.06</c:v>
                </c:pt>
                <c:pt idx="753">
                  <c:v>158.05000000000001</c:v>
                </c:pt>
                <c:pt idx="754">
                  <c:v>157.61000000000001</c:v>
                </c:pt>
                <c:pt idx="755">
                  <c:v>155.82000000000002</c:v>
                </c:pt>
                <c:pt idx="756">
                  <c:v>155.82000000000002</c:v>
                </c:pt>
                <c:pt idx="757">
                  <c:v>151.73000000000002</c:v>
                </c:pt>
                <c:pt idx="758">
                  <c:v>151.73000000000002</c:v>
                </c:pt>
                <c:pt idx="759">
                  <c:v>150.37</c:v>
                </c:pt>
                <c:pt idx="760">
                  <c:v>150.38000000000002</c:v>
                </c:pt>
                <c:pt idx="761">
                  <c:v>149.93</c:v>
                </c:pt>
                <c:pt idx="762">
                  <c:v>149.92000000000002</c:v>
                </c:pt>
                <c:pt idx="763">
                  <c:v>149.92000000000002</c:v>
                </c:pt>
                <c:pt idx="764">
                  <c:v>149.03</c:v>
                </c:pt>
                <c:pt idx="765">
                  <c:v>149.02000000000001</c:v>
                </c:pt>
                <c:pt idx="766">
                  <c:v>149.9</c:v>
                </c:pt>
                <c:pt idx="767">
                  <c:v>152.16000000000003</c:v>
                </c:pt>
                <c:pt idx="768">
                  <c:v>154.89000000000001</c:v>
                </c:pt>
                <c:pt idx="769">
                  <c:v>158.45000000000002</c:v>
                </c:pt>
                <c:pt idx="770">
                  <c:v>169.84</c:v>
                </c:pt>
                <c:pt idx="771">
                  <c:v>170.70000000000002</c:v>
                </c:pt>
                <c:pt idx="772">
                  <c:v>176.68</c:v>
                </c:pt>
                <c:pt idx="773">
                  <c:v>168.49</c:v>
                </c:pt>
                <c:pt idx="774">
                  <c:v>166.22000000000003</c:v>
                </c:pt>
                <c:pt idx="775">
                  <c:v>163.45000000000002</c:v>
                </c:pt>
                <c:pt idx="776">
                  <c:v>163.44000000000003</c:v>
                </c:pt>
                <c:pt idx="777">
                  <c:v>163.43</c:v>
                </c:pt>
                <c:pt idx="778">
                  <c:v>163.44000000000003</c:v>
                </c:pt>
                <c:pt idx="779">
                  <c:v>163.44000000000003</c:v>
                </c:pt>
                <c:pt idx="780">
                  <c:v>163.45000000000002</c:v>
                </c:pt>
                <c:pt idx="781">
                  <c:v>162.54000000000002</c:v>
                </c:pt>
                <c:pt idx="782">
                  <c:v>162.54000000000002</c:v>
                </c:pt>
                <c:pt idx="783">
                  <c:v>162.54000000000002</c:v>
                </c:pt>
                <c:pt idx="784">
                  <c:v>162.55000000000001</c:v>
                </c:pt>
                <c:pt idx="785">
                  <c:v>163.9</c:v>
                </c:pt>
                <c:pt idx="786">
                  <c:v>167.03</c:v>
                </c:pt>
                <c:pt idx="787">
                  <c:v>166.17000000000002</c:v>
                </c:pt>
                <c:pt idx="788">
                  <c:v>161.67000000000002</c:v>
                </c:pt>
                <c:pt idx="789">
                  <c:v>162.55000000000001</c:v>
                </c:pt>
                <c:pt idx="790">
                  <c:v>163.89000000000001</c:v>
                </c:pt>
                <c:pt idx="791">
                  <c:v>163.87</c:v>
                </c:pt>
                <c:pt idx="792">
                  <c:v>163.89000000000001</c:v>
                </c:pt>
                <c:pt idx="793">
                  <c:v>166.20000000000002</c:v>
                </c:pt>
                <c:pt idx="794">
                  <c:v>165.27</c:v>
                </c:pt>
                <c:pt idx="795">
                  <c:v>165.27</c:v>
                </c:pt>
                <c:pt idx="796">
                  <c:v>163.01000000000002</c:v>
                </c:pt>
                <c:pt idx="797">
                  <c:v>160.75</c:v>
                </c:pt>
                <c:pt idx="798">
                  <c:v>159.41000000000003</c:v>
                </c:pt>
                <c:pt idx="799">
                  <c:v>157.10000000000002</c:v>
                </c:pt>
                <c:pt idx="800">
                  <c:v>152.61000000000001</c:v>
                </c:pt>
                <c:pt idx="801">
                  <c:v>152.61000000000001</c:v>
                </c:pt>
                <c:pt idx="802">
                  <c:v>150.36500000000001</c:v>
                </c:pt>
                <c:pt idx="803">
                  <c:v>149.48010000000002</c:v>
                </c:pt>
                <c:pt idx="804">
                  <c:v>142.60000000000002</c:v>
                </c:pt>
                <c:pt idx="805">
                  <c:v>139.01000000000002</c:v>
                </c:pt>
                <c:pt idx="806">
                  <c:v>137.20000000000002</c:v>
                </c:pt>
                <c:pt idx="807">
                  <c:v>137.19</c:v>
                </c:pt>
                <c:pt idx="808">
                  <c:v>130.43</c:v>
                </c:pt>
                <c:pt idx="809">
                  <c:v>129.07000000000002</c:v>
                </c:pt>
                <c:pt idx="810">
                  <c:v>126.79</c:v>
                </c:pt>
                <c:pt idx="811">
                  <c:v>127.70000000000002</c:v>
                </c:pt>
                <c:pt idx="812">
                  <c:v>127.70000000000002</c:v>
                </c:pt>
                <c:pt idx="813">
                  <c:v>121.81000000000002</c:v>
                </c:pt>
                <c:pt idx="814">
                  <c:v>121.81000000000002</c:v>
                </c:pt>
                <c:pt idx="815">
                  <c:v>121.81000000000002</c:v>
                </c:pt>
                <c:pt idx="816">
                  <c:v>122.72000000000001</c:v>
                </c:pt>
                <c:pt idx="817">
                  <c:v>122.27000000000001</c:v>
                </c:pt>
                <c:pt idx="818">
                  <c:v>123.63000000000001</c:v>
                </c:pt>
                <c:pt idx="819">
                  <c:v>123.64000000000001</c:v>
                </c:pt>
                <c:pt idx="820">
                  <c:v>122.29</c:v>
                </c:pt>
                <c:pt idx="821">
                  <c:v>115.94000000000001</c:v>
                </c:pt>
                <c:pt idx="822">
                  <c:v>111.86000000000001</c:v>
                </c:pt>
                <c:pt idx="823">
                  <c:v>109.14000000000001</c:v>
                </c:pt>
                <c:pt idx="824">
                  <c:v>110.51</c:v>
                </c:pt>
                <c:pt idx="825">
                  <c:v>108.25000000000001</c:v>
                </c:pt>
                <c:pt idx="826">
                  <c:v>107.79</c:v>
                </c:pt>
                <c:pt idx="827">
                  <c:v>107.79</c:v>
                </c:pt>
                <c:pt idx="828">
                  <c:v>110.06</c:v>
                </c:pt>
                <c:pt idx="829">
                  <c:v>110.52000000000001</c:v>
                </c:pt>
                <c:pt idx="830">
                  <c:v>111.86000000000001</c:v>
                </c:pt>
                <c:pt idx="831">
                  <c:v>117.30000000000001</c:v>
                </c:pt>
                <c:pt idx="832">
                  <c:v>120.93</c:v>
                </c:pt>
                <c:pt idx="833">
                  <c:v>121.39000000000001</c:v>
                </c:pt>
                <c:pt idx="834">
                  <c:v>123.67000000000002</c:v>
                </c:pt>
                <c:pt idx="835">
                  <c:v>124.55000000000001</c:v>
                </c:pt>
                <c:pt idx="836">
                  <c:v>124.56000000000002</c:v>
                </c:pt>
                <c:pt idx="837">
                  <c:v>125.47000000000001</c:v>
                </c:pt>
                <c:pt idx="838">
                  <c:v>127.30000000000001</c:v>
                </c:pt>
                <c:pt idx="839">
                  <c:v>126.32000000000001</c:v>
                </c:pt>
                <c:pt idx="840">
                  <c:v>124.56000000000002</c:v>
                </c:pt>
                <c:pt idx="841">
                  <c:v>124.52000000000001</c:v>
                </c:pt>
                <c:pt idx="842">
                  <c:v>122.25000000000001</c:v>
                </c:pt>
                <c:pt idx="843">
                  <c:v>122.25000000000001</c:v>
                </c:pt>
                <c:pt idx="844">
                  <c:v>124.53000000000002</c:v>
                </c:pt>
                <c:pt idx="845">
                  <c:v>124.98</c:v>
                </c:pt>
                <c:pt idx="846">
                  <c:v>124.98</c:v>
                </c:pt>
                <c:pt idx="847">
                  <c:v>123.16000000000001</c:v>
                </c:pt>
                <c:pt idx="848">
                  <c:v>123.61000000000001</c:v>
                </c:pt>
                <c:pt idx="849">
                  <c:v>123.61000000000001</c:v>
                </c:pt>
                <c:pt idx="850">
                  <c:v>123.61000000000001</c:v>
                </c:pt>
                <c:pt idx="851">
                  <c:v>123.16000000000001</c:v>
                </c:pt>
                <c:pt idx="852">
                  <c:v>120.89000000000001</c:v>
                </c:pt>
                <c:pt idx="853">
                  <c:v>120.45</c:v>
                </c:pt>
                <c:pt idx="854">
                  <c:v>120.44000000000001</c:v>
                </c:pt>
                <c:pt idx="855">
                  <c:v>119.99000000000001</c:v>
                </c:pt>
                <c:pt idx="856">
                  <c:v>119.99000000000001</c:v>
                </c:pt>
                <c:pt idx="857">
                  <c:v>124.08000000000001</c:v>
                </c:pt>
                <c:pt idx="858">
                  <c:v>124.08000000000001</c:v>
                </c:pt>
                <c:pt idx="859">
                  <c:v>124.54</c:v>
                </c:pt>
                <c:pt idx="860">
                  <c:v>128.61000000000001</c:v>
                </c:pt>
                <c:pt idx="861">
                  <c:v>127.70000000000002</c:v>
                </c:pt>
                <c:pt idx="862">
                  <c:v>126.79</c:v>
                </c:pt>
                <c:pt idx="863">
                  <c:v>126.78000000000002</c:v>
                </c:pt>
                <c:pt idx="864">
                  <c:v>126.78000000000002</c:v>
                </c:pt>
                <c:pt idx="865">
                  <c:v>125.88000000000001</c:v>
                </c:pt>
                <c:pt idx="866">
                  <c:v>125.43</c:v>
                </c:pt>
                <c:pt idx="867">
                  <c:v>126.33000000000001</c:v>
                </c:pt>
                <c:pt idx="868">
                  <c:v>126.33000000000001</c:v>
                </c:pt>
                <c:pt idx="869">
                  <c:v>126.34</c:v>
                </c:pt>
                <c:pt idx="870">
                  <c:v>126.33000000000001</c:v>
                </c:pt>
                <c:pt idx="871">
                  <c:v>126.33000000000001</c:v>
                </c:pt>
                <c:pt idx="872">
                  <c:v>126.80000000000001</c:v>
                </c:pt>
                <c:pt idx="873">
                  <c:v>127.24000000000001</c:v>
                </c:pt>
                <c:pt idx="874">
                  <c:v>127.24000000000001</c:v>
                </c:pt>
                <c:pt idx="875">
                  <c:v>127.24000000000001</c:v>
                </c:pt>
                <c:pt idx="876">
                  <c:v>128.13000000000002</c:v>
                </c:pt>
                <c:pt idx="877">
                  <c:v>131.69</c:v>
                </c:pt>
                <c:pt idx="878">
                  <c:v>131.33000000000001</c:v>
                </c:pt>
                <c:pt idx="879">
                  <c:v>128.16</c:v>
                </c:pt>
                <c:pt idx="880">
                  <c:v>128.15</c:v>
                </c:pt>
                <c:pt idx="881">
                  <c:v>128.15</c:v>
                </c:pt>
                <c:pt idx="882">
                  <c:v>129.06</c:v>
                </c:pt>
                <c:pt idx="883">
                  <c:v>128.56</c:v>
                </c:pt>
                <c:pt idx="884">
                  <c:v>128.61000000000001</c:v>
                </c:pt>
                <c:pt idx="885">
                  <c:v>128.62</c:v>
                </c:pt>
                <c:pt idx="886">
                  <c:v>128.16</c:v>
                </c:pt>
                <c:pt idx="887">
                  <c:v>128.29000000000002</c:v>
                </c:pt>
                <c:pt idx="888">
                  <c:v>128.20000000000002</c:v>
                </c:pt>
                <c:pt idx="889">
                  <c:v>128.34</c:v>
                </c:pt>
                <c:pt idx="890">
                  <c:v>128.35000000000002</c:v>
                </c:pt>
                <c:pt idx="891">
                  <c:v>128.71</c:v>
                </c:pt>
                <c:pt idx="892">
                  <c:v>128.71</c:v>
                </c:pt>
                <c:pt idx="893">
                  <c:v>128.71</c:v>
                </c:pt>
                <c:pt idx="894">
                  <c:v>128.71</c:v>
                </c:pt>
                <c:pt idx="895">
                  <c:v>128.72</c:v>
                </c:pt>
                <c:pt idx="896">
                  <c:v>128.81</c:v>
                </c:pt>
                <c:pt idx="897">
                  <c:v>129.26000000000002</c:v>
                </c:pt>
                <c:pt idx="898">
                  <c:v>134.28</c:v>
                </c:pt>
                <c:pt idx="899">
                  <c:v>134.28</c:v>
                </c:pt>
                <c:pt idx="900">
                  <c:v>136.78</c:v>
                </c:pt>
                <c:pt idx="901">
                  <c:v>137.23000000000002</c:v>
                </c:pt>
                <c:pt idx="902">
                  <c:v>137.5</c:v>
                </c:pt>
                <c:pt idx="903">
                  <c:v>138.91000000000003</c:v>
                </c:pt>
                <c:pt idx="904">
                  <c:v>138.83000000000001</c:v>
                </c:pt>
                <c:pt idx="905">
                  <c:v>138.12</c:v>
                </c:pt>
                <c:pt idx="906">
                  <c:v>135.39000000000001</c:v>
                </c:pt>
                <c:pt idx="907">
                  <c:v>135.39000000000001</c:v>
                </c:pt>
                <c:pt idx="908">
                  <c:v>135</c:v>
                </c:pt>
                <c:pt idx="909">
                  <c:v>134.97</c:v>
                </c:pt>
                <c:pt idx="910">
                  <c:v>135.12</c:v>
                </c:pt>
                <c:pt idx="911">
                  <c:v>145.80000000000001</c:v>
                </c:pt>
                <c:pt idx="912">
                  <c:v>145.4</c:v>
                </c:pt>
                <c:pt idx="913">
                  <c:v>145.35000000000002</c:v>
                </c:pt>
                <c:pt idx="914">
                  <c:v>145.38000000000002</c:v>
                </c:pt>
                <c:pt idx="915">
                  <c:v>143.41000000000003</c:v>
                </c:pt>
                <c:pt idx="916">
                  <c:v>143.47</c:v>
                </c:pt>
                <c:pt idx="917">
                  <c:v>143.5</c:v>
                </c:pt>
                <c:pt idx="918">
                  <c:v>145.77000000000001</c:v>
                </c:pt>
                <c:pt idx="919">
                  <c:v>142.63000000000002</c:v>
                </c:pt>
                <c:pt idx="920">
                  <c:v>137.21</c:v>
                </c:pt>
                <c:pt idx="921">
                  <c:v>134.92000000000002</c:v>
                </c:pt>
                <c:pt idx="922">
                  <c:v>134.95000000000002</c:v>
                </c:pt>
                <c:pt idx="923">
                  <c:v>134.96</c:v>
                </c:pt>
                <c:pt idx="924">
                  <c:v>134.96</c:v>
                </c:pt>
                <c:pt idx="925">
                  <c:v>134.51000000000002</c:v>
                </c:pt>
                <c:pt idx="926">
                  <c:v>134.5</c:v>
                </c:pt>
                <c:pt idx="927">
                  <c:v>134.48000000000002</c:v>
                </c:pt>
                <c:pt idx="928">
                  <c:v>134.5</c:v>
                </c:pt>
                <c:pt idx="929">
                  <c:v>134.48000000000002</c:v>
                </c:pt>
                <c:pt idx="930">
                  <c:v>136.28</c:v>
                </c:pt>
                <c:pt idx="931">
                  <c:v>136.31</c:v>
                </c:pt>
                <c:pt idx="932">
                  <c:v>136.31</c:v>
                </c:pt>
                <c:pt idx="933">
                  <c:v>136.32000000000002</c:v>
                </c:pt>
                <c:pt idx="934">
                  <c:v>137.63000000000002</c:v>
                </c:pt>
                <c:pt idx="935">
                  <c:v>137.66000000000003</c:v>
                </c:pt>
                <c:pt idx="936">
                  <c:v>136.77000000000001</c:v>
                </c:pt>
                <c:pt idx="937">
                  <c:v>136.78</c:v>
                </c:pt>
                <c:pt idx="938">
                  <c:v>136.75</c:v>
                </c:pt>
                <c:pt idx="939">
                  <c:v>136.76000000000002</c:v>
                </c:pt>
                <c:pt idx="940">
                  <c:v>136.77000000000001</c:v>
                </c:pt>
                <c:pt idx="941">
                  <c:v>136.77000000000001</c:v>
                </c:pt>
                <c:pt idx="942">
                  <c:v>136.73000000000002</c:v>
                </c:pt>
                <c:pt idx="943">
                  <c:v>136.78</c:v>
                </c:pt>
                <c:pt idx="944">
                  <c:v>136.77000000000001</c:v>
                </c:pt>
                <c:pt idx="945">
                  <c:v>136.75</c:v>
                </c:pt>
                <c:pt idx="946">
                  <c:v>136.73000000000002</c:v>
                </c:pt>
                <c:pt idx="947">
                  <c:v>136.77000000000001</c:v>
                </c:pt>
                <c:pt idx="948">
                  <c:v>136.77000000000001</c:v>
                </c:pt>
                <c:pt idx="949">
                  <c:v>136.77000000000001</c:v>
                </c:pt>
                <c:pt idx="950">
                  <c:v>145.72</c:v>
                </c:pt>
                <c:pt idx="951">
                  <c:v>153.69000000000003</c:v>
                </c:pt>
                <c:pt idx="952">
                  <c:v>153.69000000000003</c:v>
                </c:pt>
                <c:pt idx="953">
                  <c:v>151.46</c:v>
                </c:pt>
                <c:pt idx="954">
                  <c:v>150.32000000000002</c:v>
                </c:pt>
                <c:pt idx="955">
                  <c:v>150.32000000000002</c:v>
                </c:pt>
                <c:pt idx="956">
                  <c:v>150.32000000000002</c:v>
                </c:pt>
                <c:pt idx="957">
                  <c:v>150.32000000000002</c:v>
                </c:pt>
                <c:pt idx="958">
                  <c:v>150.32000000000002</c:v>
                </c:pt>
                <c:pt idx="959">
                  <c:v>151.26000000000002</c:v>
                </c:pt>
                <c:pt idx="960">
                  <c:v>152.62</c:v>
                </c:pt>
                <c:pt idx="961">
                  <c:v>152.63000000000002</c:v>
                </c:pt>
                <c:pt idx="962">
                  <c:v>150.37</c:v>
                </c:pt>
                <c:pt idx="963">
                  <c:v>150.37</c:v>
                </c:pt>
                <c:pt idx="964">
                  <c:v>150.37</c:v>
                </c:pt>
                <c:pt idx="965">
                  <c:v>150.37</c:v>
                </c:pt>
                <c:pt idx="966">
                  <c:v>150.15</c:v>
                </c:pt>
                <c:pt idx="967">
                  <c:v>150.37</c:v>
                </c:pt>
                <c:pt idx="968">
                  <c:v>150.38000000000002</c:v>
                </c:pt>
                <c:pt idx="969">
                  <c:v>150.37</c:v>
                </c:pt>
                <c:pt idx="970">
                  <c:v>148.30000000000001</c:v>
                </c:pt>
                <c:pt idx="971">
                  <c:v>148.24</c:v>
                </c:pt>
                <c:pt idx="972">
                  <c:v>148.28</c:v>
                </c:pt>
                <c:pt idx="973">
                  <c:v>148.24</c:v>
                </c:pt>
                <c:pt idx="974">
                  <c:v>148.29000000000002</c:v>
                </c:pt>
                <c:pt idx="975">
                  <c:v>148.28</c:v>
                </c:pt>
                <c:pt idx="976">
                  <c:v>153.66000000000003</c:v>
                </c:pt>
                <c:pt idx="977">
                  <c:v>156.52000000000001</c:v>
                </c:pt>
                <c:pt idx="978">
                  <c:v>153.66000000000003</c:v>
                </c:pt>
                <c:pt idx="979">
                  <c:v>153.66000000000003</c:v>
                </c:pt>
                <c:pt idx="980">
                  <c:v>148.298</c:v>
                </c:pt>
                <c:pt idx="981">
                  <c:v>153.07000000000002</c:v>
                </c:pt>
                <c:pt idx="982">
                  <c:v>152.64000000000001</c:v>
                </c:pt>
                <c:pt idx="983">
                  <c:v>152.64000000000001</c:v>
                </c:pt>
                <c:pt idx="984">
                  <c:v>151.74</c:v>
                </c:pt>
                <c:pt idx="985">
                  <c:v>151.73000000000002</c:v>
                </c:pt>
                <c:pt idx="986">
                  <c:v>153.06</c:v>
                </c:pt>
                <c:pt idx="987">
                  <c:v>154.39000000000001</c:v>
                </c:pt>
                <c:pt idx="988">
                  <c:v>152.67000000000002</c:v>
                </c:pt>
                <c:pt idx="989">
                  <c:v>150.85000000000002</c:v>
                </c:pt>
                <c:pt idx="990">
                  <c:v>150.84</c:v>
                </c:pt>
                <c:pt idx="991">
                  <c:v>152.21</c:v>
                </c:pt>
                <c:pt idx="992">
                  <c:v>153.52000000000001</c:v>
                </c:pt>
                <c:pt idx="993">
                  <c:v>153.53</c:v>
                </c:pt>
                <c:pt idx="994">
                  <c:v>153.58000000000001</c:v>
                </c:pt>
                <c:pt idx="995">
                  <c:v>147.43</c:v>
                </c:pt>
                <c:pt idx="996">
                  <c:v>147.42000000000002</c:v>
                </c:pt>
                <c:pt idx="997">
                  <c:v>147.01000000000002</c:v>
                </c:pt>
                <c:pt idx="998">
                  <c:v>147.48000000000002</c:v>
                </c:pt>
                <c:pt idx="999">
                  <c:v>149.45000000000002</c:v>
                </c:pt>
                <c:pt idx="1000">
                  <c:v>149.47</c:v>
                </c:pt>
                <c:pt idx="1001">
                  <c:v>149.49</c:v>
                </c:pt>
                <c:pt idx="1002">
                  <c:v>148.56</c:v>
                </c:pt>
                <c:pt idx="1003">
                  <c:v>149.45000000000002</c:v>
                </c:pt>
                <c:pt idx="1004">
                  <c:v>150.43</c:v>
                </c:pt>
                <c:pt idx="1005">
                  <c:v>149.47</c:v>
                </c:pt>
                <c:pt idx="1006">
                  <c:v>150.43130000000002</c:v>
                </c:pt>
                <c:pt idx="1007">
                  <c:v>147.20000000000002</c:v>
                </c:pt>
                <c:pt idx="1008">
                  <c:v>147.20000000000002</c:v>
                </c:pt>
                <c:pt idx="1009">
                  <c:v>148.20000000000002</c:v>
                </c:pt>
                <c:pt idx="1010">
                  <c:v>148.21</c:v>
                </c:pt>
                <c:pt idx="1011">
                  <c:v>146.31</c:v>
                </c:pt>
                <c:pt idx="1012">
                  <c:v>145.86000000000001</c:v>
                </c:pt>
                <c:pt idx="1013">
                  <c:v>145.82000000000002</c:v>
                </c:pt>
                <c:pt idx="1014">
                  <c:v>144.25</c:v>
                </c:pt>
                <c:pt idx="1015">
                  <c:v>144.26000000000002</c:v>
                </c:pt>
                <c:pt idx="1016">
                  <c:v>144.25</c:v>
                </c:pt>
              </c:numCache>
            </c:numRef>
          </c:val>
          <c:smooth val="0"/>
        </c:ser>
        <c:ser>
          <c:idx val="12"/>
          <c:order val="2"/>
          <c:tx>
            <c:strRef>
              <c:f>[alco.xlsm]cds!$P$4</c:f>
              <c:strCache>
                <c:ptCount val="1"/>
                <c:pt idx="0">
                  <c:v>Románia</c:v>
                </c:pt>
              </c:strCache>
            </c:strRef>
          </c:tx>
          <c:spPr>
            <a:ln>
              <a:solidFill>
                <a:prstClr val="black"/>
              </a:solidFill>
              <a:prstDash val="dashDot"/>
            </a:ln>
          </c:spPr>
          <c:marker>
            <c:symbol val="none"/>
          </c:marker>
          <c:cat>
            <c:numRef>
              <c:f>[alco.xlsm]cds_west!$A$1578:$A$5000</c:f>
              <c:numCache>
                <c:formatCode>m/d/yyyy</c:formatCode>
                <c:ptCount val="3423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3</c:v>
                </c:pt>
                <c:pt idx="54">
                  <c:v>40984</c:v>
                </c:pt>
                <c:pt idx="55">
                  <c:v>40987</c:v>
                </c:pt>
                <c:pt idx="56">
                  <c:v>40988</c:v>
                </c:pt>
                <c:pt idx="57">
                  <c:v>40989</c:v>
                </c:pt>
                <c:pt idx="58">
                  <c:v>40990</c:v>
                </c:pt>
                <c:pt idx="59">
                  <c:v>40991</c:v>
                </c:pt>
                <c:pt idx="60">
                  <c:v>40994</c:v>
                </c:pt>
                <c:pt idx="61">
                  <c:v>40995</c:v>
                </c:pt>
                <c:pt idx="62">
                  <c:v>40996</c:v>
                </c:pt>
                <c:pt idx="63">
                  <c:v>40997</c:v>
                </c:pt>
                <c:pt idx="64">
                  <c:v>40998</c:v>
                </c:pt>
                <c:pt idx="65">
                  <c:v>41001</c:v>
                </c:pt>
                <c:pt idx="66">
                  <c:v>41002</c:v>
                </c:pt>
                <c:pt idx="67">
                  <c:v>41003</c:v>
                </c:pt>
                <c:pt idx="68">
                  <c:v>41004</c:v>
                </c:pt>
                <c:pt idx="69">
                  <c:v>41005</c:v>
                </c:pt>
                <c:pt idx="70">
                  <c:v>41008</c:v>
                </c:pt>
                <c:pt idx="71">
                  <c:v>41009</c:v>
                </c:pt>
                <c:pt idx="72">
                  <c:v>41010</c:v>
                </c:pt>
                <c:pt idx="73">
                  <c:v>41011</c:v>
                </c:pt>
                <c:pt idx="74">
                  <c:v>41012</c:v>
                </c:pt>
                <c:pt idx="75">
                  <c:v>41015</c:v>
                </c:pt>
                <c:pt idx="76">
                  <c:v>41016</c:v>
                </c:pt>
                <c:pt idx="77">
                  <c:v>41017</c:v>
                </c:pt>
                <c:pt idx="78">
                  <c:v>41018</c:v>
                </c:pt>
                <c:pt idx="79">
                  <c:v>41019</c:v>
                </c:pt>
                <c:pt idx="80">
                  <c:v>41022</c:v>
                </c:pt>
                <c:pt idx="81">
                  <c:v>41023</c:v>
                </c:pt>
                <c:pt idx="82">
                  <c:v>41024</c:v>
                </c:pt>
                <c:pt idx="83">
                  <c:v>41025</c:v>
                </c:pt>
                <c:pt idx="84">
                  <c:v>41026</c:v>
                </c:pt>
                <c:pt idx="85">
                  <c:v>41029</c:v>
                </c:pt>
                <c:pt idx="86">
                  <c:v>41030</c:v>
                </c:pt>
                <c:pt idx="87">
                  <c:v>41031</c:v>
                </c:pt>
                <c:pt idx="88">
                  <c:v>41032</c:v>
                </c:pt>
                <c:pt idx="89">
                  <c:v>41033</c:v>
                </c:pt>
                <c:pt idx="90">
                  <c:v>41036</c:v>
                </c:pt>
                <c:pt idx="91">
                  <c:v>41037</c:v>
                </c:pt>
                <c:pt idx="92">
                  <c:v>41038</c:v>
                </c:pt>
                <c:pt idx="93">
                  <c:v>41039</c:v>
                </c:pt>
                <c:pt idx="94">
                  <c:v>41040</c:v>
                </c:pt>
                <c:pt idx="95">
                  <c:v>41043</c:v>
                </c:pt>
                <c:pt idx="96">
                  <c:v>41044</c:v>
                </c:pt>
                <c:pt idx="97">
                  <c:v>41045</c:v>
                </c:pt>
                <c:pt idx="98">
                  <c:v>41046</c:v>
                </c:pt>
                <c:pt idx="99">
                  <c:v>41047</c:v>
                </c:pt>
                <c:pt idx="100">
                  <c:v>41050</c:v>
                </c:pt>
                <c:pt idx="101">
                  <c:v>41051</c:v>
                </c:pt>
                <c:pt idx="102">
                  <c:v>41052</c:v>
                </c:pt>
                <c:pt idx="103">
                  <c:v>41053</c:v>
                </c:pt>
                <c:pt idx="104">
                  <c:v>41054</c:v>
                </c:pt>
                <c:pt idx="105">
                  <c:v>41057</c:v>
                </c:pt>
                <c:pt idx="106">
                  <c:v>41058</c:v>
                </c:pt>
                <c:pt idx="107">
                  <c:v>41059</c:v>
                </c:pt>
                <c:pt idx="108">
                  <c:v>41060</c:v>
                </c:pt>
                <c:pt idx="109">
                  <c:v>41061</c:v>
                </c:pt>
                <c:pt idx="110">
                  <c:v>41064</c:v>
                </c:pt>
                <c:pt idx="111">
                  <c:v>41065</c:v>
                </c:pt>
                <c:pt idx="112">
                  <c:v>41066</c:v>
                </c:pt>
                <c:pt idx="113">
                  <c:v>41067</c:v>
                </c:pt>
                <c:pt idx="114">
                  <c:v>41068</c:v>
                </c:pt>
                <c:pt idx="115">
                  <c:v>41071</c:v>
                </c:pt>
                <c:pt idx="116">
                  <c:v>41072</c:v>
                </c:pt>
                <c:pt idx="117">
                  <c:v>41073</c:v>
                </c:pt>
                <c:pt idx="118">
                  <c:v>41074</c:v>
                </c:pt>
                <c:pt idx="119">
                  <c:v>41075</c:v>
                </c:pt>
                <c:pt idx="120">
                  <c:v>41078</c:v>
                </c:pt>
                <c:pt idx="121">
                  <c:v>41079</c:v>
                </c:pt>
                <c:pt idx="122">
                  <c:v>41080</c:v>
                </c:pt>
                <c:pt idx="123">
                  <c:v>41081</c:v>
                </c:pt>
                <c:pt idx="124">
                  <c:v>41082</c:v>
                </c:pt>
                <c:pt idx="125">
                  <c:v>41085</c:v>
                </c:pt>
                <c:pt idx="126">
                  <c:v>41086</c:v>
                </c:pt>
                <c:pt idx="127">
                  <c:v>41087</c:v>
                </c:pt>
                <c:pt idx="128">
                  <c:v>41088</c:v>
                </c:pt>
                <c:pt idx="129">
                  <c:v>41089</c:v>
                </c:pt>
                <c:pt idx="130">
                  <c:v>41092</c:v>
                </c:pt>
                <c:pt idx="131">
                  <c:v>41093</c:v>
                </c:pt>
                <c:pt idx="132">
                  <c:v>41094</c:v>
                </c:pt>
                <c:pt idx="133">
                  <c:v>41095</c:v>
                </c:pt>
                <c:pt idx="134">
                  <c:v>41096</c:v>
                </c:pt>
                <c:pt idx="135">
                  <c:v>41099</c:v>
                </c:pt>
                <c:pt idx="136">
                  <c:v>41100</c:v>
                </c:pt>
                <c:pt idx="137">
                  <c:v>41101</c:v>
                </c:pt>
                <c:pt idx="138">
                  <c:v>41102</c:v>
                </c:pt>
                <c:pt idx="139">
                  <c:v>41103</c:v>
                </c:pt>
                <c:pt idx="140">
                  <c:v>41106</c:v>
                </c:pt>
                <c:pt idx="141">
                  <c:v>41107</c:v>
                </c:pt>
                <c:pt idx="142">
                  <c:v>41108</c:v>
                </c:pt>
                <c:pt idx="143">
                  <c:v>41109</c:v>
                </c:pt>
                <c:pt idx="144">
                  <c:v>41110</c:v>
                </c:pt>
                <c:pt idx="145">
                  <c:v>41113</c:v>
                </c:pt>
                <c:pt idx="146">
                  <c:v>41114</c:v>
                </c:pt>
                <c:pt idx="147">
                  <c:v>41115</c:v>
                </c:pt>
                <c:pt idx="148">
                  <c:v>41116</c:v>
                </c:pt>
                <c:pt idx="149">
                  <c:v>41117</c:v>
                </c:pt>
                <c:pt idx="150">
                  <c:v>41120</c:v>
                </c:pt>
                <c:pt idx="151">
                  <c:v>41121</c:v>
                </c:pt>
                <c:pt idx="152">
                  <c:v>41122</c:v>
                </c:pt>
                <c:pt idx="153">
                  <c:v>41123</c:v>
                </c:pt>
                <c:pt idx="154">
                  <c:v>41124</c:v>
                </c:pt>
                <c:pt idx="155">
                  <c:v>41127</c:v>
                </c:pt>
                <c:pt idx="156">
                  <c:v>41128</c:v>
                </c:pt>
                <c:pt idx="157">
                  <c:v>41129</c:v>
                </c:pt>
                <c:pt idx="158">
                  <c:v>41130</c:v>
                </c:pt>
                <c:pt idx="159">
                  <c:v>41131</c:v>
                </c:pt>
                <c:pt idx="160">
                  <c:v>41134</c:v>
                </c:pt>
                <c:pt idx="161">
                  <c:v>41135</c:v>
                </c:pt>
                <c:pt idx="162">
                  <c:v>41136</c:v>
                </c:pt>
                <c:pt idx="163">
                  <c:v>41137</c:v>
                </c:pt>
                <c:pt idx="164">
                  <c:v>41138</c:v>
                </c:pt>
                <c:pt idx="165">
                  <c:v>41141</c:v>
                </c:pt>
                <c:pt idx="166">
                  <c:v>41142</c:v>
                </c:pt>
                <c:pt idx="167">
                  <c:v>41143</c:v>
                </c:pt>
                <c:pt idx="168">
                  <c:v>41144</c:v>
                </c:pt>
                <c:pt idx="169">
                  <c:v>41145</c:v>
                </c:pt>
                <c:pt idx="170">
                  <c:v>41148</c:v>
                </c:pt>
                <c:pt idx="171">
                  <c:v>41149</c:v>
                </c:pt>
                <c:pt idx="172">
                  <c:v>41150</c:v>
                </c:pt>
                <c:pt idx="173">
                  <c:v>41151</c:v>
                </c:pt>
                <c:pt idx="174">
                  <c:v>41152</c:v>
                </c:pt>
                <c:pt idx="175">
                  <c:v>41155</c:v>
                </c:pt>
                <c:pt idx="176">
                  <c:v>41156</c:v>
                </c:pt>
                <c:pt idx="177">
                  <c:v>41157</c:v>
                </c:pt>
                <c:pt idx="178">
                  <c:v>41158</c:v>
                </c:pt>
                <c:pt idx="179">
                  <c:v>41159</c:v>
                </c:pt>
                <c:pt idx="180">
                  <c:v>41162</c:v>
                </c:pt>
                <c:pt idx="181">
                  <c:v>41163</c:v>
                </c:pt>
                <c:pt idx="182">
                  <c:v>41164</c:v>
                </c:pt>
                <c:pt idx="183">
                  <c:v>41165</c:v>
                </c:pt>
                <c:pt idx="184">
                  <c:v>41166</c:v>
                </c:pt>
                <c:pt idx="185">
                  <c:v>41169</c:v>
                </c:pt>
                <c:pt idx="186">
                  <c:v>41170</c:v>
                </c:pt>
                <c:pt idx="187">
                  <c:v>41171</c:v>
                </c:pt>
                <c:pt idx="188">
                  <c:v>41172</c:v>
                </c:pt>
                <c:pt idx="189">
                  <c:v>41173</c:v>
                </c:pt>
                <c:pt idx="190">
                  <c:v>41176</c:v>
                </c:pt>
                <c:pt idx="191">
                  <c:v>41177</c:v>
                </c:pt>
                <c:pt idx="192">
                  <c:v>41178</c:v>
                </c:pt>
                <c:pt idx="193">
                  <c:v>41179</c:v>
                </c:pt>
                <c:pt idx="194">
                  <c:v>41180</c:v>
                </c:pt>
                <c:pt idx="195">
                  <c:v>41183</c:v>
                </c:pt>
                <c:pt idx="196">
                  <c:v>41184</c:v>
                </c:pt>
                <c:pt idx="197">
                  <c:v>41185</c:v>
                </c:pt>
                <c:pt idx="198">
                  <c:v>41186</c:v>
                </c:pt>
                <c:pt idx="199">
                  <c:v>41187</c:v>
                </c:pt>
                <c:pt idx="200">
                  <c:v>41190</c:v>
                </c:pt>
                <c:pt idx="201">
                  <c:v>41191</c:v>
                </c:pt>
                <c:pt idx="202">
                  <c:v>41192</c:v>
                </c:pt>
                <c:pt idx="203">
                  <c:v>41193</c:v>
                </c:pt>
                <c:pt idx="204">
                  <c:v>41194</c:v>
                </c:pt>
                <c:pt idx="205">
                  <c:v>41197</c:v>
                </c:pt>
                <c:pt idx="206">
                  <c:v>41198</c:v>
                </c:pt>
                <c:pt idx="207">
                  <c:v>41199</c:v>
                </c:pt>
                <c:pt idx="208">
                  <c:v>41200</c:v>
                </c:pt>
                <c:pt idx="209">
                  <c:v>41201</c:v>
                </c:pt>
                <c:pt idx="210">
                  <c:v>41204</c:v>
                </c:pt>
                <c:pt idx="211">
                  <c:v>41205</c:v>
                </c:pt>
                <c:pt idx="212">
                  <c:v>41206</c:v>
                </c:pt>
                <c:pt idx="213">
                  <c:v>41207</c:v>
                </c:pt>
                <c:pt idx="214">
                  <c:v>41208</c:v>
                </c:pt>
                <c:pt idx="215">
                  <c:v>41211</c:v>
                </c:pt>
                <c:pt idx="216">
                  <c:v>41212</c:v>
                </c:pt>
                <c:pt idx="217">
                  <c:v>41213</c:v>
                </c:pt>
                <c:pt idx="218">
                  <c:v>41214</c:v>
                </c:pt>
                <c:pt idx="219">
                  <c:v>41215</c:v>
                </c:pt>
                <c:pt idx="220">
                  <c:v>41218</c:v>
                </c:pt>
                <c:pt idx="221">
                  <c:v>41219</c:v>
                </c:pt>
                <c:pt idx="222">
                  <c:v>41220</c:v>
                </c:pt>
                <c:pt idx="223">
                  <c:v>41221</c:v>
                </c:pt>
                <c:pt idx="224">
                  <c:v>41222</c:v>
                </c:pt>
                <c:pt idx="225">
                  <c:v>41225</c:v>
                </c:pt>
                <c:pt idx="226">
                  <c:v>41226</c:v>
                </c:pt>
                <c:pt idx="227">
                  <c:v>41227</c:v>
                </c:pt>
                <c:pt idx="228">
                  <c:v>41228</c:v>
                </c:pt>
                <c:pt idx="229">
                  <c:v>41229</c:v>
                </c:pt>
                <c:pt idx="230">
                  <c:v>41232</c:v>
                </c:pt>
                <c:pt idx="231">
                  <c:v>41233</c:v>
                </c:pt>
                <c:pt idx="232">
                  <c:v>41234</c:v>
                </c:pt>
                <c:pt idx="233">
                  <c:v>41235</c:v>
                </c:pt>
                <c:pt idx="234">
                  <c:v>41236</c:v>
                </c:pt>
                <c:pt idx="235">
                  <c:v>41239</c:v>
                </c:pt>
                <c:pt idx="236">
                  <c:v>41240</c:v>
                </c:pt>
                <c:pt idx="237">
                  <c:v>41241</c:v>
                </c:pt>
                <c:pt idx="238">
                  <c:v>41242</c:v>
                </c:pt>
                <c:pt idx="239">
                  <c:v>41243</c:v>
                </c:pt>
                <c:pt idx="240">
                  <c:v>41246</c:v>
                </c:pt>
                <c:pt idx="241">
                  <c:v>41247</c:v>
                </c:pt>
                <c:pt idx="242">
                  <c:v>41248</c:v>
                </c:pt>
                <c:pt idx="243">
                  <c:v>41249</c:v>
                </c:pt>
                <c:pt idx="244">
                  <c:v>41250</c:v>
                </c:pt>
                <c:pt idx="245">
                  <c:v>41253</c:v>
                </c:pt>
                <c:pt idx="246">
                  <c:v>41254</c:v>
                </c:pt>
                <c:pt idx="247">
                  <c:v>41255</c:v>
                </c:pt>
                <c:pt idx="248">
                  <c:v>41256</c:v>
                </c:pt>
                <c:pt idx="249">
                  <c:v>41257</c:v>
                </c:pt>
                <c:pt idx="250">
                  <c:v>41260</c:v>
                </c:pt>
                <c:pt idx="251">
                  <c:v>41261</c:v>
                </c:pt>
                <c:pt idx="252">
                  <c:v>41262</c:v>
                </c:pt>
                <c:pt idx="253">
                  <c:v>41263</c:v>
                </c:pt>
                <c:pt idx="254">
                  <c:v>41264</c:v>
                </c:pt>
                <c:pt idx="255">
                  <c:v>41267</c:v>
                </c:pt>
                <c:pt idx="256">
                  <c:v>41268</c:v>
                </c:pt>
                <c:pt idx="257">
                  <c:v>41269</c:v>
                </c:pt>
                <c:pt idx="258">
                  <c:v>41270</c:v>
                </c:pt>
                <c:pt idx="259">
                  <c:v>41271</c:v>
                </c:pt>
                <c:pt idx="260">
                  <c:v>41274</c:v>
                </c:pt>
                <c:pt idx="261">
                  <c:v>41275</c:v>
                </c:pt>
                <c:pt idx="262">
                  <c:v>41276</c:v>
                </c:pt>
                <c:pt idx="263">
                  <c:v>41277</c:v>
                </c:pt>
                <c:pt idx="264">
                  <c:v>41278</c:v>
                </c:pt>
                <c:pt idx="265">
                  <c:v>41281</c:v>
                </c:pt>
                <c:pt idx="266">
                  <c:v>41282</c:v>
                </c:pt>
                <c:pt idx="267">
                  <c:v>41283</c:v>
                </c:pt>
                <c:pt idx="268">
                  <c:v>41284</c:v>
                </c:pt>
                <c:pt idx="269">
                  <c:v>41285</c:v>
                </c:pt>
                <c:pt idx="270">
                  <c:v>41288</c:v>
                </c:pt>
                <c:pt idx="271">
                  <c:v>41289</c:v>
                </c:pt>
                <c:pt idx="272">
                  <c:v>41290</c:v>
                </c:pt>
                <c:pt idx="273">
                  <c:v>41291</c:v>
                </c:pt>
                <c:pt idx="274">
                  <c:v>41292</c:v>
                </c:pt>
                <c:pt idx="275">
                  <c:v>41295</c:v>
                </c:pt>
                <c:pt idx="276">
                  <c:v>41296</c:v>
                </c:pt>
                <c:pt idx="277">
                  <c:v>41297</c:v>
                </c:pt>
                <c:pt idx="278">
                  <c:v>41298</c:v>
                </c:pt>
                <c:pt idx="279">
                  <c:v>41299</c:v>
                </c:pt>
                <c:pt idx="280">
                  <c:v>41302</c:v>
                </c:pt>
                <c:pt idx="281">
                  <c:v>41303</c:v>
                </c:pt>
                <c:pt idx="282">
                  <c:v>41304</c:v>
                </c:pt>
                <c:pt idx="283">
                  <c:v>41305</c:v>
                </c:pt>
                <c:pt idx="284">
                  <c:v>41306</c:v>
                </c:pt>
                <c:pt idx="285">
                  <c:v>41309</c:v>
                </c:pt>
                <c:pt idx="286">
                  <c:v>41310</c:v>
                </c:pt>
                <c:pt idx="287">
                  <c:v>41311</c:v>
                </c:pt>
                <c:pt idx="288">
                  <c:v>41312</c:v>
                </c:pt>
                <c:pt idx="289">
                  <c:v>41313</c:v>
                </c:pt>
                <c:pt idx="290">
                  <c:v>41316</c:v>
                </c:pt>
                <c:pt idx="291">
                  <c:v>41317</c:v>
                </c:pt>
                <c:pt idx="292">
                  <c:v>41318</c:v>
                </c:pt>
                <c:pt idx="293">
                  <c:v>41319</c:v>
                </c:pt>
                <c:pt idx="294">
                  <c:v>41320</c:v>
                </c:pt>
                <c:pt idx="295">
                  <c:v>41323</c:v>
                </c:pt>
                <c:pt idx="296">
                  <c:v>41324</c:v>
                </c:pt>
                <c:pt idx="297">
                  <c:v>41325</c:v>
                </c:pt>
                <c:pt idx="298">
                  <c:v>41326</c:v>
                </c:pt>
                <c:pt idx="299">
                  <c:v>41327</c:v>
                </c:pt>
                <c:pt idx="300">
                  <c:v>41330</c:v>
                </c:pt>
                <c:pt idx="301">
                  <c:v>41331</c:v>
                </c:pt>
                <c:pt idx="302">
                  <c:v>41332</c:v>
                </c:pt>
                <c:pt idx="303">
                  <c:v>41333</c:v>
                </c:pt>
                <c:pt idx="304">
                  <c:v>41334</c:v>
                </c:pt>
                <c:pt idx="305">
                  <c:v>41337</c:v>
                </c:pt>
                <c:pt idx="306">
                  <c:v>41338</c:v>
                </c:pt>
                <c:pt idx="307">
                  <c:v>41339</c:v>
                </c:pt>
                <c:pt idx="308">
                  <c:v>41340</c:v>
                </c:pt>
                <c:pt idx="309">
                  <c:v>41341</c:v>
                </c:pt>
                <c:pt idx="310">
                  <c:v>41344</c:v>
                </c:pt>
                <c:pt idx="311">
                  <c:v>41345</c:v>
                </c:pt>
                <c:pt idx="312">
                  <c:v>41346</c:v>
                </c:pt>
                <c:pt idx="313">
                  <c:v>41347</c:v>
                </c:pt>
                <c:pt idx="314">
                  <c:v>41348</c:v>
                </c:pt>
                <c:pt idx="315">
                  <c:v>41351</c:v>
                </c:pt>
                <c:pt idx="316">
                  <c:v>41352</c:v>
                </c:pt>
                <c:pt idx="317">
                  <c:v>41353</c:v>
                </c:pt>
                <c:pt idx="318">
                  <c:v>41354</c:v>
                </c:pt>
                <c:pt idx="319">
                  <c:v>41355</c:v>
                </c:pt>
                <c:pt idx="320">
                  <c:v>41358</c:v>
                </c:pt>
                <c:pt idx="321">
                  <c:v>41359</c:v>
                </c:pt>
                <c:pt idx="322">
                  <c:v>41360</c:v>
                </c:pt>
                <c:pt idx="323">
                  <c:v>41361</c:v>
                </c:pt>
                <c:pt idx="324">
                  <c:v>41362</c:v>
                </c:pt>
                <c:pt idx="325">
                  <c:v>41365</c:v>
                </c:pt>
                <c:pt idx="326">
                  <c:v>41366</c:v>
                </c:pt>
                <c:pt idx="327">
                  <c:v>41367</c:v>
                </c:pt>
                <c:pt idx="328">
                  <c:v>41368</c:v>
                </c:pt>
                <c:pt idx="329">
                  <c:v>41369</c:v>
                </c:pt>
                <c:pt idx="330">
                  <c:v>41372</c:v>
                </c:pt>
                <c:pt idx="331">
                  <c:v>41373</c:v>
                </c:pt>
                <c:pt idx="332">
                  <c:v>41374</c:v>
                </c:pt>
                <c:pt idx="333">
                  <c:v>41375</c:v>
                </c:pt>
                <c:pt idx="334">
                  <c:v>41376</c:v>
                </c:pt>
                <c:pt idx="335">
                  <c:v>41379</c:v>
                </c:pt>
                <c:pt idx="336">
                  <c:v>41380</c:v>
                </c:pt>
                <c:pt idx="337">
                  <c:v>41381</c:v>
                </c:pt>
                <c:pt idx="338">
                  <c:v>41382</c:v>
                </c:pt>
                <c:pt idx="339">
                  <c:v>41383</c:v>
                </c:pt>
                <c:pt idx="340">
                  <c:v>41386</c:v>
                </c:pt>
                <c:pt idx="341">
                  <c:v>41387</c:v>
                </c:pt>
                <c:pt idx="342">
                  <c:v>41388</c:v>
                </c:pt>
                <c:pt idx="343">
                  <c:v>41389</c:v>
                </c:pt>
                <c:pt idx="344">
                  <c:v>41390</c:v>
                </c:pt>
                <c:pt idx="345">
                  <c:v>41393</c:v>
                </c:pt>
                <c:pt idx="346">
                  <c:v>41394</c:v>
                </c:pt>
                <c:pt idx="347">
                  <c:v>41395</c:v>
                </c:pt>
                <c:pt idx="348">
                  <c:v>41396</c:v>
                </c:pt>
                <c:pt idx="349">
                  <c:v>41397</c:v>
                </c:pt>
                <c:pt idx="350">
                  <c:v>41400</c:v>
                </c:pt>
                <c:pt idx="351">
                  <c:v>41401</c:v>
                </c:pt>
                <c:pt idx="352">
                  <c:v>41402</c:v>
                </c:pt>
                <c:pt idx="353">
                  <c:v>41403</c:v>
                </c:pt>
                <c:pt idx="354">
                  <c:v>41404</c:v>
                </c:pt>
                <c:pt idx="355">
                  <c:v>41407</c:v>
                </c:pt>
                <c:pt idx="356">
                  <c:v>41408</c:v>
                </c:pt>
                <c:pt idx="357">
                  <c:v>41409</c:v>
                </c:pt>
                <c:pt idx="358">
                  <c:v>41410</c:v>
                </c:pt>
                <c:pt idx="359">
                  <c:v>41411</c:v>
                </c:pt>
                <c:pt idx="360">
                  <c:v>41414</c:v>
                </c:pt>
                <c:pt idx="361">
                  <c:v>41415</c:v>
                </c:pt>
                <c:pt idx="362">
                  <c:v>41416</c:v>
                </c:pt>
                <c:pt idx="363">
                  <c:v>41417</c:v>
                </c:pt>
                <c:pt idx="364">
                  <c:v>41418</c:v>
                </c:pt>
                <c:pt idx="365">
                  <c:v>41421</c:v>
                </c:pt>
                <c:pt idx="366">
                  <c:v>41422</c:v>
                </c:pt>
                <c:pt idx="367">
                  <c:v>41423</c:v>
                </c:pt>
                <c:pt idx="368">
                  <c:v>41424</c:v>
                </c:pt>
                <c:pt idx="369">
                  <c:v>41425</c:v>
                </c:pt>
                <c:pt idx="370">
                  <c:v>41428</c:v>
                </c:pt>
                <c:pt idx="371">
                  <c:v>41429</c:v>
                </c:pt>
                <c:pt idx="372">
                  <c:v>41430</c:v>
                </c:pt>
                <c:pt idx="373">
                  <c:v>41431</c:v>
                </c:pt>
                <c:pt idx="374">
                  <c:v>41432</c:v>
                </c:pt>
                <c:pt idx="375">
                  <c:v>41435</c:v>
                </c:pt>
                <c:pt idx="376">
                  <c:v>41436</c:v>
                </c:pt>
                <c:pt idx="377">
                  <c:v>41437</c:v>
                </c:pt>
                <c:pt idx="378">
                  <c:v>41438</c:v>
                </c:pt>
                <c:pt idx="379">
                  <c:v>41439</c:v>
                </c:pt>
                <c:pt idx="380">
                  <c:v>41442</c:v>
                </c:pt>
                <c:pt idx="381">
                  <c:v>41443</c:v>
                </c:pt>
                <c:pt idx="382">
                  <c:v>41444</c:v>
                </c:pt>
                <c:pt idx="383">
                  <c:v>41445</c:v>
                </c:pt>
                <c:pt idx="384">
                  <c:v>41446</c:v>
                </c:pt>
                <c:pt idx="385">
                  <c:v>41449</c:v>
                </c:pt>
                <c:pt idx="386">
                  <c:v>41450</c:v>
                </c:pt>
                <c:pt idx="387">
                  <c:v>41451</c:v>
                </c:pt>
                <c:pt idx="388">
                  <c:v>41452</c:v>
                </c:pt>
                <c:pt idx="389">
                  <c:v>41453</c:v>
                </c:pt>
                <c:pt idx="390">
                  <c:v>41456</c:v>
                </c:pt>
                <c:pt idx="391">
                  <c:v>41457</c:v>
                </c:pt>
                <c:pt idx="392">
                  <c:v>41458</c:v>
                </c:pt>
                <c:pt idx="393">
                  <c:v>41459</c:v>
                </c:pt>
                <c:pt idx="394">
                  <c:v>41460</c:v>
                </c:pt>
                <c:pt idx="395">
                  <c:v>41463</c:v>
                </c:pt>
                <c:pt idx="396">
                  <c:v>41464</c:v>
                </c:pt>
                <c:pt idx="397">
                  <c:v>41465</c:v>
                </c:pt>
                <c:pt idx="398">
                  <c:v>41466</c:v>
                </c:pt>
                <c:pt idx="399">
                  <c:v>41467</c:v>
                </c:pt>
                <c:pt idx="400">
                  <c:v>41470</c:v>
                </c:pt>
                <c:pt idx="401">
                  <c:v>41471</c:v>
                </c:pt>
                <c:pt idx="402">
                  <c:v>41472</c:v>
                </c:pt>
                <c:pt idx="403">
                  <c:v>41473</c:v>
                </c:pt>
                <c:pt idx="404">
                  <c:v>41474</c:v>
                </c:pt>
                <c:pt idx="405">
                  <c:v>41477</c:v>
                </c:pt>
                <c:pt idx="406">
                  <c:v>41478</c:v>
                </c:pt>
                <c:pt idx="407">
                  <c:v>41479</c:v>
                </c:pt>
                <c:pt idx="408">
                  <c:v>41480</c:v>
                </c:pt>
                <c:pt idx="409">
                  <c:v>41481</c:v>
                </c:pt>
                <c:pt idx="410">
                  <c:v>41484</c:v>
                </c:pt>
                <c:pt idx="411">
                  <c:v>41485</c:v>
                </c:pt>
                <c:pt idx="412">
                  <c:v>41486</c:v>
                </c:pt>
                <c:pt idx="413">
                  <c:v>41487</c:v>
                </c:pt>
                <c:pt idx="414">
                  <c:v>41488</c:v>
                </c:pt>
                <c:pt idx="415">
                  <c:v>41491</c:v>
                </c:pt>
                <c:pt idx="416">
                  <c:v>41492</c:v>
                </c:pt>
                <c:pt idx="417">
                  <c:v>41493</c:v>
                </c:pt>
                <c:pt idx="418">
                  <c:v>41494</c:v>
                </c:pt>
                <c:pt idx="419">
                  <c:v>41495</c:v>
                </c:pt>
                <c:pt idx="420">
                  <c:v>41498</c:v>
                </c:pt>
                <c:pt idx="421">
                  <c:v>41499</c:v>
                </c:pt>
                <c:pt idx="422">
                  <c:v>41500</c:v>
                </c:pt>
                <c:pt idx="423">
                  <c:v>41501</c:v>
                </c:pt>
                <c:pt idx="424">
                  <c:v>41502</c:v>
                </c:pt>
                <c:pt idx="425">
                  <c:v>41505</c:v>
                </c:pt>
                <c:pt idx="426">
                  <c:v>41506</c:v>
                </c:pt>
                <c:pt idx="427">
                  <c:v>41507</c:v>
                </c:pt>
                <c:pt idx="428">
                  <c:v>41508</c:v>
                </c:pt>
                <c:pt idx="429">
                  <c:v>41509</c:v>
                </c:pt>
                <c:pt idx="430">
                  <c:v>41512</c:v>
                </c:pt>
                <c:pt idx="431">
                  <c:v>41513</c:v>
                </c:pt>
                <c:pt idx="432">
                  <c:v>41514</c:v>
                </c:pt>
                <c:pt idx="433">
                  <c:v>41515</c:v>
                </c:pt>
                <c:pt idx="434">
                  <c:v>41516</c:v>
                </c:pt>
                <c:pt idx="435">
                  <c:v>41519</c:v>
                </c:pt>
                <c:pt idx="436">
                  <c:v>41520</c:v>
                </c:pt>
                <c:pt idx="437">
                  <c:v>41521</c:v>
                </c:pt>
                <c:pt idx="438">
                  <c:v>41522</c:v>
                </c:pt>
                <c:pt idx="439">
                  <c:v>41523</c:v>
                </c:pt>
                <c:pt idx="440">
                  <c:v>41526</c:v>
                </c:pt>
                <c:pt idx="441">
                  <c:v>41527</c:v>
                </c:pt>
                <c:pt idx="442">
                  <c:v>41528</c:v>
                </c:pt>
                <c:pt idx="443">
                  <c:v>41529</c:v>
                </c:pt>
                <c:pt idx="444">
                  <c:v>41530</c:v>
                </c:pt>
                <c:pt idx="445">
                  <c:v>41533</c:v>
                </c:pt>
                <c:pt idx="446">
                  <c:v>41534</c:v>
                </c:pt>
                <c:pt idx="447">
                  <c:v>41535</c:v>
                </c:pt>
                <c:pt idx="448">
                  <c:v>41536</c:v>
                </c:pt>
                <c:pt idx="449">
                  <c:v>41537</c:v>
                </c:pt>
                <c:pt idx="450">
                  <c:v>41540</c:v>
                </c:pt>
                <c:pt idx="451">
                  <c:v>41541</c:v>
                </c:pt>
                <c:pt idx="452">
                  <c:v>41542</c:v>
                </c:pt>
                <c:pt idx="453">
                  <c:v>41543</c:v>
                </c:pt>
                <c:pt idx="454">
                  <c:v>41544</c:v>
                </c:pt>
                <c:pt idx="455">
                  <c:v>41547</c:v>
                </c:pt>
                <c:pt idx="456">
                  <c:v>41548</c:v>
                </c:pt>
                <c:pt idx="457">
                  <c:v>41549</c:v>
                </c:pt>
                <c:pt idx="458">
                  <c:v>41550</c:v>
                </c:pt>
                <c:pt idx="459">
                  <c:v>41551</c:v>
                </c:pt>
                <c:pt idx="460">
                  <c:v>41554</c:v>
                </c:pt>
                <c:pt idx="461">
                  <c:v>41555</c:v>
                </c:pt>
                <c:pt idx="462">
                  <c:v>41556</c:v>
                </c:pt>
                <c:pt idx="463">
                  <c:v>41557</c:v>
                </c:pt>
                <c:pt idx="464">
                  <c:v>41558</c:v>
                </c:pt>
                <c:pt idx="465">
                  <c:v>41561</c:v>
                </c:pt>
                <c:pt idx="466">
                  <c:v>41562</c:v>
                </c:pt>
                <c:pt idx="467">
                  <c:v>41563</c:v>
                </c:pt>
                <c:pt idx="468">
                  <c:v>41564</c:v>
                </c:pt>
                <c:pt idx="469">
                  <c:v>41565</c:v>
                </c:pt>
                <c:pt idx="470">
                  <c:v>41568</c:v>
                </c:pt>
                <c:pt idx="471">
                  <c:v>41569</c:v>
                </c:pt>
                <c:pt idx="472">
                  <c:v>41570</c:v>
                </c:pt>
                <c:pt idx="473">
                  <c:v>41571</c:v>
                </c:pt>
                <c:pt idx="474">
                  <c:v>41572</c:v>
                </c:pt>
                <c:pt idx="475">
                  <c:v>41575</c:v>
                </c:pt>
                <c:pt idx="476">
                  <c:v>41576</c:v>
                </c:pt>
                <c:pt idx="477">
                  <c:v>41577</c:v>
                </c:pt>
                <c:pt idx="478">
                  <c:v>41578</c:v>
                </c:pt>
                <c:pt idx="479">
                  <c:v>41579</c:v>
                </c:pt>
                <c:pt idx="480">
                  <c:v>41582</c:v>
                </c:pt>
                <c:pt idx="481">
                  <c:v>41583</c:v>
                </c:pt>
                <c:pt idx="482">
                  <c:v>41584</c:v>
                </c:pt>
                <c:pt idx="483">
                  <c:v>41585</c:v>
                </c:pt>
                <c:pt idx="484">
                  <c:v>41586</c:v>
                </c:pt>
                <c:pt idx="485">
                  <c:v>41589</c:v>
                </c:pt>
                <c:pt idx="486">
                  <c:v>41590</c:v>
                </c:pt>
                <c:pt idx="487">
                  <c:v>41591</c:v>
                </c:pt>
                <c:pt idx="488">
                  <c:v>41592</c:v>
                </c:pt>
                <c:pt idx="489">
                  <c:v>41593</c:v>
                </c:pt>
                <c:pt idx="490">
                  <c:v>41596</c:v>
                </c:pt>
                <c:pt idx="491">
                  <c:v>41597</c:v>
                </c:pt>
                <c:pt idx="492">
                  <c:v>41598</c:v>
                </c:pt>
                <c:pt idx="493">
                  <c:v>41599</c:v>
                </c:pt>
                <c:pt idx="494">
                  <c:v>41600</c:v>
                </c:pt>
                <c:pt idx="495">
                  <c:v>41603</c:v>
                </c:pt>
                <c:pt idx="496">
                  <c:v>41604</c:v>
                </c:pt>
                <c:pt idx="497">
                  <c:v>41605</c:v>
                </c:pt>
                <c:pt idx="498">
                  <c:v>41606</c:v>
                </c:pt>
                <c:pt idx="499">
                  <c:v>41607</c:v>
                </c:pt>
                <c:pt idx="500">
                  <c:v>41610</c:v>
                </c:pt>
                <c:pt idx="501">
                  <c:v>41611</c:v>
                </c:pt>
                <c:pt idx="502">
                  <c:v>41612</c:v>
                </c:pt>
                <c:pt idx="503">
                  <c:v>41613</c:v>
                </c:pt>
                <c:pt idx="504">
                  <c:v>41614</c:v>
                </c:pt>
                <c:pt idx="505">
                  <c:v>41617</c:v>
                </c:pt>
                <c:pt idx="506">
                  <c:v>41618</c:v>
                </c:pt>
                <c:pt idx="507">
                  <c:v>41619</c:v>
                </c:pt>
                <c:pt idx="508">
                  <c:v>41620</c:v>
                </c:pt>
                <c:pt idx="509">
                  <c:v>41621</c:v>
                </c:pt>
                <c:pt idx="510">
                  <c:v>41624</c:v>
                </c:pt>
                <c:pt idx="511">
                  <c:v>41625</c:v>
                </c:pt>
                <c:pt idx="512">
                  <c:v>41626</c:v>
                </c:pt>
                <c:pt idx="513">
                  <c:v>41627</c:v>
                </c:pt>
                <c:pt idx="514">
                  <c:v>41628</c:v>
                </c:pt>
                <c:pt idx="515">
                  <c:v>41631</c:v>
                </c:pt>
                <c:pt idx="516">
                  <c:v>41632</c:v>
                </c:pt>
                <c:pt idx="517">
                  <c:v>41633</c:v>
                </c:pt>
                <c:pt idx="518">
                  <c:v>41634</c:v>
                </c:pt>
                <c:pt idx="519">
                  <c:v>41635</c:v>
                </c:pt>
                <c:pt idx="520">
                  <c:v>41638</c:v>
                </c:pt>
                <c:pt idx="521">
                  <c:v>41639</c:v>
                </c:pt>
                <c:pt idx="522">
                  <c:v>41640</c:v>
                </c:pt>
                <c:pt idx="523">
                  <c:v>41641</c:v>
                </c:pt>
                <c:pt idx="524">
                  <c:v>41642</c:v>
                </c:pt>
                <c:pt idx="525">
                  <c:v>41645</c:v>
                </c:pt>
                <c:pt idx="526">
                  <c:v>41646</c:v>
                </c:pt>
                <c:pt idx="527">
                  <c:v>41647</c:v>
                </c:pt>
                <c:pt idx="528">
                  <c:v>41648</c:v>
                </c:pt>
                <c:pt idx="529">
                  <c:v>41649</c:v>
                </c:pt>
                <c:pt idx="530">
                  <c:v>41652</c:v>
                </c:pt>
                <c:pt idx="531">
                  <c:v>41653</c:v>
                </c:pt>
                <c:pt idx="532">
                  <c:v>41654</c:v>
                </c:pt>
                <c:pt idx="533">
                  <c:v>41655</c:v>
                </c:pt>
                <c:pt idx="534">
                  <c:v>41656</c:v>
                </c:pt>
                <c:pt idx="535">
                  <c:v>41659</c:v>
                </c:pt>
                <c:pt idx="536">
                  <c:v>41660</c:v>
                </c:pt>
                <c:pt idx="537">
                  <c:v>41661</c:v>
                </c:pt>
                <c:pt idx="538">
                  <c:v>41662</c:v>
                </c:pt>
                <c:pt idx="539">
                  <c:v>41663</c:v>
                </c:pt>
                <c:pt idx="540">
                  <c:v>41666</c:v>
                </c:pt>
                <c:pt idx="541">
                  <c:v>41667</c:v>
                </c:pt>
                <c:pt idx="542">
                  <c:v>41668</c:v>
                </c:pt>
                <c:pt idx="543">
                  <c:v>41669</c:v>
                </c:pt>
                <c:pt idx="544">
                  <c:v>41670</c:v>
                </c:pt>
                <c:pt idx="545">
                  <c:v>41673</c:v>
                </c:pt>
                <c:pt idx="546">
                  <c:v>41674</c:v>
                </c:pt>
                <c:pt idx="547">
                  <c:v>41675</c:v>
                </c:pt>
                <c:pt idx="548">
                  <c:v>41676</c:v>
                </c:pt>
                <c:pt idx="549">
                  <c:v>41677</c:v>
                </c:pt>
                <c:pt idx="550">
                  <c:v>41680</c:v>
                </c:pt>
                <c:pt idx="551">
                  <c:v>41681</c:v>
                </c:pt>
                <c:pt idx="552">
                  <c:v>41682</c:v>
                </c:pt>
                <c:pt idx="553">
                  <c:v>41683</c:v>
                </c:pt>
                <c:pt idx="554">
                  <c:v>41684</c:v>
                </c:pt>
                <c:pt idx="555">
                  <c:v>41687</c:v>
                </c:pt>
                <c:pt idx="556">
                  <c:v>41688</c:v>
                </c:pt>
                <c:pt idx="557">
                  <c:v>41689</c:v>
                </c:pt>
                <c:pt idx="558">
                  <c:v>41690</c:v>
                </c:pt>
                <c:pt idx="559">
                  <c:v>41691</c:v>
                </c:pt>
                <c:pt idx="560">
                  <c:v>41694</c:v>
                </c:pt>
                <c:pt idx="561">
                  <c:v>41695</c:v>
                </c:pt>
                <c:pt idx="562">
                  <c:v>41696</c:v>
                </c:pt>
                <c:pt idx="563">
                  <c:v>41697</c:v>
                </c:pt>
                <c:pt idx="564">
                  <c:v>41698</c:v>
                </c:pt>
                <c:pt idx="565">
                  <c:v>41701</c:v>
                </c:pt>
                <c:pt idx="566">
                  <c:v>41702</c:v>
                </c:pt>
                <c:pt idx="567">
                  <c:v>41703</c:v>
                </c:pt>
                <c:pt idx="568">
                  <c:v>41704</c:v>
                </c:pt>
                <c:pt idx="569">
                  <c:v>41705</c:v>
                </c:pt>
                <c:pt idx="570">
                  <c:v>41708</c:v>
                </c:pt>
                <c:pt idx="571">
                  <c:v>41709</c:v>
                </c:pt>
                <c:pt idx="572">
                  <c:v>41710</c:v>
                </c:pt>
                <c:pt idx="573">
                  <c:v>41711</c:v>
                </c:pt>
                <c:pt idx="574">
                  <c:v>41712</c:v>
                </c:pt>
                <c:pt idx="575">
                  <c:v>41715</c:v>
                </c:pt>
                <c:pt idx="576">
                  <c:v>41716</c:v>
                </c:pt>
                <c:pt idx="577">
                  <c:v>41717</c:v>
                </c:pt>
                <c:pt idx="578">
                  <c:v>41718</c:v>
                </c:pt>
                <c:pt idx="579">
                  <c:v>41719</c:v>
                </c:pt>
                <c:pt idx="580">
                  <c:v>41722</c:v>
                </c:pt>
                <c:pt idx="581">
                  <c:v>41723</c:v>
                </c:pt>
                <c:pt idx="582">
                  <c:v>41724</c:v>
                </c:pt>
                <c:pt idx="583">
                  <c:v>41725</c:v>
                </c:pt>
                <c:pt idx="584">
                  <c:v>41726</c:v>
                </c:pt>
                <c:pt idx="585">
                  <c:v>41729</c:v>
                </c:pt>
                <c:pt idx="586">
                  <c:v>41730</c:v>
                </c:pt>
                <c:pt idx="587">
                  <c:v>41731</c:v>
                </c:pt>
                <c:pt idx="588">
                  <c:v>41732</c:v>
                </c:pt>
                <c:pt idx="589">
                  <c:v>41733</c:v>
                </c:pt>
                <c:pt idx="590">
                  <c:v>41736</c:v>
                </c:pt>
                <c:pt idx="591">
                  <c:v>41737</c:v>
                </c:pt>
                <c:pt idx="592">
                  <c:v>41738</c:v>
                </c:pt>
                <c:pt idx="593">
                  <c:v>41739</c:v>
                </c:pt>
                <c:pt idx="594">
                  <c:v>41740</c:v>
                </c:pt>
                <c:pt idx="595">
                  <c:v>41743</c:v>
                </c:pt>
                <c:pt idx="596">
                  <c:v>41744</c:v>
                </c:pt>
                <c:pt idx="597">
                  <c:v>41745</c:v>
                </c:pt>
                <c:pt idx="598">
                  <c:v>41746</c:v>
                </c:pt>
                <c:pt idx="599">
                  <c:v>41747</c:v>
                </c:pt>
                <c:pt idx="600">
                  <c:v>41750</c:v>
                </c:pt>
                <c:pt idx="601">
                  <c:v>41751</c:v>
                </c:pt>
                <c:pt idx="602">
                  <c:v>41752</c:v>
                </c:pt>
                <c:pt idx="603">
                  <c:v>41753</c:v>
                </c:pt>
                <c:pt idx="604">
                  <c:v>41754</c:v>
                </c:pt>
                <c:pt idx="605">
                  <c:v>41757</c:v>
                </c:pt>
                <c:pt idx="606">
                  <c:v>41758</c:v>
                </c:pt>
                <c:pt idx="607">
                  <c:v>41759</c:v>
                </c:pt>
                <c:pt idx="608">
                  <c:v>41760</c:v>
                </c:pt>
                <c:pt idx="609">
                  <c:v>41761</c:v>
                </c:pt>
                <c:pt idx="610">
                  <c:v>41764</c:v>
                </c:pt>
                <c:pt idx="611">
                  <c:v>41765</c:v>
                </c:pt>
                <c:pt idx="612">
                  <c:v>41766</c:v>
                </c:pt>
                <c:pt idx="613">
                  <c:v>41767</c:v>
                </c:pt>
                <c:pt idx="614">
                  <c:v>41768</c:v>
                </c:pt>
                <c:pt idx="615">
                  <c:v>41771</c:v>
                </c:pt>
                <c:pt idx="616">
                  <c:v>41772</c:v>
                </c:pt>
                <c:pt idx="617">
                  <c:v>41773</c:v>
                </c:pt>
                <c:pt idx="618">
                  <c:v>41774</c:v>
                </c:pt>
                <c:pt idx="619">
                  <c:v>41775</c:v>
                </c:pt>
                <c:pt idx="620">
                  <c:v>41778</c:v>
                </c:pt>
                <c:pt idx="621">
                  <c:v>41779</c:v>
                </c:pt>
                <c:pt idx="622">
                  <c:v>41780</c:v>
                </c:pt>
                <c:pt idx="623">
                  <c:v>41781</c:v>
                </c:pt>
                <c:pt idx="624">
                  <c:v>41782</c:v>
                </c:pt>
                <c:pt idx="625">
                  <c:v>41785</c:v>
                </c:pt>
                <c:pt idx="626">
                  <c:v>41786</c:v>
                </c:pt>
                <c:pt idx="627">
                  <c:v>41787</c:v>
                </c:pt>
                <c:pt idx="628">
                  <c:v>41788</c:v>
                </c:pt>
                <c:pt idx="629">
                  <c:v>41789</c:v>
                </c:pt>
                <c:pt idx="630">
                  <c:v>41792</c:v>
                </c:pt>
                <c:pt idx="631">
                  <c:v>41793</c:v>
                </c:pt>
                <c:pt idx="632">
                  <c:v>41794</c:v>
                </c:pt>
                <c:pt idx="633">
                  <c:v>41795</c:v>
                </c:pt>
                <c:pt idx="634">
                  <c:v>41796</c:v>
                </c:pt>
                <c:pt idx="635">
                  <c:v>41799</c:v>
                </c:pt>
                <c:pt idx="636">
                  <c:v>41800</c:v>
                </c:pt>
                <c:pt idx="637">
                  <c:v>41801</c:v>
                </c:pt>
                <c:pt idx="638">
                  <c:v>41802</c:v>
                </c:pt>
                <c:pt idx="639">
                  <c:v>41803</c:v>
                </c:pt>
                <c:pt idx="640">
                  <c:v>41806</c:v>
                </c:pt>
                <c:pt idx="641">
                  <c:v>41807</c:v>
                </c:pt>
                <c:pt idx="642">
                  <c:v>41808</c:v>
                </c:pt>
                <c:pt idx="643">
                  <c:v>41809</c:v>
                </c:pt>
                <c:pt idx="644">
                  <c:v>41810</c:v>
                </c:pt>
                <c:pt idx="645">
                  <c:v>41813</c:v>
                </c:pt>
                <c:pt idx="646">
                  <c:v>41814</c:v>
                </c:pt>
                <c:pt idx="647">
                  <c:v>41815</c:v>
                </c:pt>
                <c:pt idx="648">
                  <c:v>41816</c:v>
                </c:pt>
                <c:pt idx="649">
                  <c:v>41817</c:v>
                </c:pt>
                <c:pt idx="650">
                  <c:v>41820</c:v>
                </c:pt>
                <c:pt idx="651">
                  <c:v>41821</c:v>
                </c:pt>
                <c:pt idx="652">
                  <c:v>41822</c:v>
                </c:pt>
                <c:pt idx="653">
                  <c:v>41823</c:v>
                </c:pt>
                <c:pt idx="654">
                  <c:v>41824</c:v>
                </c:pt>
                <c:pt idx="655">
                  <c:v>41827</c:v>
                </c:pt>
                <c:pt idx="656">
                  <c:v>41828</c:v>
                </c:pt>
                <c:pt idx="657">
                  <c:v>41829</c:v>
                </c:pt>
                <c:pt idx="658">
                  <c:v>41830</c:v>
                </c:pt>
                <c:pt idx="659">
                  <c:v>41831</c:v>
                </c:pt>
                <c:pt idx="660">
                  <c:v>41834</c:v>
                </c:pt>
                <c:pt idx="661">
                  <c:v>41835</c:v>
                </c:pt>
                <c:pt idx="662">
                  <c:v>41836</c:v>
                </c:pt>
                <c:pt idx="663">
                  <c:v>41837</c:v>
                </c:pt>
                <c:pt idx="664">
                  <c:v>41838</c:v>
                </c:pt>
                <c:pt idx="665">
                  <c:v>41841</c:v>
                </c:pt>
                <c:pt idx="666">
                  <c:v>41842</c:v>
                </c:pt>
                <c:pt idx="667">
                  <c:v>41843</c:v>
                </c:pt>
                <c:pt idx="668">
                  <c:v>41844</c:v>
                </c:pt>
                <c:pt idx="669">
                  <c:v>41845</c:v>
                </c:pt>
                <c:pt idx="670">
                  <c:v>41848</c:v>
                </c:pt>
                <c:pt idx="671">
                  <c:v>41849</c:v>
                </c:pt>
                <c:pt idx="672">
                  <c:v>41850</c:v>
                </c:pt>
                <c:pt idx="673">
                  <c:v>41851</c:v>
                </c:pt>
                <c:pt idx="674">
                  <c:v>41852</c:v>
                </c:pt>
                <c:pt idx="675">
                  <c:v>41855</c:v>
                </c:pt>
                <c:pt idx="676">
                  <c:v>41856</c:v>
                </c:pt>
                <c:pt idx="677">
                  <c:v>41857</c:v>
                </c:pt>
                <c:pt idx="678">
                  <c:v>41858</c:v>
                </c:pt>
                <c:pt idx="679">
                  <c:v>41859</c:v>
                </c:pt>
                <c:pt idx="680">
                  <c:v>41862</c:v>
                </c:pt>
                <c:pt idx="681">
                  <c:v>41863</c:v>
                </c:pt>
                <c:pt idx="682">
                  <c:v>41864</c:v>
                </c:pt>
                <c:pt idx="683">
                  <c:v>41865</c:v>
                </c:pt>
                <c:pt idx="684">
                  <c:v>41866</c:v>
                </c:pt>
                <c:pt idx="685">
                  <c:v>41869</c:v>
                </c:pt>
                <c:pt idx="686">
                  <c:v>41870</c:v>
                </c:pt>
                <c:pt idx="687">
                  <c:v>41871</c:v>
                </c:pt>
                <c:pt idx="688">
                  <c:v>41872</c:v>
                </c:pt>
                <c:pt idx="689">
                  <c:v>41873</c:v>
                </c:pt>
                <c:pt idx="690">
                  <c:v>41876</c:v>
                </c:pt>
                <c:pt idx="691">
                  <c:v>41877</c:v>
                </c:pt>
                <c:pt idx="692">
                  <c:v>41878</c:v>
                </c:pt>
                <c:pt idx="693">
                  <c:v>41879</c:v>
                </c:pt>
                <c:pt idx="694">
                  <c:v>41880</c:v>
                </c:pt>
                <c:pt idx="695">
                  <c:v>41883</c:v>
                </c:pt>
                <c:pt idx="696">
                  <c:v>41884</c:v>
                </c:pt>
                <c:pt idx="697">
                  <c:v>41885</c:v>
                </c:pt>
                <c:pt idx="698">
                  <c:v>41886</c:v>
                </c:pt>
                <c:pt idx="699">
                  <c:v>41887</c:v>
                </c:pt>
                <c:pt idx="700">
                  <c:v>41890</c:v>
                </c:pt>
                <c:pt idx="701">
                  <c:v>41891</c:v>
                </c:pt>
                <c:pt idx="702">
                  <c:v>41892</c:v>
                </c:pt>
                <c:pt idx="703">
                  <c:v>41893</c:v>
                </c:pt>
                <c:pt idx="704">
                  <c:v>41894</c:v>
                </c:pt>
                <c:pt idx="705">
                  <c:v>41897</c:v>
                </c:pt>
                <c:pt idx="706">
                  <c:v>41898</c:v>
                </c:pt>
                <c:pt idx="707">
                  <c:v>41899</c:v>
                </c:pt>
                <c:pt idx="708">
                  <c:v>41900</c:v>
                </c:pt>
                <c:pt idx="709">
                  <c:v>41901</c:v>
                </c:pt>
                <c:pt idx="710">
                  <c:v>41904</c:v>
                </c:pt>
                <c:pt idx="711">
                  <c:v>41905</c:v>
                </c:pt>
                <c:pt idx="712">
                  <c:v>41906</c:v>
                </c:pt>
                <c:pt idx="713">
                  <c:v>41907</c:v>
                </c:pt>
                <c:pt idx="714">
                  <c:v>41908</c:v>
                </c:pt>
                <c:pt idx="715">
                  <c:v>41911</c:v>
                </c:pt>
                <c:pt idx="716">
                  <c:v>41912</c:v>
                </c:pt>
                <c:pt idx="717">
                  <c:v>41913</c:v>
                </c:pt>
                <c:pt idx="718">
                  <c:v>41914</c:v>
                </c:pt>
                <c:pt idx="719">
                  <c:v>41915</c:v>
                </c:pt>
                <c:pt idx="720">
                  <c:v>41918</c:v>
                </c:pt>
                <c:pt idx="721">
                  <c:v>41919</c:v>
                </c:pt>
                <c:pt idx="722">
                  <c:v>41920</c:v>
                </c:pt>
                <c:pt idx="723">
                  <c:v>41921</c:v>
                </c:pt>
                <c:pt idx="724">
                  <c:v>41922</c:v>
                </c:pt>
                <c:pt idx="725">
                  <c:v>41925</c:v>
                </c:pt>
                <c:pt idx="726">
                  <c:v>41926</c:v>
                </c:pt>
                <c:pt idx="727">
                  <c:v>41927</c:v>
                </c:pt>
                <c:pt idx="728">
                  <c:v>41928</c:v>
                </c:pt>
                <c:pt idx="729">
                  <c:v>41929</c:v>
                </c:pt>
                <c:pt idx="730">
                  <c:v>41932</c:v>
                </c:pt>
                <c:pt idx="731">
                  <c:v>41933</c:v>
                </c:pt>
                <c:pt idx="732">
                  <c:v>41934</c:v>
                </c:pt>
                <c:pt idx="733">
                  <c:v>41935</c:v>
                </c:pt>
                <c:pt idx="734">
                  <c:v>41936</c:v>
                </c:pt>
                <c:pt idx="735">
                  <c:v>41939</c:v>
                </c:pt>
                <c:pt idx="736">
                  <c:v>41940</c:v>
                </c:pt>
                <c:pt idx="737">
                  <c:v>41941</c:v>
                </c:pt>
                <c:pt idx="738">
                  <c:v>41942</c:v>
                </c:pt>
                <c:pt idx="739">
                  <c:v>41943</c:v>
                </c:pt>
                <c:pt idx="740">
                  <c:v>41946</c:v>
                </c:pt>
                <c:pt idx="741">
                  <c:v>41947</c:v>
                </c:pt>
                <c:pt idx="742">
                  <c:v>41948</c:v>
                </c:pt>
                <c:pt idx="743">
                  <c:v>41949</c:v>
                </c:pt>
                <c:pt idx="744">
                  <c:v>41950</c:v>
                </c:pt>
                <c:pt idx="745">
                  <c:v>41953</c:v>
                </c:pt>
                <c:pt idx="746">
                  <c:v>41954</c:v>
                </c:pt>
                <c:pt idx="747">
                  <c:v>41955</c:v>
                </c:pt>
                <c:pt idx="748">
                  <c:v>41956</c:v>
                </c:pt>
                <c:pt idx="749">
                  <c:v>41957</c:v>
                </c:pt>
                <c:pt idx="750">
                  <c:v>41960</c:v>
                </c:pt>
                <c:pt idx="751">
                  <c:v>41961</c:v>
                </c:pt>
                <c:pt idx="752">
                  <c:v>41962</c:v>
                </c:pt>
                <c:pt idx="753">
                  <c:v>41963</c:v>
                </c:pt>
                <c:pt idx="754">
                  <c:v>41964</c:v>
                </c:pt>
                <c:pt idx="755">
                  <c:v>41967</c:v>
                </c:pt>
                <c:pt idx="756">
                  <c:v>41968</c:v>
                </c:pt>
                <c:pt idx="757">
                  <c:v>41969</c:v>
                </c:pt>
                <c:pt idx="758">
                  <c:v>41970</c:v>
                </c:pt>
                <c:pt idx="759">
                  <c:v>41971</c:v>
                </c:pt>
                <c:pt idx="760">
                  <c:v>41974</c:v>
                </c:pt>
                <c:pt idx="761">
                  <c:v>41975</c:v>
                </c:pt>
                <c:pt idx="762">
                  <c:v>41976</c:v>
                </c:pt>
                <c:pt idx="763">
                  <c:v>41977</c:v>
                </c:pt>
                <c:pt idx="764">
                  <c:v>41978</c:v>
                </c:pt>
                <c:pt idx="765">
                  <c:v>41981</c:v>
                </c:pt>
                <c:pt idx="766">
                  <c:v>41982</c:v>
                </c:pt>
                <c:pt idx="767">
                  <c:v>41983</c:v>
                </c:pt>
                <c:pt idx="768">
                  <c:v>41984</c:v>
                </c:pt>
                <c:pt idx="769">
                  <c:v>41985</c:v>
                </c:pt>
                <c:pt idx="770">
                  <c:v>41988</c:v>
                </c:pt>
                <c:pt idx="771">
                  <c:v>41989</c:v>
                </c:pt>
                <c:pt idx="772">
                  <c:v>41990</c:v>
                </c:pt>
                <c:pt idx="773">
                  <c:v>41991</c:v>
                </c:pt>
                <c:pt idx="774">
                  <c:v>41992</c:v>
                </c:pt>
                <c:pt idx="775">
                  <c:v>41995</c:v>
                </c:pt>
                <c:pt idx="776">
                  <c:v>41996</c:v>
                </c:pt>
                <c:pt idx="777">
                  <c:v>41997</c:v>
                </c:pt>
                <c:pt idx="778">
                  <c:v>41998</c:v>
                </c:pt>
                <c:pt idx="779">
                  <c:v>41999</c:v>
                </c:pt>
                <c:pt idx="780">
                  <c:v>42002</c:v>
                </c:pt>
                <c:pt idx="781">
                  <c:v>42003</c:v>
                </c:pt>
                <c:pt idx="782">
                  <c:v>42004</c:v>
                </c:pt>
                <c:pt idx="783">
                  <c:v>42005</c:v>
                </c:pt>
                <c:pt idx="784">
                  <c:v>42006</c:v>
                </c:pt>
                <c:pt idx="785">
                  <c:v>42009</c:v>
                </c:pt>
                <c:pt idx="786">
                  <c:v>42010</c:v>
                </c:pt>
                <c:pt idx="787">
                  <c:v>42011</c:v>
                </c:pt>
                <c:pt idx="788">
                  <c:v>42012</c:v>
                </c:pt>
                <c:pt idx="789">
                  <c:v>42013</c:v>
                </c:pt>
                <c:pt idx="790">
                  <c:v>42016</c:v>
                </c:pt>
                <c:pt idx="791">
                  <c:v>42017</c:v>
                </c:pt>
                <c:pt idx="792">
                  <c:v>42018</c:v>
                </c:pt>
                <c:pt idx="793">
                  <c:v>42019</c:v>
                </c:pt>
                <c:pt idx="794">
                  <c:v>42020</c:v>
                </c:pt>
                <c:pt idx="795">
                  <c:v>42023</c:v>
                </c:pt>
                <c:pt idx="796">
                  <c:v>42024</c:v>
                </c:pt>
                <c:pt idx="797">
                  <c:v>42025</c:v>
                </c:pt>
                <c:pt idx="798">
                  <c:v>42026</c:v>
                </c:pt>
                <c:pt idx="799">
                  <c:v>42027</c:v>
                </c:pt>
                <c:pt idx="800">
                  <c:v>42030</c:v>
                </c:pt>
                <c:pt idx="801">
                  <c:v>42031</c:v>
                </c:pt>
                <c:pt idx="802">
                  <c:v>42032</c:v>
                </c:pt>
                <c:pt idx="803">
                  <c:v>42033</c:v>
                </c:pt>
                <c:pt idx="804">
                  <c:v>42034</c:v>
                </c:pt>
                <c:pt idx="805">
                  <c:v>42037</c:v>
                </c:pt>
                <c:pt idx="806">
                  <c:v>42038</c:v>
                </c:pt>
                <c:pt idx="807">
                  <c:v>42039</c:v>
                </c:pt>
                <c:pt idx="808">
                  <c:v>42040</c:v>
                </c:pt>
                <c:pt idx="809">
                  <c:v>42041</c:v>
                </c:pt>
                <c:pt idx="810">
                  <c:v>42044</c:v>
                </c:pt>
                <c:pt idx="811">
                  <c:v>42045</c:v>
                </c:pt>
                <c:pt idx="812">
                  <c:v>42046</c:v>
                </c:pt>
                <c:pt idx="813">
                  <c:v>42047</c:v>
                </c:pt>
                <c:pt idx="814">
                  <c:v>42048</c:v>
                </c:pt>
                <c:pt idx="815">
                  <c:v>42051</c:v>
                </c:pt>
                <c:pt idx="816">
                  <c:v>42052</c:v>
                </c:pt>
                <c:pt idx="817">
                  <c:v>42053</c:v>
                </c:pt>
                <c:pt idx="818">
                  <c:v>42054</c:v>
                </c:pt>
                <c:pt idx="819">
                  <c:v>42055</c:v>
                </c:pt>
                <c:pt idx="820">
                  <c:v>42058</c:v>
                </c:pt>
                <c:pt idx="821">
                  <c:v>42059</c:v>
                </c:pt>
                <c:pt idx="822">
                  <c:v>42060</c:v>
                </c:pt>
                <c:pt idx="823">
                  <c:v>42061</c:v>
                </c:pt>
                <c:pt idx="824">
                  <c:v>42062</c:v>
                </c:pt>
                <c:pt idx="825">
                  <c:v>42065</c:v>
                </c:pt>
                <c:pt idx="826">
                  <c:v>42066</c:v>
                </c:pt>
                <c:pt idx="827">
                  <c:v>42067</c:v>
                </c:pt>
                <c:pt idx="828">
                  <c:v>42068</c:v>
                </c:pt>
                <c:pt idx="829">
                  <c:v>42069</c:v>
                </c:pt>
                <c:pt idx="830">
                  <c:v>42072</c:v>
                </c:pt>
                <c:pt idx="831">
                  <c:v>42073</c:v>
                </c:pt>
                <c:pt idx="832">
                  <c:v>42074</c:v>
                </c:pt>
                <c:pt idx="833">
                  <c:v>42075</c:v>
                </c:pt>
                <c:pt idx="834">
                  <c:v>42076</c:v>
                </c:pt>
                <c:pt idx="835">
                  <c:v>42079</c:v>
                </c:pt>
                <c:pt idx="836">
                  <c:v>42080</c:v>
                </c:pt>
                <c:pt idx="837">
                  <c:v>42081</c:v>
                </c:pt>
                <c:pt idx="838">
                  <c:v>42082</c:v>
                </c:pt>
                <c:pt idx="839">
                  <c:v>42083</c:v>
                </c:pt>
                <c:pt idx="840">
                  <c:v>42086</c:v>
                </c:pt>
                <c:pt idx="841">
                  <c:v>42087</c:v>
                </c:pt>
                <c:pt idx="842">
                  <c:v>42088</c:v>
                </c:pt>
                <c:pt idx="843">
                  <c:v>42089</c:v>
                </c:pt>
                <c:pt idx="844">
                  <c:v>42090</c:v>
                </c:pt>
                <c:pt idx="845">
                  <c:v>42093</c:v>
                </c:pt>
                <c:pt idx="846">
                  <c:v>42094</c:v>
                </c:pt>
                <c:pt idx="847">
                  <c:v>42095</c:v>
                </c:pt>
                <c:pt idx="848">
                  <c:v>42096</c:v>
                </c:pt>
                <c:pt idx="849">
                  <c:v>42097</c:v>
                </c:pt>
                <c:pt idx="850">
                  <c:v>42100</c:v>
                </c:pt>
                <c:pt idx="851">
                  <c:v>42101</c:v>
                </c:pt>
                <c:pt idx="852">
                  <c:v>42102</c:v>
                </c:pt>
                <c:pt idx="853">
                  <c:v>42103</c:v>
                </c:pt>
                <c:pt idx="854">
                  <c:v>42104</c:v>
                </c:pt>
                <c:pt idx="855">
                  <c:v>42107</c:v>
                </c:pt>
                <c:pt idx="856">
                  <c:v>42108</c:v>
                </c:pt>
                <c:pt idx="857">
                  <c:v>42109</c:v>
                </c:pt>
                <c:pt idx="858">
                  <c:v>42110</c:v>
                </c:pt>
                <c:pt idx="859">
                  <c:v>42111</c:v>
                </c:pt>
                <c:pt idx="860">
                  <c:v>42114</c:v>
                </c:pt>
                <c:pt idx="861">
                  <c:v>42115</c:v>
                </c:pt>
                <c:pt idx="862">
                  <c:v>42116</c:v>
                </c:pt>
                <c:pt idx="863">
                  <c:v>42117</c:v>
                </c:pt>
                <c:pt idx="864">
                  <c:v>42118</c:v>
                </c:pt>
                <c:pt idx="865">
                  <c:v>42121</c:v>
                </c:pt>
                <c:pt idx="866">
                  <c:v>42122</c:v>
                </c:pt>
                <c:pt idx="867">
                  <c:v>42123</c:v>
                </c:pt>
                <c:pt idx="868">
                  <c:v>42124</c:v>
                </c:pt>
                <c:pt idx="869">
                  <c:v>42125</c:v>
                </c:pt>
                <c:pt idx="870">
                  <c:v>42128</c:v>
                </c:pt>
                <c:pt idx="871">
                  <c:v>42129</c:v>
                </c:pt>
                <c:pt idx="872">
                  <c:v>42130</c:v>
                </c:pt>
                <c:pt idx="873">
                  <c:v>42131</c:v>
                </c:pt>
                <c:pt idx="874">
                  <c:v>42132</c:v>
                </c:pt>
                <c:pt idx="875">
                  <c:v>42135</c:v>
                </c:pt>
                <c:pt idx="876">
                  <c:v>42136</c:v>
                </c:pt>
                <c:pt idx="877">
                  <c:v>42137</c:v>
                </c:pt>
                <c:pt idx="878">
                  <c:v>42138</c:v>
                </c:pt>
                <c:pt idx="879">
                  <c:v>42139</c:v>
                </c:pt>
                <c:pt idx="880">
                  <c:v>42142</c:v>
                </c:pt>
                <c:pt idx="881">
                  <c:v>42143</c:v>
                </c:pt>
                <c:pt idx="882">
                  <c:v>42144</c:v>
                </c:pt>
                <c:pt idx="883">
                  <c:v>42145</c:v>
                </c:pt>
                <c:pt idx="884">
                  <c:v>42146</c:v>
                </c:pt>
                <c:pt idx="885">
                  <c:v>42149</c:v>
                </c:pt>
                <c:pt idx="886">
                  <c:v>42150</c:v>
                </c:pt>
                <c:pt idx="887">
                  <c:v>42151</c:v>
                </c:pt>
                <c:pt idx="888">
                  <c:v>42152</c:v>
                </c:pt>
                <c:pt idx="889">
                  <c:v>42153</c:v>
                </c:pt>
                <c:pt idx="890">
                  <c:v>42156</c:v>
                </c:pt>
                <c:pt idx="891">
                  <c:v>42157</c:v>
                </c:pt>
                <c:pt idx="892">
                  <c:v>42158</c:v>
                </c:pt>
                <c:pt idx="893">
                  <c:v>42159</c:v>
                </c:pt>
                <c:pt idx="894">
                  <c:v>42160</c:v>
                </c:pt>
                <c:pt idx="895">
                  <c:v>42163</c:v>
                </c:pt>
                <c:pt idx="896">
                  <c:v>42164</c:v>
                </c:pt>
                <c:pt idx="897">
                  <c:v>42165</c:v>
                </c:pt>
                <c:pt idx="898">
                  <c:v>42166</c:v>
                </c:pt>
                <c:pt idx="899">
                  <c:v>42167</c:v>
                </c:pt>
                <c:pt idx="900">
                  <c:v>42170</c:v>
                </c:pt>
                <c:pt idx="901">
                  <c:v>42171</c:v>
                </c:pt>
                <c:pt idx="902">
                  <c:v>42172</c:v>
                </c:pt>
                <c:pt idx="903">
                  <c:v>42173</c:v>
                </c:pt>
                <c:pt idx="904">
                  <c:v>42174</c:v>
                </c:pt>
                <c:pt idx="905">
                  <c:v>42177</c:v>
                </c:pt>
                <c:pt idx="906">
                  <c:v>42178</c:v>
                </c:pt>
                <c:pt idx="907">
                  <c:v>42179</c:v>
                </c:pt>
                <c:pt idx="908">
                  <c:v>42180</c:v>
                </c:pt>
                <c:pt idx="909">
                  <c:v>42181</c:v>
                </c:pt>
                <c:pt idx="910">
                  <c:v>42184</c:v>
                </c:pt>
                <c:pt idx="911">
                  <c:v>42185</c:v>
                </c:pt>
                <c:pt idx="912">
                  <c:v>42186</c:v>
                </c:pt>
                <c:pt idx="913">
                  <c:v>42187</c:v>
                </c:pt>
                <c:pt idx="914">
                  <c:v>42188</c:v>
                </c:pt>
                <c:pt idx="915">
                  <c:v>42191</c:v>
                </c:pt>
                <c:pt idx="916">
                  <c:v>42192</c:v>
                </c:pt>
                <c:pt idx="917">
                  <c:v>42193</c:v>
                </c:pt>
                <c:pt idx="918">
                  <c:v>42194</c:v>
                </c:pt>
                <c:pt idx="919">
                  <c:v>42195</c:v>
                </c:pt>
                <c:pt idx="920">
                  <c:v>42198</c:v>
                </c:pt>
                <c:pt idx="921">
                  <c:v>42199</c:v>
                </c:pt>
                <c:pt idx="922">
                  <c:v>42200</c:v>
                </c:pt>
                <c:pt idx="923">
                  <c:v>42201</c:v>
                </c:pt>
                <c:pt idx="924">
                  <c:v>42202</c:v>
                </c:pt>
                <c:pt idx="925">
                  <c:v>42205</c:v>
                </c:pt>
                <c:pt idx="926">
                  <c:v>42206</c:v>
                </c:pt>
                <c:pt idx="927">
                  <c:v>42207</c:v>
                </c:pt>
                <c:pt idx="928">
                  <c:v>42208</c:v>
                </c:pt>
                <c:pt idx="929">
                  <c:v>42209</c:v>
                </c:pt>
                <c:pt idx="930">
                  <c:v>42212</c:v>
                </c:pt>
                <c:pt idx="931">
                  <c:v>42213</c:v>
                </c:pt>
                <c:pt idx="932">
                  <c:v>42214</c:v>
                </c:pt>
                <c:pt idx="933">
                  <c:v>42215</c:v>
                </c:pt>
                <c:pt idx="934">
                  <c:v>42216</c:v>
                </c:pt>
                <c:pt idx="935">
                  <c:v>42219</c:v>
                </c:pt>
                <c:pt idx="936">
                  <c:v>42220</c:v>
                </c:pt>
                <c:pt idx="937">
                  <c:v>42221</c:v>
                </c:pt>
                <c:pt idx="938">
                  <c:v>42222</c:v>
                </c:pt>
                <c:pt idx="939">
                  <c:v>42223</c:v>
                </c:pt>
                <c:pt idx="940">
                  <c:v>42226</c:v>
                </c:pt>
                <c:pt idx="941">
                  <c:v>42227</c:v>
                </c:pt>
                <c:pt idx="942">
                  <c:v>42228</c:v>
                </c:pt>
                <c:pt idx="943">
                  <c:v>42229</c:v>
                </c:pt>
                <c:pt idx="944">
                  <c:v>42230</c:v>
                </c:pt>
                <c:pt idx="945">
                  <c:v>42233</c:v>
                </c:pt>
                <c:pt idx="946">
                  <c:v>42234</c:v>
                </c:pt>
                <c:pt idx="947">
                  <c:v>42235</c:v>
                </c:pt>
                <c:pt idx="948">
                  <c:v>42236</c:v>
                </c:pt>
                <c:pt idx="949">
                  <c:v>42237</c:v>
                </c:pt>
                <c:pt idx="950">
                  <c:v>42240</c:v>
                </c:pt>
                <c:pt idx="951">
                  <c:v>42241</c:v>
                </c:pt>
                <c:pt idx="952">
                  <c:v>42242</c:v>
                </c:pt>
                <c:pt idx="953">
                  <c:v>42243</c:v>
                </c:pt>
                <c:pt idx="954">
                  <c:v>42244</c:v>
                </c:pt>
                <c:pt idx="955">
                  <c:v>42247</c:v>
                </c:pt>
                <c:pt idx="956">
                  <c:v>42248</c:v>
                </c:pt>
                <c:pt idx="957">
                  <c:v>42249</c:v>
                </c:pt>
                <c:pt idx="958">
                  <c:v>42250</c:v>
                </c:pt>
                <c:pt idx="959">
                  <c:v>42251</c:v>
                </c:pt>
                <c:pt idx="960">
                  <c:v>42254</c:v>
                </c:pt>
                <c:pt idx="961">
                  <c:v>42255</c:v>
                </c:pt>
                <c:pt idx="962">
                  <c:v>42256</c:v>
                </c:pt>
                <c:pt idx="963">
                  <c:v>42257</c:v>
                </c:pt>
                <c:pt idx="964">
                  <c:v>42258</c:v>
                </c:pt>
                <c:pt idx="965">
                  <c:v>42261</c:v>
                </c:pt>
                <c:pt idx="966">
                  <c:v>42262</c:v>
                </c:pt>
                <c:pt idx="967">
                  <c:v>42263</c:v>
                </c:pt>
                <c:pt idx="968">
                  <c:v>42264</c:v>
                </c:pt>
                <c:pt idx="969">
                  <c:v>42265</c:v>
                </c:pt>
                <c:pt idx="970">
                  <c:v>42268</c:v>
                </c:pt>
                <c:pt idx="971">
                  <c:v>42269</c:v>
                </c:pt>
                <c:pt idx="972">
                  <c:v>42270</c:v>
                </c:pt>
                <c:pt idx="973">
                  <c:v>42271</c:v>
                </c:pt>
                <c:pt idx="974">
                  <c:v>42272</c:v>
                </c:pt>
                <c:pt idx="975">
                  <c:v>42275</c:v>
                </c:pt>
                <c:pt idx="976">
                  <c:v>42276</c:v>
                </c:pt>
                <c:pt idx="977">
                  <c:v>42277</c:v>
                </c:pt>
                <c:pt idx="978">
                  <c:v>42278</c:v>
                </c:pt>
                <c:pt idx="979">
                  <c:v>42279</c:v>
                </c:pt>
                <c:pt idx="980">
                  <c:v>42282</c:v>
                </c:pt>
                <c:pt idx="981">
                  <c:v>42283</c:v>
                </c:pt>
                <c:pt idx="982">
                  <c:v>42284</c:v>
                </c:pt>
                <c:pt idx="983">
                  <c:v>42285</c:v>
                </c:pt>
                <c:pt idx="984">
                  <c:v>42286</c:v>
                </c:pt>
                <c:pt idx="985">
                  <c:v>42289</c:v>
                </c:pt>
                <c:pt idx="986">
                  <c:v>42290</c:v>
                </c:pt>
                <c:pt idx="987">
                  <c:v>42291</c:v>
                </c:pt>
                <c:pt idx="988">
                  <c:v>42292</c:v>
                </c:pt>
                <c:pt idx="989">
                  <c:v>42293</c:v>
                </c:pt>
                <c:pt idx="990">
                  <c:v>42296</c:v>
                </c:pt>
                <c:pt idx="991">
                  <c:v>42297</c:v>
                </c:pt>
                <c:pt idx="992">
                  <c:v>42298</c:v>
                </c:pt>
                <c:pt idx="993">
                  <c:v>42299</c:v>
                </c:pt>
                <c:pt idx="994">
                  <c:v>42300</c:v>
                </c:pt>
                <c:pt idx="995">
                  <c:v>42303</c:v>
                </c:pt>
                <c:pt idx="996">
                  <c:v>42304</c:v>
                </c:pt>
                <c:pt idx="997">
                  <c:v>42305</c:v>
                </c:pt>
                <c:pt idx="998">
                  <c:v>42306</c:v>
                </c:pt>
                <c:pt idx="999">
                  <c:v>42307</c:v>
                </c:pt>
                <c:pt idx="1000">
                  <c:v>42310</c:v>
                </c:pt>
                <c:pt idx="1001">
                  <c:v>42311</c:v>
                </c:pt>
                <c:pt idx="1002">
                  <c:v>42312</c:v>
                </c:pt>
                <c:pt idx="1003">
                  <c:v>42313</c:v>
                </c:pt>
                <c:pt idx="1004">
                  <c:v>42314</c:v>
                </c:pt>
                <c:pt idx="1005">
                  <c:v>42317</c:v>
                </c:pt>
                <c:pt idx="1006">
                  <c:v>42318</c:v>
                </c:pt>
                <c:pt idx="1007">
                  <c:v>42319</c:v>
                </c:pt>
                <c:pt idx="1008">
                  <c:v>42320</c:v>
                </c:pt>
                <c:pt idx="1009">
                  <c:v>42321</c:v>
                </c:pt>
                <c:pt idx="1010">
                  <c:v>42324</c:v>
                </c:pt>
                <c:pt idx="1011">
                  <c:v>42325</c:v>
                </c:pt>
                <c:pt idx="1012">
                  <c:v>42326</c:v>
                </c:pt>
                <c:pt idx="1013">
                  <c:v>42327</c:v>
                </c:pt>
                <c:pt idx="1014">
                  <c:v>42328</c:v>
                </c:pt>
                <c:pt idx="1015">
                  <c:v>42331</c:v>
                </c:pt>
                <c:pt idx="1016">
                  <c:v>42332</c:v>
                </c:pt>
              </c:numCache>
            </c:numRef>
          </c:cat>
          <c:val>
            <c:numRef>
              <c:f>[alco.xlsm]cds!$P$1578:$P$5000</c:f>
              <c:numCache>
                <c:formatCode>General</c:formatCode>
                <c:ptCount val="3423"/>
                <c:pt idx="0">
                  <c:v>402.14990000000006</c:v>
                </c:pt>
                <c:pt idx="1">
                  <c:v>399.95000000000005</c:v>
                </c:pt>
                <c:pt idx="2">
                  <c:v>413.16990000000004</c:v>
                </c:pt>
                <c:pt idx="3">
                  <c:v>422.15990000000005</c:v>
                </c:pt>
                <c:pt idx="4">
                  <c:v>416.91990000000004</c:v>
                </c:pt>
                <c:pt idx="5">
                  <c:v>417.41990000000004</c:v>
                </c:pt>
                <c:pt idx="6">
                  <c:v>409.57980000000003</c:v>
                </c:pt>
                <c:pt idx="7">
                  <c:v>400.56980000000004</c:v>
                </c:pt>
                <c:pt idx="8">
                  <c:v>396.23</c:v>
                </c:pt>
                <c:pt idx="9">
                  <c:v>400.7998</c:v>
                </c:pt>
                <c:pt idx="10">
                  <c:v>400.7998</c:v>
                </c:pt>
                <c:pt idx="11">
                  <c:v>398.62990000000002</c:v>
                </c:pt>
                <c:pt idx="12">
                  <c:v>396.06980000000004</c:v>
                </c:pt>
                <c:pt idx="13">
                  <c:v>380.91990000000004</c:v>
                </c:pt>
                <c:pt idx="14">
                  <c:v>380.85990000000004</c:v>
                </c:pt>
                <c:pt idx="15">
                  <c:v>375.17990000000003</c:v>
                </c:pt>
                <c:pt idx="16">
                  <c:v>375.17990000000003</c:v>
                </c:pt>
                <c:pt idx="17">
                  <c:v>369.27980000000002</c:v>
                </c:pt>
                <c:pt idx="18">
                  <c:v>362.63990000000001</c:v>
                </c:pt>
                <c:pt idx="19">
                  <c:v>358.03980000000001</c:v>
                </c:pt>
                <c:pt idx="20">
                  <c:v>361.16990000000004</c:v>
                </c:pt>
                <c:pt idx="21">
                  <c:v>355.82980000000003</c:v>
                </c:pt>
                <c:pt idx="22">
                  <c:v>340.24</c:v>
                </c:pt>
                <c:pt idx="23">
                  <c:v>340.34990000000005</c:v>
                </c:pt>
                <c:pt idx="24">
                  <c:v>327.0498</c:v>
                </c:pt>
                <c:pt idx="25">
                  <c:v>326.91990000000004</c:v>
                </c:pt>
                <c:pt idx="26">
                  <c:v>326.91990000000004</c:v>
                </c:pt>
                <c:pt idx="27">
                  <c:v>326.96000000000004</c:v>
                </c:pt>
                <c:pt idx="28">
                  <c:v>327.00980000000004</c:v>
                </c:pt>
                <c:pt idx="29">
                  <c:v>330.09990000000005</c:v>
                </c:pt>
                <c:pt idx="30">
                  <c:v>329.76980000000003</c:v>
                </c:pt>
                <c:pt idx="31">
                  <c:v>334.21000000000004</c:v>
                </c:pt>
                <c:pt idx="32">
                  <c:v>335.01980000000003</c:v>
                </c:pt>
                <c:pt idx="33">
                  <c:v>335.97</c:v>
                </c:pt>
                <c:pt idx="34">
                  <c:v>333.73</c:v>
                </c:pt>
                <c:pt idx="35">
                  <c:v>333.75</c:v>
                </c:pt>
                <c:pt idx="36">
                  <c:v>329.25</c:v>
                </c:pt>
                <c:pt idx="37">
                  <c:v>330.15990000000005</c:v>
                </c:pt>
                <c:pt idx="38">
                  <c:v>327.12990000000002</c:v>
                </c:pt>
                <c:pt idx="39">
                  <c:v>322.66990000000004</c:v>
                </c:pt>
                <c:pt idx="40">
                  <c:v>318.17990000000003</c:v>
                </c:pt>
                <c:pt idx="41">
                  <c:v>312.71000000000004</c:v>
                </c:pt>
                <c:pt idx="42">
                  <c:v>310.50980000000004</c:v>
                </c:pt>
                <c:pt idx="43">
                  <c:v>307.0498</c:v>
                </c:pt>
                <c:pt idx="44">
                  <c:v>298.06980000000004</c:v>
                </c:pt>
                <c:pt idx="45">
                  <c:v>293.71000000000004</c:v>
                </c:pt>
                <c:pt idx="46">
                  <c:v>302.61990000000003</c:v>
                </c:pt>
                <c:pt idx="47">
                  <c:v>300.45000000000005</c:v>
                </c:pt>
                <c:pt idx="48">
                  <c:v>298.21000000000004</c:v>
                </c:pt>
                <c:pt idx="49">
                  <c:v>295.10990000000004</c:v>
                </c:pt>
                <c:pt idx="50">
                  <c:v>285.71000000000004</c:v>
                </c:pt>
                <c:pt idx="51">
                  <c:v>276.82980000000003</c:v>
                </c:pt>
                <c:pt idx="52">
                  <c:v>264.75980000000004</c:v>
                </c:pt>
                <c:pt idx="53">
                  <c:v>265.69290000000001</c:v>
                </c:pt>
                <c:pt idx="54">
                  <c:v>263.49</c:v>
                </c:pt>
                <c:pt idx="55">
                  <c:v>261.27980000000002</c:v>
                </c:pt>
                <c:pt idx="56">
                  <c:v>261.49</c:v>
                </c:pt>
                <c:pt idx="57">
                  <c:v>262.3098</c:v>
                </c:pt>
                <c:pt idx="58">
                  <c:v>274.49</c:v>
                </c:pt>
                <c:pt idx="59">
                  <c:v>275.40990000000005</c:v>
                </c:pt>
                <c:pt idx="60">
                  <c:v>275.51980000000003</c:v>
                </c:pt>
                <c:pt idx="61">
                  <c:v>274.63990000000001</c:v>
                </c:pt>
                <c:pt idx="62">
                  <c:v>274.27980000000002</c:v>
                </c:pt>
                <c:pt idx="63">
                  <c:v>277.33980000000003</c:v>
                </c:pt>
                <c:pt idx="64">
                  <c:v>277.38990000000001</c:v>
                </c:pt>
                <c:pt idx="65">
                  <c:v>279.18990000000002</c:v>
                </c:pt>
                <c:pt idx="66">
                  <c:v>280.13990000000001</c:v>
                </c:pt>
                <c:pt idx="67">
                  <c:v>284.63990000000001</c:v>
                </c:pt>
                <c:pt idx="68">
                  <c:v>287.83980000000003</c:v>
                </c:pt>
                <c:pt idx="69">
                  <c:v>287.84990000000005</c:v>
                </c:pt>
                <c:pt idx="70">
                  <c:v>288.09990000000005</c:v>
                </c:pt>
                <c:pt idx="71">
                  <c:v>300.09990000000005</c:v>
                </c:pt>
                <c:pt idx="72">
                  <c:v>301.43990000000002</c:v>
                </c:pt>
                <c:pt idx="73">
                  <c:v>298.33980000000003</c:v>
                </c:pt>
                <c:pt idx="74">
                  <c:v>296.56980000000004</c:v>
                </c:pt>
                <c:pt idx="75">
                  <c:v>298.42380000000003</c:v>
                </c:pt>
                <c:pt idx="76">
                  <c:v>294.87990000000002</c:v>
                </c:pt>
                <c:pt idx="77">
                  <c:v>298.00980000000004</c:v>
                </c:pt>
                <c:pt idx="78">
                  <c:v>298.06880000000001</c:v>
                </c:pt>
                <c:pt idx="79">
                  <c:v>301.61990000000003</c:v>
                </c:pt>
                <c:pt idx="80">
                  <c:v>307.05880000000002</c:v>
                </c:pt>
                <c:pt idx="81">
                  <c:v>304.41990000000004</c:v>
                </c:pt>
                <c:pt idx="82">
                  <c:v>304.41990000000004</c:v>
                </c:pt>
                <c:pt idx="83">
                  <c:v>304.47000000000003</c:v>
                </c:pt>
                <c:pt idx="84">
                  <c:v>305.34990000000005</c:v>
                </c:pt>
                <c:pt idx="85">
                  <c:v>307.16990000000004</c:v>
                </c:pt>
                <c:pt idx="86">
                  <c:v>304.0498</c:v>
                </c:pt>
                <c:pt idx="87">
                  <c:v>304.10990000000004</c:v>
                </c:pt>
                <c:pt idx="88">
                  <c:v>301.87990000000002</c:v>
                </c:pt>
                <c:pt idx="89">
                  <c:v>303.26980000000003</c:v>
                </c:pt>
                <c:pt idx="90">
                  <c:v>303.26980000000003</c:v>
                </c:pt>
                <c:pt idx="91">
                  <c:v>303.26980000000003</c:v>
                </c:pt>
                <c:pt idx="92">
                  <c:v>315.8999</c:v>
                </c:pt>
                <c:pt idx="93">
                  <c:v>315.8999</c:v>
                </c:pt>
                <c:pt idx="94">
                  <c:v>317.24</c:v>
                </c:pt>
                <c:pt idx="95">
                  <c:v>355.50000000000006</c:v>
                </c:pt>
                <c:pt idx="96">
                  <c:v>351.00000000000006</c:v>
                </c:pt>
                <c:pt idx="97">
                  <c:v>369.00000000000006</c:v>
                </c:pt>
                <c:pt idx="98">
                  <c:v>378.00000000000006</c:v>
                </c:pt>
                <c:pt idx="99">
                  <c:v>396.00000000000006</c:v>
                </c:pt>
                <c:pt idx="100">
                  <c:v>386.46000000000004</c:v>
                </c:pt>
                <c:pt idx="101">
                  <c:v>369.00000000000006</c:v>
                </c:pt>
                <c:pt idx="102">
                  <c:v>373.50000000000006</c:v>
                </c:pt>
                <c:pt idx="103">
                  <c:v>393.34990000000005</c:v>
                </c:pt>
                <c:pt idx="104">
                  <c:v>400.50000000000006</c:v>
                </c:pt>
                <c:pt idx="105">
                  <c:v>400.50000000000006</c:v>
                </c:pt>
                <c:pt idx="106">
                  <c:v>400.50000000000006</c:v>
                </c:pt>
                <c:pt idx="107">
                  <c:v>417.59990000000005</c:v>
                </c:pt>
                <c:pt idx="108">
                  <c:v>422.09990000000005</c:v>
                </c:pt>
                <c:pt idx="109">
                  <c:v>431.09990000000005</c:v>
                </c:pt>
                <c:pt idx="110">
                  <c:v>431.09990000000005</c:v>
                </c:pt>
                <c:pt idx="111">
                  <c:v>431.09990000000005</c:v>
                </c:pt>
                <c:pt idx="112">
                  <c:v>420.16990000000004</c:v>
                </c:pt>
                <c:pt idx="113">
                  <c:v>402.30980000000005</c:v>
                </c:pt>
                <c:pt idx="114">
                  <c:v>407.30980000000005</c:v>
                </c:pt>
                <c:pt idx="115">
                  <c:v>401.10990000000004</c:v>
                </c:pt>
                <c:pt idx="116">
                  <c:v>401.17990000000003</c:v>
                </c:pt>
                <c:pt idx="117">
                  <c:v>394.00980000000004</c:v>
                </c:pt>
                <c:pt idx="118">
                  <c:v>392.70000000000005</c:v>
                </c:pt>
                <c:pt idx="119">
                  <c:v>380.50980000000004</c:v>
                </c:pt>
                <c:pt idx="120">
                  <c:v>380.72</c:v>
                </c:pt>
                <c:pt idx="121">
                  <c:v>374.02980000000002</c:v>
                </c:pt>
                <c:pt idx="122">
                  <c:v>370.3999</c:v>
                </c:pt>
                <c:pt idx="123">
                  <c:v>370.46000000000004</c:v>
                </c:pt>
                <c:pt idx="124">
                  <c:v>374.04690000000005</c:v>
                </c:pt>
                <c:pt idx="125">
                  <c:v>383.12990000000002</c:v>
                </c:pt>
                <c:pt idx="126">
                  <c:v>383.12990000000002</c:v>
                </c:pt>
                <c:pt idx="127">
                  <c:v>380.93990000000002</c:v>
                </c:pt>
                <c:pt idx="128">
                  <c:v>385.21000000000004</c:v>
                </c:pt>
                <c:pt idx="129">
                  <c:v>371.84990000000005</c:v>
                </c:pt>
                <c:pt idx="130">
                  <c:v>358.45000000000005</c:v>
                </c:pt>
                <c:pt idx="131">
                  <c:v>358.43990000000002</c:v>
                </c:pt>
                <c:pt idx="132">
                  <c:v>358.49</c:v>
                </c:pt>
                <c:pt idx="133">
                  <c:v>361.1499</c:v>
                </c:pt>
                <c:pt idx="134">
                  <c:v>369.70000000000005</c:v>
                </c:pt>
                <c:pt idx="135">
                  <c:v>394.49</c:v>
                </c:pt>
                <c:pt idx="136">
                  <c:v>394.5498</c:v>
                </c:pt>
                <c:pt idx="137">
                  <c:v>381.67990000000003</c:v>
                </c:pt>
                <c:pt idx="138">
                  <c:v>382.52980000000002</c:v>
                </c:pt>
                <c:pt idx="139">
                  <c:v>379.47</c:v>
                </c:pt>
                <c:pt idx="140">
                  <c:v>377.52980000000002</c:v>
                </c:pt>
                <c:pt idx="141">
                  <c:v>368.5498</c:v>
                </c:pt>
                <c:pt idx="142">
                  <c:v>361.38990000000001</c:v>
                </c:pt>
                <c:pt idx="143">
                  <c:v>357.83980000000003</c:v>
                </c:pt>
                <c:pt idx="144">
                  <c:v>363.72</c:v>
                </c:pt>
                <c:pt idx="145">
                  <c:v>395.74</c:v>
                </c:pt>
                <c:pt idx="146">
                  <c:v>404.76980000000003</c:v>
                </c:pt>
                <c:pt idx="147">
                  <c:v>403.42990000000003</c:v>
                </c:pt>
                <c:pt idx="148">
                  <c:v>400.07980000000003</c:v>
                </c:pt>
                <c:pt idx="149">
                  <c:v>382.56980000000004</c:v>
                </c:pt>
                <c:pt idx="150">
                  <c:v>374.50000000000006</c:v>
                </c:pt>
                <c:pt idx="151">
                  <c:v>375.56980000000004</c:v>
                </c:pt>
                <c:pt idx="152">
                  <c:v>371.86990000000003</c:v>
                </c:pt>
                <c:pt idx="153">
                  <c:v>374.5498</c:v>
                </c:pt>
                <c:pt idx="154">
                  <c:v>367.77980000000002</c:v>
                </c:pt>
                <c:pt idx="155">
                  <c:v>357.48</c:v>
                </c:pt>
                <c:pt idx="156">
                  <c:v>355.23</c:v>
                </c:pt>
                <c:pt idx="157">
                  <c:v>359.33980000000003</c:v>
                </c:pt>
                <c:pt idx="158">
                  <c:v>360.75980000000004</c:v>
                </c:pt>
                <c:pt idx="159">
                  <c:v>369.30590000000001</c:v>
                </c:pt>
                <c:pt idx="160">
                  <c:v>370.31980000000004</c:v>
                </c:pt>
                <c:pt idx="161">
                  <c:v>367.25000000000006</c:v>
                </c:pt>
                <c:pt idx="162">
                  <c:v>370.91990000000004</c:v>
                </c:pt>
                <c:pt idx="163">
                  <c:v>359.1499</c:v>
                </c:pt>
                <c:pt idx="164">
                  <c:v>359.10990000000004</c:v>
                </c:pt>
                <c:pt idx="165">
                  <c:v>357.82980000000003</c:v>
                </c:pt>
                <c:pt idx="166">
                  <c:v>345.63990000000001</c:v>
                </c:pt>
                <c:pt idx="167">
                  <c:v>345.63990000000001</c:v>
                </c:pt>
                <c:pt idx="168">
                  <c:v>354.25000000000006</c:v>
                </c:pt>
                <c:pt idx="169">
                  <c:v>357.43990000000002</c:v>
                </c:pt>
                <c:pt idx="170">
                  <c:v>357.49</c:v>
                </c:pt>
                <c:pt idx="171">
                  <c:v>357.55980000000005</c:v>
                </c:pt>
                <c:pt idx="172">
                  <c:v>357.5498</c:v>
                </c:pt>
                <c:pt idx="173">
                  <c:v>358.48</c:v>
                </c:pt>
                <c:pt idx="174">
                  <c:v>357.62990000000002</c:v>
                </c:pt>
                <c:pt idx="175">
                  <c:v>357.71000000000004</c:v>
                </c:pt>
                <c:pt idx="176">
                  <c:v>353.51980000000003</c:v>
                </c:pt>
                <c:pt idx="177">
                  <c:v>349.87990000000002</c:v>
                </c:pt>
                <c:pt idx="178">
                  <c:v>336.45000000000005</c:v>
                </c:pt>
                <c:pt idx="179">
                  <c:v>327.37990000000002</c:v>
                </c:pt>
                <c:pt idx="180">
                  <c:v>310.77980000000002</c:v>
                </c:pt>
                <c:pt idx="181">
                  <c:v>309.93990000000002</c:v>
                </c:pt>
                <c:pt idx="182">
                  <c:v>308.65990000000005</c:v>
                </c:pt>
                <c:pt idx="183">
                  <c:v>308.61990000000003</c:v>
                </c:pt>
                <c:pt idx="184">
                  <c:v>299.63990000000001</c:v>
                </c:pt>
                <c:pt idx="185">
                  <c:v>299.74</c:v>
                </c:pt>
                <c:pt idx="186">
                  <c:v>290.70780000000002</c:v>
                </c:pt>
                <c:pt idx="187">
                  <c:v>290.70780000000002</c:v>
                </c:pt>
                <c:pt idx="188">
                  <c:v>283.40990000000005</c:v>
                </c:pt>
                <c:pt idx="189">
                  <c:v>287.92990000000003</c:v>
                </c:pt>
                <c:pt idx="190">
                  <c:v>297.05980000000005</c:v>
                </c:pt>
                <c:pt idx="191">
                  <c:v>291.8098</c:v>
                </c:pt>
                <c:pt idx="192">
                  <c:v>296.36990000000003</c:v>
                </c:pt>
                <c:pt idx="193">
                  <c:v>293.20000000000005</c:v>
                </c:pt>
                <c:pt idx="194">
                  <c:v>291.67380000000003</c:v>
                </c:pt>
                <c:pt idx="195">
                  <c:v>289.60890000000001</c:v>
                </c:pt>
                <c:pt idx="196">
                  <c:v>278.46290000000005</c:v>
                </c:pt>
                <c:pt idx="197">
                  <c:v>254.64100000000002</c:v>
                </c:pt>
                <c:pt idx="198">
                  <c:v>256.89090000000004</c:v>
                </c:pt>
                <c:pt idx="199">
                  <c:v>245.74100000000001</c:v>
                </c:pt>
                <c:pt idx="200">
                  <c:v>246.71800000000002</c:v>
                </c:pt>
                <c:pt idx="201">
                  <c:v>246.73200000000003</c:v>
                </c:pt>
                <c:pt idx="202">
                  <c:v>246.73200000000003</c:v>
                </c:pt>
                <c:pt idx="203">
                  <c:v>219.03000000000003</c:v>
                </c:pt>
                <c:pt idx="204">
                  <c:v>214.53000000000003</c:v>
                </c:pt>
                <c:pt idx="205">
                  <c:v>194.58100000000002</c:v>
                </c:pt>
                <c:pt idx="206">
                  <c:v>188.81900000000002</c:v>
                </c:pt>
                <c:pt idx="207">
                  <c:v>187.85000000000002</c:v>
                </c:pt>
                <c:pt idx="208">
                  <c:v>190.10000000000002</c:v>
                </c:pt>
                <c:pt idx="209">
                  <c:v>199.14000000000001</c:v>
                </c:pt>
                <c:pt idx="210">
                  <c:v>202.71</c:v>
                </c:pt>
                <c:pt idx="211">
                  <c:v>213.83</c:v>
                </c:pt>
                <c:pt idx="212">
                  <c:v>218.37</c:v>
                </c:pt>
                <c:pt idx="213">
                  <c:v>207.27</c:v>
                </c:pt>
                <c:pt idx="214">
                  <c:v>207.24</c:v>
                </c:pt>
                <c:pt idx="215">
                  <c:v>207.33</c:v>
                </c:pt>
                <c:pt idx="216">
                  <c:v>207.33</c:v>
                </c:pt>
                <c:pt idx="217">
                  <c:v>200.64200000000002</c:v>
                </c:pt>
                <c:pt idx="218">
                  <c:v>199.37</c:v>
                </c:pt>
                <c:pt idx="219">
                  <c:v>207.47000000000003</c:v>
                </c:pt>
                <c:pt idx="220">
                  <c:v>212.06700000000001</c:v>
                </c:pt>
                <c:pt idx="221">
                  <c:v>212.06800000000001</c:v>
                </c:pt>
                <c:pt idx="222">
                  <c:v>207.60000000000002</c:v>
                </c:pt>
                <c:pt idx="223">
                  <c:v>209.00000000000003</c:v>
                </c:pt>
                <c:pt idx="224">
                  <c:v>210.38000000000002</c:v>
                </c:pt>
                <c:pt idx="225">
                  <c:v>210.45000000000002</c:v>
                </c:pt>
                <c:pt idx="226">
                  <c:v>210.48000000000002</c:v>
                </c:pt>
                <c:pt idx="227">
                  <c:v>210.08</c:v>
                </c:pt>
                <c:pt idx="228">
                  <c:v>210.08500000000001</c:v>
                </c:pt>
                <c:pt idx="229">
                  <c:v>211.03800000000001</c:v>
                </c:pt>
                <c:pt idx="230">
                  <c:v>212.45000000000002</c:v>
                </c:pt>
                <c:pt idx="231">
                  <c:v>212.49200000000002</c:v>
                </c:pt>
                <c:pt idx="232">
                  <c:v>211.14000000000001</c:v>
                </c:pt>
                <c:pt idx="233">
                  <c:v>211.20600000000002</c:v>
                </c:pt>
                <c:pt idx="234">
                  <c:v>211.20600000000002</c:v>
                </c:pt>
                <c:pt idx="235">
                  <c:v>211.31600000000003</c:v>
                </c:pt>
                <c:pt idx="236">
                  <c:v>209.09</c:v>
                </c:pt>
                <c:pt idx="237">
                  <c:v>209.14400000000001</c:v>
                </c:pt>
                <c:pt idx="238">
                  <c:v>206.965</c:v>
                </c:pt>
                <c:pt idx="239">
                  <c:v>206.99</c:v>
                </c:pt>
                <c:pt idx="240">
                  <c:v>203.46200000000002</c:v>
                </c:pt>
                <c:pt idx="241">
                  <c:v>204.39600000000002</c:v>
                </c:pt>
                <c:pt idx="242">
                  <c:v>204.39000000000001</c:v>
                </c:pt>
                <c:pt idx="243">
                  <c:v>204.47000000000003</c:v>
                </c:pt>
                <c:pt idx="244">
                  <c:v>204.50200000000001</c:v>
                </c:pt>
                <c:pt idx="245">
                  <c:v>204.596</c:v>
                </c:pt>
                <c:pt idx="246">
                  <c:v>203.73500000000001</c:v>
                </c:pt>
                <c:pt idx="247">
                  <c:v>203.77500000000001</c:v>
                </c:pt>
                <c:pt idx="248">
                  <c:v>202.02600000000001</c:v>
                </c:pt>
                <c:pt idx="249">
                  <c:v>202.06400000000002</c:v>
                </c:pt>
                <c:pt idx="250">
                  <c:v>202.15900000000002</c:v>
                </c:pt>
                <c:pt idx="251">
                  <c:v>199.93600000000001</c:v>
                </c:pt>
                <c:pt idx="252">
                  <c:v>195.53100000000001</c:v>
                </c:pt>
                <c:pt idx="253">
                  <c:v>193.709</c:v>
                </c:pt>
                <c:pt idx="254">
                  <c:v>195.99</c:v>
                </c:pt>
                <c:pt idx="255">
                  <c:v>193.83800000000002</c:v>
                </c:pt>
                <c:pt idx="256">
                  <c:v>193.84</c:v>
                </c:pt>
                <c:pt idx="257">
                  <c:v>193.88200000000001</c:v>
                </c:pt>
                <c:pt idx="258">
                  <c:v>193.92000000000002</c:v>
                </c:pt>
                <c:pt idx="259">
                  <c:v>193.96</c:v>
                </c:pt>
                <c:pt idx="260">
                  <c:v>194.072</c:v>
                </c:pt>
                <c:pt idx="261">
                  <c:v>194.09</c:v>
                </c:pt>
                <c:pt idx="262">
                  <c:v>193.24600000000001</c:v>
                </c:pt>
                <c:pt idx="263">
                  <c:v>188.80700000000002</c:v>
                </c:pt>
                <c:pt idx="264">
                  <c:v>184.38400000000001</c:v>
                </c:pt>
                <c:pt idx="265">
                  <c:v>182.60500000000002</c:v>
                </c:pt>
                <c:pt idx="266">
                  <c:v>182.64800000000002</c:v>
                </c:pt>
                <c:pt idx="267">
                  <c:v>182.25000000000003</c:v>
                </c:pt>
                <c:pt idx="268">
                  <c:v>181.83700000000002</c:v>
                </c:pt>
                <c:pt idx="269">
                  <c:v>185.03400000000002</c:v>
                </c:pt>
                <c:pt idx="270">
                  <c:v>181.08</c:v>
                </c:pt>
                <c:pt idx="271">
                  <c:v>180.66000000000003</c:v>
                </c:pt>
                <c:pt idx="272">
                  <c:v>180.70000000000002</c:v>
                </c:pt>
                <c:pt idx="273">
                  <c:v>179.85000000000002</c:v>
                </c:pt>
                <c:pt idx="274">
                  <c:v>178.06</c:v>
                </c:pt>
                <c:pt idx="275">
                  <c:v>184.50000000000003</c:v>
                </c:pt>
                <c:pt idx="276">
                  <c:v>177.29000000000002</c:v>
                </c:pt>
                <c:pt idx="277">
                  <c:v>175.98000000000002</c:v>
                </c:pt>
                <c:pt idx="278">
                  <c:v>175.56</c:v>
                </c:pt>
                <c:pt idx="279">
                  <c:v>175.17000000000002</c:v>
                </c:pt>
                <c:pt idx="280">
                  <c:v>175.24800000000002</c:v>
                </c:pt>
                <c:pt idx="281">
                  <c:v>175.28100000000001</c:v>
                </c:pt>
                <c:pt idx="282">
                  <c:v>176.21100000000001</c:v>
                </c:pt>
                <c:pt idx="283">
                  <c:v>175.78300000000002</c:v>
                </c:pt>
                <c:pt idx="284">
                  <c:v>178.03300000000002</c:v>
                </c:pt>
                <c:pt idx="285">
                  <c:v>182.56100000000001</c:v>
                </c:pt>
                <c:pt idx="286">
                  <c:v>182.58500000000001</c:v>
                </c:pt>
                <c:pt idx="287">
                  <c:v>182.60400000000001</c:v>
                </c:pt>
                <c:pt idx="288">
                  <c:v>181.76100000000002</c:v>
                </c:pt>
                <c:pt idx="289">
                  <c:v>181.76100000000002</c:v>
                </c:pt>
                <c:pt idx="290">
                  <c:v>181.88500000000002</c:v>
                </c:pt>
                <c:pt idx="291">
                  <c:v>181.47300000000001</c:v>
                </c:pt>
                <c:pt idx="292">
                  <c:v>181.50700000000001</c:v>
                </c:pt>
                <c:pt idx="293">
                  <c:v>181.99400000000003</c:v>
                </c:pt>
                <c:pt idx="294">
                  <c:v>182.024</c:v>
                </c:pt>
                <c:pt idx="295">
                  <c:v>182.11300000000003</c:v>
                </c:pt>
                <c:pt idx="296">
                  <c:v>182.14000000000001</c:v>
                </c:pt>
                <c:pt idx="297">
                  <c:v>182.62500000000003</c:v>
                </c:pt>
                <c:pt idx="298">
                  <c:v>184.46600000000001</c:v>
                </c:pt>
                <c:pt idx="299">
                  <c:v>186.73100000000002</c:v>
                </c:pt>
                <c:pt idx="300">
                  <c:v>186.73100000000002</c:v>
                </c:pt>
                <c:pt idx="301">
                  <c:v>198.03300000000002</c:v>
                </c:pt>
                <c:pt idx="302">
                  <c:v>198.93700000000001</c:v>
                </c:pt>
                <c:pt idx="303">
                  <c:v>198.52700000000002</c:v>
                </c:pt>
                <c:pt idx="304">
                  <c:v>198.11900000000003</c:v>
                </c:pt>
                <c:pt idx="305">
                  <c:v>198.21100000000001</c:v>
                </c:pt>
                <c:pt idx="306">
                  <c:v>196.89800000000002</c:v>
                </c:pt>
                <c:pt idx="307">
                  <c:v>196.477</c:v>
                </c:pt>
                <c:pt idx="308">
                  <c:v>196.06200000000001</c:v>
                </c:pt>
                <c:pt idx="309">
                  <c:v>196.06200000000001</c:v>
                </c:pt>
                <c:pt idx="310">
                  <c:v>194.40600000000001</c:v>
                </c:pt>
                <c:pt idx="311">
                  <c:v>193.97800000000001</c:v>
                </c:pt>
                <c:pt idx="312">
                  <c:v>193.57500000000002</c:v>
                </c:pt>
                <c:pt idx="313">
                  <c:v>193.60900000000001</c:v>
                </c:pt>
                <c:pt idx="314">
                  <c:v>193.64000000000001</c:v>
                </c:pt>
                <c:pt idx="315">
                  <c:v>195.04700000000003</c:v>
                </c:pt>
                <c:pt idx="316">
                  <c:v>195.97600000000003</c:v>
                </c:pt>
                <c:pt idx="317">
                  <c:v>197.578</c:v>
                </c:pt>
                <c:pt idx="318">
                  <c:v>199.39300000000003</c:v>
                </c:pt>
                <c:pt idx="319">
                  <c:v>204.79900000000001</c:v>
                </c:pt>
                <c:pt idx="320">
                  <c:v>202.67700000000002</c:v>
                </c:pt>
                <c:pt idx="321">
                  <c:v>203.16300000000001</c:v>
                </c:pt>
                <c:pt idx="322">
                  <c:v>208.495</c:v>
                </c:pt>
                <c:pt idx="323">
                  <c:v>207.63600000000002</c:v>
                </c:pt>
                <c:pt idx="324">
                  <c:v>208.98600000000002</c:v>
                </c:pt>
                <c:pt idx="325">
                  <c:v>209.12300000000002</c:v>
                </c:pt>
                <c:pt idx="326">
                  <c:v>206.50300000000001</c:v>
                </c:pt>
                <c:pt idx="327">
                  <c:v>205.64000000000001</c:v>
                </c:pt>
                <c:pt idx="328">
                  <c:v>204.36100000000002</c:v>
                </c:pt>
                <c:pt idx="329">
                  <c:v>201.29200000000003</c:v>
                </c:pt>
                <c:pt idx="330">
                  <c:v>197.78000000000003</c:v>
                </c:pt>
                <c:pt idx="331">
                  <c:v>197.78000000000003</c:v>
                </c:pt>
                <c:pt idx="332">
                  <c:v>195.14300000000003</c:v>
                </c:pt>
                <c:pt idx="333">
                  <c:v>191.185</c:v>
                </c:pt>
                <c:pt idx="334">
                  <c:v>191.221</c:v>
                </c:pt>
                <c:pt idx="335">
                  <c:v>191.75700000000001</c:v>
                </c:pt>
                <c:pt idx="336">
                  <c:v>193.57600000000002</c:v>
                </c:pt>
                <c:pt idx="337">
                  <c:v>194.048</c:v>
                </c:pt>
                <c:pt idx="338">
                  <c:v>195.86300000000003</c:v>
                </c:pt>
                <c:pt idx="339">
                  <c:v>195.9</c:v>
                </c:pt>
                <c:pt idx="340">
                  <c:v>195.995</c:v>
                </c:pt>
                <c:pt idx="341">
                  <c:v>188.876</c:v>
                </c:pt>
                <c:pt idx="342">
                  <c:v>185.80900000000003</c:v>
                </c:pt>
                <c:pt idx="343">
                  <c:v>182.72800000000001</c:v>
                </c:pt>
                <c:pt idx="344">
                  <c:v>182.751</c:v>
                </c:pt>
                <c:pt idx="345">
                  <c:v>177.92800000000003</c:v>
                </c:pt>
                <c:pt idx="346">
                  <c:v>175.28</c:v>
                </c:pt>
                <c:pt idx="347">
                  <c:v>175.30900000000003</c:v>
                </c:pt>
                <c:pt idx="348">
                  <c:v>174.46400000000003</c:v>
                </c:pt>
                <c:pt idx="349">
                  <c:v>171.36500000000001</c:v>
                </c:pt>
                <c:pt idx="350">
                  <c:v>171.44600000000003</c:v>
                </c:pt>
                <c:pt idx="351">
                  <c:v>169.69500000000002</c:v>
                </c:pt>
                <c:pt idx="352">
                  <c:v>171.042</c:v>
                </c:pt>
                <c:pt idx="353">
                  <c:v>165.286</c:v>
                </c:pt>
                <c:pt idx="354">
                  <c:v>165.32000000000002</c:v>
                </c:pt>
                <c:pt idx="355">
                  <c:v>167.64100000000002</c:v>
                </c:pt>
                <c:pt idx="356">
                  <c:v>164.54300000000001</c:v>
                </c:pt>
                <c:pt idx="357">
                  <c:v>165.46</c:v>
                </c:pt>
                <c:pt idx="358">
                  <c:v>165.935</c:v>
                </c:pt>
                <c:pt idx="359">
                  <c:v>166.41600000000003</c:v>
                </c:pt>
                <c:pt idx="360">
                  <c:v>165.60900000000001</c:v>
                </c:pt>
                <c:pt idx="361">
                  <c:v>165.18900000000002</c:v>
                </c:pt>
                <c:pt idx="362">
                  <c:v>165.22500000000002</c:v>
                </c:pt>
                <c:pt idx="363">
                  <c:v>166.45500000000001</c:v>
                </c:pt>
                <c:pt idx="364">
                  <c:v>168.697</c:v>
                </c:pt>
                <c:pt idx="365">
                  <c:v>168.68600000000001</c:v>
                </c:pt>
                <c:pt idx="366">
                  <c:v>166.49100000000001</c:v>
                </c:pt>
                <c:pt idx="367">
                  <c:v>168.74100000000001</c:v>
                </c:pt>
                <c:pt idx="368">
                  <c:v>168.71400000000003</c:v>
                </c:pt>
                <c:pt idx="369">
                  <c:v>168.71400000000003</c:v>
                </c:pt>
                <c:pt idx="370">
                  <c:v>168.71800000000002</c:v>
                </c:pt>
                <c:pt idx="371">
                  <c:v>168.715</c:v>
                </c:pt>
                <c:pt idx="372">
                  <c:v>170.92400000000001</c:v>
                </c:pt>
                <c:pt idx="373">
                  <c:v>173.14800000000002</c:v>
                </c:pt>
                <c:pt idx="374">
                  <c:v>174.94400000000002</c:v>
                </c:pt>
                <c:pt idx="375">
                  <c:v>174.93800000000002</c:v>
                </c:pt>
                <c:pt idx="376">
                  <c:v>179.85300000000001</c:v>
                </c:pt>
                <c:pt idx="377">
                  <c:v>179.85000000000002</c:v>
                </c:pt>
                <c:pt idx="378">
                  <c:v>178.92000000000002</c:v>
                </c:pt>
                <c:pt idx="379">
                  <c:v>174.51000000000002</c:v>
                </c:pt>
                <c:pt idx="380">
                  <c:v>174.06</c:v>
                </c:pt>
                <c:pt idx="381">
                  <c:v>176.32000000000002</c:v>
                </c:pt>
                <c:pt idx="382">
                  <c:v>176.77</c:v>
                </c:pt>
                <c:pt idx="383">
                  <c:v>199.84</c:v>
                </c:pt>
                <c:pt idx="384">
                  <c:v>202.09</c:v>
                </c:pt>
                <c:pt idx="385">
                  <c:v>217.67000000000002</c:v>
                </c:pt>
                <c:pt idx="386">
                  <c:v>213.08</c:v>
                </c:pt>
                <c:pt idx="387">
                  <c:v>204.28000000000003</c:v>
                </c:pt>
                <c:pt idx="388">
                  <c:v>195.38000000000002</c:v>
                </c:pt>
                <c:pt idx="389">
                  <c:v>196.28000000000003</c:v>
                </c:pt>
                <c:pt idx="390">
                  <c:v>196.25000000000003</c:v>
                </c:pt>
                <c:pt idx="391">
                  <c:v>191.82000000000002</c:v>
                </c:pt>
                <c:pt idx="392">
                  <c:v>194.47000000000003</c:v>
                </c:pt>
                <c:pt idx="393">
                  <c:v>194.47000000000003</c:v>
                </c:pt>
                <c:pt idx="394">
                  <c:v>194.53000000000003</c:v>
                </c:pt>
                <c:pt idx="395">
                  <c:v>194.53970000000001</c:v>
                </c:pt>
                <c:pt idx="396">
                  <c:v>193.60000000000002</c:v>
                </c:pt>
                <c:pt idx="397">
                  <c:v>193.62</c:v>
                </c:pt>
                <c:pt idx="398">
                  <c:v>188.64000000000001</c:v>
                </c:pt>
                <c:pt idx="399">
                  <c:v>184.25000000000003</c:v>
                </c:pt>
                <c:pt idx="400">
                  <c:v>182.05</c:v>
                </c:pt>
                <c:pt idx="401">
                  <c:v>181.15</c:v>
                </c:pt>
                <c:pt idx="402">
                  <c:v>179.8</c:v>
                </c:pt>
                <c:pt idx="403">
                  <c:v>176.69000000000003</c:v>
                </c:pt>
                <c:pt idx="404">
                  <c:v>176.24</c:v>
                </c:pt>
                <c:pt idx="405">
                  <c:v>174.9</c:v>
                </c:pt>
                <c:pt idx="406">
                  <c:v>173.59</c:v>
                </c:pt>
                <c:pt idx="407">
                  <c:v>175.81</c:v>
                </c:pt>
                <c:pt idx="408">
                  <c:v>178.03</c:v>
                </c:pt>
                <c:pt idx="409">
                  <c:v>180.26000000000002</c:v>
                </c:pt>
                <c:pt idx="410">
                  <c:v>180.26000000000002</c:v>
                </c:pt>
                <c:pt idx="411">
                  <c:v>181.60000000000002</c:v>
                </c:pt>
                <c:pt idx="412">
                  <c:v>184.29000000000002</c:v>
                </c:pt>
                <c:pt idx="413">
                  <c:v>182.51000000000002</c:v>
                </c:pt>
                <c:pt idx="414">
                  <c:v>182.51000000000002</c:v>
                </c:pt>
                <c:pt idx="415">
                  <c:v>182.50000000000003</c:v>
                </c:pt>
                <c:pt idx="416">
                  <c:v>182.50000000000003</c:v>
                </c:pt>
                <c:pt idx="417">
                  <c:v>184.26000000000002</c:v>
                </c:pt>
                <c:pt idx="418">
                  <c:v>184.26000000000002</c:v>
                </c:pt>
                <c:pt idx="419">
                  <c:v>184.74</c:v>
                </c:pt>
                <c:pt idx="420">
                  <c:v>184.73000000000002</c:v>
                </c:pt>
                <c:pt idx="421">
                  <c:v>184.73000000000002</c:v>
                </c:pt>
                <c:pt idx="422">
                  <c:v>184.73000000000002</c:v>
                </c:pt>
                <c:pt idx="423">
                  <c:v>185.64000000000001</c:v>
                </c:pt>
                <c:pt idx="424">
                  <c:v>187.86</c:v>
                </c:pt>
                <c:pt idx="425">
                  <c:v>189.64000000000001</c:v>
                </c:pt>
                <c:pt idx="426">
                  <c:v>190.54000000000002</c:v>
                </c:pt>
                <c:pt idx="427">
                  <c:v>190.53000000000003</c:v>
                </c:pt>
                <c:pt idx="428">
                  <c:v>191.42000000000002</c:v>
                </c:pt>
                <c:pt idx="429">
                  <c:v>190.50000000000003</c:v>
                </c:pt>
                <c:pt idx="430">
                  <c:v>190.53000000000003</c:v>
                </c:pt>
                <c:pt idx="431">
                  <c:v>192.35000000000002</c:v>
                </c:pt>
                <c:pt idx="432">
                  <c:v>192.35000000000002</c:v>
                </c:pt>
                <c:pt idx="433">
                  <c:v>191.45000000000002</c:v>
                </c:pt>
                <c:pt idx="434">
                  <c:v>191.45000000000002</c:v>
                </c:pt>
                <c:pt idx="435">
                  <c:v>190.99</c:v>
                </c:pt>
                <c:pt idx="436">
                  <c:v>190.99</c:v>
                </c:pt>
                <c:pt idx="437">
                  <c:v>191.02</c:v>
                </c:pt>
                <c:pt idx="438">
                  <c:v>191.02</c:v>
                </c:pt>
                <c:pt idx="439">
                  <c:v>190.12</c:v>
                </c:pt>
                <c:pt idx="440">
                  <c:v>189.67000000000002</c:v>
                </c:pt>
                <c:pt idx="441">
                  <c:v>187.93</c:v>
                </c:pt>
                <c:pt idx="442">
                  <c:v>186.11</c:v>
                </c:pt>
                <c:pt idx="443">
                  <c:v>185.66000000000003</c:v>
                </c:pt>
                <c:pt idx="444" formatCode="0.00">
                  <c:v>184.78</c:v>
                </c:pt>
                <c:pt idx="445" formatCode="0.00">
                  <c:v>179.81</c:v>
                </c:pt>
                <c:pt idx="446" formatCode="0.00">
                  <c:v>178.52</c:v>
                </c:pt>
                <c:pt idx="447" formatCode="0.00">
                  <c:v>174.52</c:v>
                </c:pt>
                <c:pt idx="448" formatCode="0.00">
                  <c:v>175.97110000000001</c:v>
                </c:pt>
                <c:pt idx="449" formatCode="0.00">
                  <c:v>172.19000000000003</c:v>
                </c:pt>
                <c:pt idx="450">
                  <c:v>169.49</c:v>
                </c:pt>
                <c:pt idx="451">
                  <c:v>173.06</c:v>
                </c:pt>
                <c:pt idx="452">
                  <c:v>173.07000000000002</c:v>
                </c:pt>
                <c:pt idx="453">
                  <c:v>173.07000000000002</c:v>
                </c:pt>
                <c:pt idx="454">
                  <c:v>173.07000000000002</c:v>
                </c:pt>
                <c:pt idx="455">
                  <c:v>173.97000000000003</c:v>
                </c:pt>
                <c:pt idx="456">
                  <c:v>173.97000000000003</c:v>
                </c:pt>
                <c:pt idx="457">
                  <c:v>173.97000000000003</c:v>
                </c:pt>
                <c:pt idx="458">
                  <c:v>173.99</c:v>
                </c:pt>
                <c:pt idx="459">
                  <c:v>173.99</c:v>
                </c:pt>
                <c:pt idx="460">
                  <c:v>173.97000000000003</c:v>
                </c:pt>
                <c:pt idx="461">
                  <c:v>171.76000000000002</c:v>
                </c:pt>
                <c:pt idx="462">
                  <c:v>171.72000000000003</c:v>
                </c:pt>
                <c:pt idx="463">
                  <c:v>167.33</c:v>
                </c:pt>
                <c:pt idx="464">
                  <c:v>166.43</c:v>
                </c:pt>
                <c:pt idx="465">
                  <c:v>166.43</c:v>
                </c:pt>
                <c:pt idx="466">
                  <c:v>166.42000000000002</c:v>
                </c:pt>
                <c:pt idx="467">
                  <c:v>163.32000000000002</c:v>
                </c:pt>
                <c:pt idx="468">
                  <c:v>163.32000000000002</c:v>
                </c:pt>
                <c:pt idx="469">
                  <c:v>161.96</c:v>
                </c:pt>
                <c:pt idx="470">
                  <c:v>161.95000000000002</c:v>
                </c:pt>
                <c:pt idx="471">
                  <c:v>162.4</c:v>
                </c:pt>
                <c:pt idx="472">
                  <c:v>161.5</c:v>
                </c:pt>
                <c:pt idx="473">
                  <c:v>162.86000000000001</c:v>
                </c:pt>
                <c:pt idx="474">
                  <c:v>162.86000000000001</c:v>
                </c:pt>
                <c:pt idx="475">
                  <c:v>163.09</c:v>
                </c:pt>
                <c:pt idx="476">
                  <c:v>165.52</c:v>
                </c:pt>
                <c:pt idx="477">
                  <c:v>165.54000000000002</c:v>
                </c:pt>
                <c:pt idx="478">
                  <c:v>164.64000000000001</c:v>
                </c:pt>
                <c:pt idx="479">
                  <c:v>165.99</c:v>
                </c:pt>
                <c:pt idx="480">
                  <c:v>165.99</c:v>
                </c:pt>
                <c:pt idx="481">
                  <c:v>166.43</c:v>
                </c:pt>
                <c:pt idx="482">
                  <c:v>166.43</c:v>
                </c:pt>
                <c:pt idx="483">
                  <c:v>166.43</c:v>
                </c:pt>
                <c:pt idx="484">
                  <c:v>166.43</c:v>
                </c:pt>
                <c:pt idx="485">
                  <c:v>166.44000000000003</c:v>
                </c:pt>
                <c:pt idx="486">
                  <c:v>166.43</c:v>
                </c:pt>
                <c:pt idx="487">
                  <c:v>166.43</c:v>
                </c:pt>
                <c:pt idx="488">
                  <c:v>165.99</c:v>
                </c:pt>
                <c:pt idx="489">
                  <c:v>164.67000000000002</c:v>
                </c:pt>
                <c:pt idx="490">
                  <c:v>161.55000000000001</c:v>
                </c:pt>
                <c:pt idx="491">
                  <c:v>161.10000000000002</c:v>
                </c:pt>
                <c:pt idx="492">
                  <c:v>161.09</c:v>
                </c:pt>
                <c:pt idx="493">
                  <c:v>162.88000000000002</c:v>
                </c:pt>
                <c:pt idx="494">
                  <c:v>163.78</c:v>
                </c:pt>
                <c:pt idx="495">
                  <c:v>163.78</c:v>
                </c:pt>
                <c:pt idx="496">
                  <c:v>165.56</c:v>
                </c:pt>
                <c:pt idx="497">
                  <c:v>167.78</c:v>
                </c:pt>
                <c:pt idx="498">
                  <c:v>167.78</c:v>
                </c:pt>
                <c:pt idx="499">
                  <c:v>168.22000000000003</c:v>
                </c:pt>
                <c:pt idx="500">
                  <c:v>168.23000000000002</c:v>
                </c:pt>
                <c:pt idx="501">
                  <c:v>170.9</c:v>
                </c:pt>
                <c:pt idx="502">
                  <c:v>170.9</c:v>
                </c:pt>
                <c:pt idx="503">
                  <c:v>174.49</c:v>
                </c:pt>
                <c:pt idx="504">
                  <c:v>174.50000000000003</c:v>
                </c:pt>
                <c:pt idx="505">
                  <c:v>170.95000000000002</c:v>
                </c:pt>
                <c:pt idx="506">
                  <c:v>168.71</c:v>
                </c:pt>
                <c:pt idx="507">
                  <c:v>168.26000000000002</c:v>
                </c:pt>
                <c:pt idx="508">
                  <c:v>167.82000000000002</c:v>
                </c:pt>
                <c:pt idx="509">
                  <c:v>167.37</c:v>
                </c:pt>
                <c:pt idx="510">
                  <c:v>167.37</c:v>
                </c:pt>
                <c:pt idx="511">
                  <c:v>166.47000000000003</c:v>
                </c:pt>
                <c:pt idx="512">
                  <c:v>166.49</c:v>
                </c:pt>
                <c:pt idx="513">
                  <c:v>170.61</c:v>
                </c:pt>
                <c:pt idx="514">
                  <c:v>170.47000000000003</c:v>
                </c:pt>
                <c:pt idx="515">
                  <c:v>170.45000000000002</c:v>
                </c:pt>
                <c:pt idx="516">
                  <c:v>170.45000000000002</c:v>
                </c:pt>
                <c:pt idx="517">
                  <c:v>170.45000000000002</c:v>
                </c:pt>
                <c:pt idx="518">
                  <c:v>174.60000000000002</c:v>
                </c:pt>
                <c:pt idx="519">
                  <c:v>170.46</c:v>
                </c:pt>
                <c:pt idx="520">
                  <c:v>170.9</c:v>
                </c:pt>
                <c:pt idx="521">
                  <c:v>170.9</c:v>
                </c:pt>
                <c:pt idx="522">
                  <c:v>166.84</c:v>
                </c:pt>
                <c:pt idx="523">
                  <c:v>166.85000000000002</c:v>
                </c:pt>
                <c:pt idx="524">
                  <c:v>166.86</c:v>
                </c:pt>
                <c:pt idx="525">
                  <c:v>163.28</c:v>
                </c:pt>
                <c:pt idx="526">
                  <c:v>161.95000000000002</c:v>
                </c:pt>
                <c:pt idx="527">
                  <c:v>161.95000000000002</c:v>
                </c:pt>
                <c:pt idx="528">
                  <c:v>161.95000000000002</c:v>
                </c:pt>
                <c:pt idx="529">
                  <c:v>161.96</c:v>
                </c:pt>
                <c:pt idx="530">
                  <c:v>161.96</c:v>
                </c:pt>
                <c:pt idx="531">
                  <c:v>162.86000000000001</c:v>
                </c:pt>
                <c:pt idx="532">
                  <c:v>162.86000000000001</c:v>
                </c:pt>
                <c:pt idx="533">
                  <c:v>161.96</c:v>
                </c:pt>
                <c:pt idx="534">
                  <c:v>161.96</c:v>
                </c:pt>
                <c:pt idx="535">
                  <c:v>161.97000000000003</c:v>
                </c:pt>
                <c:pt idx="536">
                  <c:v>161.97000000000003</c:v>
                </c:pt>
                <c:pt idx="537">
                  <c:v>161.96</c:v>
                </c:pt>
                <c:pt idx="538">
                  <c:v>161.97000000000003</c:v>
                </c:pt>
                <c:pt idx="539">
                  <c:v>161.96</c:v>
                </c:pt>
                <c:pt idx="540">
                  <c:v>161.96</c:v>
                </c:pt>
                <c:pt idx="541">
                  <c:v>162</c:v>
                </c:pt>
                <c:pt idx="542">
                  <c:v>162.87</c:v>
                </c:pt>
                <c:pt idx="543">
                  <c:v>162.84</c:v>
                </c:pt>
                <c:pt idx="544">
                  <c:v>168.67000000000002</c:v>
                </c:pt>
                <c:pt idx="545">
                  <c:v>168.69000000000003</c:v>
                </c:pt>
                <c:pt idx="546">
                  <c:v>168.69000000000003</c:v>
                </c:pt>
                <c:pt idx="547">
                  <c:v>166.46</c:v>
                </c:pt>
                <c:pt idx="548">
                  <c:v>164.26000000000002</c:v>
                </c:pt>
                <c:pt idx="549">
                  <c:v>164.25</c:v>
                </c:pt>
                <c:pt idx="550">
                  <c:v>164.25</c:v>
                </c:pt>
                <c:pt idx="551">
                  <c:v>164.29000000000002</c:v>
                </c:pt>
                <c:pt idx="552">
                  <c:v>159.77000000000001</c:v>
                </c:pt>
                <c:pt idx="553">
                  <c:v>161.08000000000001</c:v>
                </c:pt>
                <c:pt idx="554">
                  <c:v>161.11000000000001</c:v>
                </c:pt>
                <c:pt idx="555">
                  <c:v>161.12</c:v>
                </c:pt>
                <c:pt idx="556">
                  <c:v>161.12</c:v>
                </c:pt>
                <c:pt idx="557">
                  <c:v>161.11000000000001</c:v>
                </c:pt>
                <c:pt idx="558">
                  <c:v>161.12</c:v>
                </c:pt>
                <c:pt idx="559">
                  <c:v>161.12</c:v>
                </c:pt>
                <c:pt idx="560">
                  <c:v>159.79000000000002</c:v>
                </c:pt>
                <c:pt idx="561">
                  <c:v>159.79000000000002</c:v>
                </c:pt>
                <c:pt idx="562">
                  <c:v>159.79000000000002</c:v>
                </c:pt>
                <c:pt idx="563">
                  <c:v>158.91000000000003</c:v>
                </c:pt>
                <c:pt idx="564">
                  <c:v>153.11000000000001</c:v>
                </c:pt>
                <c:pt idx="565">
                  <c:v>155.28</c:v>
                </c:pt>
                <c:pt idx="566">
                  <c:v>152.22</c:v>
                </c:pt>
                <c:pt idx="567">
                  <c:v>151.75</c:v>
                </c:pt>
                <c:pt idx="568">
                  <c:v>150.89000000000001</c:v>
                </c:pt>
                <c:pt idx="569">
                  <c:v>150.9</c:v>
                </c:pt>
                <c:pt idx="570">
                  <c:v>150.86000000000001</c:v>
                </c:pt>
                <c:pt idx="571">
                  <c:v>150.87</c:v>
                </c:pt>
                <c:pt idx="572">
                  <c:v>150.86000000000001</c:v>
                </c:pt>
                <c:pt idx="573">
                  <c:v>152.19000000000003</c:v>
                </c:pt>
                <c:pt idx="574">
                  <c:v>153.09</c:v>
                </c:pt>
                <c:pt idx="575">
                  <c:v>153.11000000000001</c:v>
                </c:pt>
                <c:pt idx="576">
                  <c:v>153.09</c:v>
                </c:pt>
                <c:pt idx="577">
                  <c:v>153.11000000000001</c:v>
                </c:pt>
                <c:pt idx="578">
                  <c:v>157.56</c:v>
                </c:pt>
                <c:pt idx="579">
                  <c:v>157.56</c:v>
                </c:pt>
                <c:pt idx="580">
                  <c:v>157.56</c:v>
                </c:pt>
                <c:pt idx="581">
                  <c:v>157.54000000000002</c:v>
                </c:pt>
                <c:pt idx="582">
                  <c:v>156.65</c:v>
                </c:pt>
                <c:pt idx="583">
                  <c:v>156.68</c:v>
                </c:pt>
                <c:pt idx="584">
                  <c:v>154.44000000000003</c:v>
                </c:pt>
                <c:pt idx="585">
                  <c:v>154.42000000000002</c:v>
                </c:pt>
                <c:pt idx="586">
                  <c:v>154.43</c:v>
                </c:pt>
                <c:pt idx="587">
                  <c:v>152.17000000000002</c:v>
                </c:pt>
                <c:pt idx="588">
                  <c:v>154.42000000000002</c:v>
                </c:pt>
                <c:pt idx="589">
                  <c:v>153.49</c:v>
                </c:pt>
                <c:pt idx="590">
                  <c:v>153.52000000000001</c:v>
                </c:pt>
                <c:pt idx="591">
                  <c:v>151.30000000000001</c:v>
                </c:pt>
                <c:pt idx="592">
                  <c:v>151.31</c:v>
                </c:pt>
                <c:pt idx="593">
                  <c:v>149.5</c:v>
                </c:pt>
                <c:pt idx="594">
                  <c:v>149.97</c:v>
                </c:pt>
                <c:pt idx="595">
                  <c:v>149.99</c:v>
                </c:pt>
                <c:pt idx="596">
                  <c:v>150.85000000000002</c:v>
                </c:pt>
                <c:pt idx="597">
                  <c:v>150.87</c:v>
                </c:pt>
                <c:pt idx="598">
                  <c:v>150.88000000000002</c:v>
                </c:pt>
                <c:pt idx="599">
                  <c:v>150.85000000000002</c:v>
                </c:pt>
                <c:pt idx="600">
                  <c:v>150.85000000000002</c:v>
                </c:pt>
                <c:pt idx="601">
                  <c:v>150.88000000000002</c:v>
                </c:pt>
                <c:pt idx="602">
                  <c:v>150.84</c:v>
                </c:pt>
                <c:pt idx="603">
                  <c:v>150.88000000000002</c:v>
                </c:pt>
                <c:pt idx="604">
                  <c:v>149.52000000000001</c:v>
                </c:pt>
                <c:pt idx="605">
                  <c:v>149.54000000000002</c:v>
                </c:pt>
                <c:pt idx="606">
                  <c:v>147.32000000000002</c:v>
                </c:pt>
                <c:pt idx="607">
                  <c:v>146.43</c:v>
                </c:pt>
                <c:pt idx="608">
                  <c:v>145.56</c:v>
                </c:pt>
                <c:pt idx="609">
                  <c:v>145.57000000000002</c:v>
                </c:pt>
                <c:pt idx="610">
                  <c:v>145.56</c:v>
                </c:pt>
                <c:pt idx="611">
                  <c:v>141.06</c:v>
                </c:pt>
                <c:pt idx="612">
                  <c:v>141.06</c:v>
                </c:pt>
                <c:pt idx="613">
                  <c:v>135</c:v>
                </c:pt>
                <c:pt idx="614">
                  <c:v>136.56</c:v>
                </c:pt>
                <c:pt idx="615">
                  <c:v>135</c:v>
                </c:pt>
                <c:pt idx="616">
                  <c:v>135</c:v>
                </c:pt>
                <c:pt idx="617">
                  <c:v>135</c:v>
                </c:pt>
                <c:pt idx="618">
                  <c:v>135</c:v>
                </c:pt>
                <c:pt idx="619">
                  <c:v>135</c:v>
                </c:pt>
                <c:pt idx="620">
                  <c:v>135</c:v>
                </c:pt>
                <c:pt idx="621">
                  <c:v>135</c:v>
                </c:pt>
                <c:pt idx="622">
                  <c:v>135</c:v>
                </c:pt>
                <c:pt idx="623">
                  <c:v>135</c:v>
                </c:pt>
                <c:pt idx="624">
                  <c:v>135</c:v>
                </c:pt>
                <c:pt idx="625">
                  <c:v>135</c:v>
                </c:pt>
                <c:pt idx="626">
                  <c:v>135</c:v>
                </c:pt>
                <c:pt idx="627">
                  <c:v>135</c:v>
                </c:pt>
                <c:pt idx="628">
                  <c:v>135</c:v>
                </c:pt>
                <c:pt idx="629">
                  <c:v>130.5</c:v>
                </c:pt>
                <c:pt idx="630">
                  <c:v>130.5</c:v>
                </c:pt>
                <c:pt idx="631">
                  <c:v>130.5</c:v>
                </c:pt>
                <c:pt idx="632">
                  <c:v>130.5</c:v>
                </c:pt>
                <c:pt idx="633">
                  <c:v>130.5</c:v>
                </c:pt>
                <c:pt idx="634">
                  <c:v>130.5</c:v>
                </c:pt>
                <c:pt idx="635">
                  <c:v>123.12</c:v>
                </c:pt>
                <c:pt idx="636">
                  <c:v>123.12</c:v>
                </c:pt>
                <c:pt idx="637">
                  <c:v>123.12</c:v>
                </c:pt>
                <c:pt idx="638">
                  <c:v>123.12</c:v>
                </c:pt>
                <c:pt idx="639">
                  <c:v>123.12</c:v>
                </c:pt>
                <c:pt idx="640">
                  <c:v>123.12</c:v>
                </c:pt>
                <c:pt idx="641">
                  <c:v>120.44000000000001</c:v>
                </c:pt>
                <c:pt idx="642">
                  <c:v>120.42000000000002</c:v>
                </c:pt>
                <c:pt idx="643">
                  <c:v>119.53000000000002</c:v>
                </c:pt>
                <c:pt idx="644">
                  <c:v>119.52000000000001</c:v>
                </c:pt>
                <c:pt idx="645">
                  <c:v>118.71000000000001</c:v>
                </c:pt>
                <c:pt idx="646">
                  <c:v>118.71000000000001</c:v>
                </c:pt>
                <c:pt idx="647">
                  <c:v>118.7</c:v>
                </c:pt>
                <c:pt idx="648">
                  <c:v>118.7</c:v>
                </c:pt>
                <c:pt idx="649">
                  <c:v>118.71000000000001</c:v>
                </c:pt>
                <c:pt idx="650">
                  <c:v>118.71000000000001</c:v>
                </c:pt>
                <c:pt idx="651">
                  <c:v>119.16000000000001</c:v>
                </c:pt>
                <c:pt idx="652">
                  <c:v>119.61000000000001</c:v>
                </c:pt>
                <c:pt idx="653">
                  <c:v>119.62</c:v>
                </c:pt>
                <c:pt idx="654">
                  <c:v>119.61000000000001</c:v>
                </c:pt>
                <c:pt idx="655">
                  <c:v>119.61000000000001</c:v>
                </c:pt>
                <c:pt idx="656">
                  <c:v>119.60000000000001</c:v>
                </c:pt>
                <c:pt idx="657">
                  <c:v>119.62</c:v>
                </c:pt>
                <c:pt idx="658">
                  <c:v>119.59</c:v>
                </c:pt>
                <c:pt idx="659">
                  <c:v>119.59</c:v>
                </c:pt>
                <c:pt idx="660">
                  <c:v>119.60000000000001</c:v>
                </c:pt>
                <c:pt idx="661">
                  <c:v>119.60000000000001</c:v>
                </c:pt>
                <c:pt idx="662">
                  <c:v>119.60000000000001</c:v>
                </c:pt>
                <c:pt idx="663">
                  <c:v>119.59</c:v>
                </c:pt>
                <c:pt idx="664">
                  <c:v>120.06000000000002</c:v>
                </c:pt>
                <c:pt idx="665">
                  <c:v>122.25000000000001</c:v>
                </c:pt>
                <c:pt idx="666">
                  <c:v>122.25000000000001</c:v>
                </c:pt>
                <c:pt idx="667">
                  <c:v>122.25000000000001</c:v>
                </c:pt>
                <c:pt idx="668">
                  <c:v>122.27000000000001</c:v>
                </c:pt>
                <c:pt idx="669">
                  <c:v>122.25000000000001</c:v>
                </c:pt>
                <c:pt idx="670">
                  <c:v>122.25000000000001</c:v>
                </c:pt>
                <c:pt idx="671">
                  <c:v>122.25000000000001</c:v>
                </c:pt>
                <c:pt idx="672">
                  <c:v>122.25000000000001</c:v>
                </c:pt>
                <c:pt idx="673">
                  <c:v>121.85000000000001</c:v>
                </c:pt>
                <c:pt idx="674">
                  <c:v>123.60000000000001</c:v>
                </c:pt>
                <c:pt idx="675">
                  <c:v>123.60000000000001</c:v>
                </c:pt>
                <c:pt idx="676">
                  <c:v>123.64000000000001</c:v>
                </c:pt>
                <c:pt idx="677">
                  <c:v>124.96000000000001</c:v>
                </c:pt>
                <c:pt idx="678">
                  <c:v>127.66000000000001</c:v>
                </c:pt>
                <c:pt idx="679">
                  <c:v>130.5</c:v>
                </c:pt>
                <c:pt idx="680">
                  <c:v>127.66000000000001</c:v>
                </c:pt>
                <c:pt idx="681">
                  <c:v>127.66000000000001</c:v>
                </c:pt>
                <c:pt idx="682">
                  <c:v>127.65</c:v>
                </c:pt>
                <c:pt idx="683">
                  <c:v>127.66000000000001</c:v>
                </c:pt>
                <c:pt idx="684">
                  <c:v>128.55000000000001</c:v>
                </c:pt>
                <c:pt idx="685">
                  <c:v>129.91</c:v>
                </c:pt>
                <c:pt idx="686">
                  <c:v>127.65</c:v>
                </c:pt>
                <c:pt idx="687">
                  <c:v>127.65</c:v>
                </c:pt>
                <c:pt idx="688">
                  <c:v>127.64000000000001</c:v>
                </c:pt>
                <c:pt idx="689">
                  <c:v>127.66000000000001</c:v>
                </c:pt>
                <c:pt idx="690">
                  <c:v>127.65</c:v>
                </c:pt>
                <c:pt idx="691">
                  <c:v>126.31000000000002</c:v>
                </c:pt>
                <c:pt idx="692">
                  <c:v>124.08000000000001</c:v>
                </c:pt>
                <c:pt idx="693">
                  <c:v>122.73</c:v>
                </c:pt>
                <c:pt idx="694">
                  <c:v>121.83000000000001</c:v>
                </c:pt>
                <c:pt idx="695">
                  <c:v>121.83000000000001</c:v>
                </c:pt>
                <c:pt idx="696">
                  <c:v>121.85000000000001</c:v>
                </c:pt>
                <c:pt idx="697">
                  <c:v>121.84</c:v>
                </c:pt>
                <c:pt idx="698">
                  <c:v>121.85000000000001</c:v>
                </c:pt>
                <c:pt idx="699">
                  <c:v>121.83000000000001</c:v>
                </c:pt>
                <c:pt idx="700">
                  <c:v>121.84</c:v>
                </c:pt>
                <c:pt idx="701">
                  <c:v>121.85000000000001</c:v>
                </c:pt>
                <c:pt idx="702">
                  <c:v>121.85000000000001</c:v>
                </c:pt>
                <c:pt idx="703">
                  <c:v>121.83000000000001</c:v>
                </c:pt>
                <c:pt idx="704">
                  <c:v>124.87</c:v>
                </c:pt>
                <c:pt idx="705">
                  <c:v>123.17000000000002</c:v>
                </c:pt>
                <c:pt idx="706">
                  <c:v>124.07000000000001</c:v>
                </c:pt>
                <c:pt idx="707">
                  <c:v>124.07000000000001</c:v>
                </c:pt>
                <c:pt idx="708">
                  <c:v>124.08000000000001</c:v>
                </c:pt>
                <c:pt idx="709">
                  <c:v>124.07000000000001</c:v>
                </c:pt>
                <c:pt idx="710">
                  <c:v>126.57000000000001</c:v>
                </c:pt>
                <c:pt idx="711">
                  <c:v>126.57000000000001</c:v>
                </c:pt>
                <c:pt idx="712">
                  <c:v>126.57000000000001</c:v>
                </c:pt>
                <c:pt idx="713">
                  <c:v>126.57000000000001</c:v>
                </c:pt>
                <c:pt idx="714">
                  <c:v>126.57000000000001</c:v>
                </c:pt>
                <c:pt idx="715">
                  <c:v>128.34</c:v>
                </c:pt>
                <c:pt idx="716">
                  <c:v>129.88000000000002</c:v>
                </c:pt>
                <c:pt idx="717">
                  <c:v>129.87</c:v>
                </c:pt>
                <c:pt idx="718">
                  <c:v>131.20000000000002</c:v>
                </c:pt>
                <c:pt idx="719">
                  <c:v>131.20000000000002</c:v>
                </c:pt>
                <c:pt idx="720">
                  <c:v>131.21</c:v>
                </c:pt>
                <c:pt idx="721">
                  <c:v>132.81</c:v>
                </c:pt>
                <c:pt idx="722">
                  <c:v>131.20000000000002</c:v>
                </c:pt>
                <c:pt idx="723">
                  <c:v>131.21</c:v>
                </c:pt>
                <c:pt idx="724">
                  <c:v>131.20000000000002</c:v>
                </c:pt>
                <c:pt idx="725">
                  <c:v>131.22</c:v>
                </c:pt>
                <c:pt idx="726">
                  <c:v>131.17000000000002</c:v>
                </c:pt>
                <c:pt idx="727">
                  <c:v>132.47</c:v>
                </c:pt>
                <c:pt idx="728">
                  <c:v>132.54000000000002</c:v>
                </c:pt>
                <c:pt idx="729">
                  <c:v>132.56</c:v>
                </c:pt>
                <c:pt idx="730">
                  <c:v>132.53</c:v>
                </c:pt>
                <c:pt idx="731">
                  <c:v>133.88000000000002</c:v>
                </c:pt>
                <c:pt idx="732">
                  <c:v>133.89000000000001</c:v>
                </c:pt>
                <c:pt idx="733">
                  <c:v>136.61000000000001</c:v>
                </c:pt>
                <c:pt idx="734">
                  <c:v>136.14000000000001</c:v>
                </c:pt>
                <c:pt idx="735">
                  <c:v>136.59</c:v>
                </c:pt>
                <c:pt idx="736">
                  <c:v>136.58000000000001</c:v>
                </c:pt>
                <c:pt idx="737">
                  <c:v>136.58000000000001</c:v>
                </c:pt>
                <c:pt idx="738">
                  <c:v>136.59</c:v>
                </c:pt>
                <c:pt idx="739">
                  <c:v>136.60000000000002</c:v>
                </c:pt>
                <c:pt idx="740">
                  <c:v>136.60000000000002</c:v>
                </c:pt>
                <c:pt idx="741">
                  <c:v>136.60000000000002</c:v>
                </c:pt>
                <c:pt idx="742">
                  <c:v>136.60000000000002</c:v>
                </c:pt>
                <c:pt idx="743">
                  <c:v>136.60000000000002</c:v>
                </c:pt>
                <c:pt idx="744">
                  <c:v>136.60000000000002</c:v>
                </c:pt>
                <c:pt idx="745">
                  <c:v>135.71</c:v>
                </c:pt>
                <c:pt idx="746">
                  <c:v>135.71</c:v>
                </c:pt>
                <c:pt idx="747">
                  <c:v>135.71</c:v>
                </c:pt>
                <c:pt idx="748">
                  <c:v>135.72</c:v>
                </c:pt>
                <c:pt idx="749">
                  <c:v>135.73000000000002</c:v>
                </c:pt>
                <c:pt idx="750">
                  <c:v>135.72</c:v>
                </c:pt>
                <c:pt idx="751">
                  <c:v>135.72</c:v>
                </c:pt>
                <c:pt idx="752">
                  <c:v>134.38000000000002</c:v>
                </c:pt>
                <c:pt idx="753">
                  <c:v>134.38000000000002</c:v>
                </c:pt>
                <c:pt idx="754">
                  <c:v>131.71</c:v>
                </c:pt>
                <c:pt idx="755">
                  <c:v>131.71</c:v>
                </c:pt>
                <c:pt idx="756">
                  <c:v>131.72</c:v>
                </c:pt>
                <c:pt idx="757">
                  <c:v>126.34</c:v>
                </c:pt>
                <c:pt idx="758">
                  <c:v>126.34</c:v>
                </c:pt>
                <c:pt idx="759">
                  <c:v>126.34</c:v>
                </c:pt>
                <c:pt idx="760">
                  <c:v>126.35000000000001</c:v>
                </c:pt>
                <c:pt idx="761">
                  <c:v>125.9</c:v>
                </c:pt>
                <c:pt idx="762">
                  <c:v>125.46000000000001</c:v>
                </c:pt>
                <c:pt idx="763">
                  <c:v>120.99000000000001</c:v>
                </c:pt>
                <c:pt idx="764">
                  <c:v>120.99000000000001</c:v>
                </c:pt>
                <c:pt idx="765">
                  <c:v>120.99000000000001</c:v>
                </c:pt>
                <c:pt idx="766">
                  <c:v>120.99000000000001</c:v>
                </c:pt>
                <c:pt idx="767">
                  <c:v>121.88000000000001</c:v>
                </c:pt>
                <c:pt idx="768">
                  <c:v>120.54</c:v>
                </c:pt>
                <c:pt idx="769">
                  <c:v>123.20000000000002</c:v>
                </c:pt>
                <c:pt idx="770">
                  <c:v>125.00000000000001</c:v>
                </c:pt>
                <c:pt idx="771">
                  <c:v>126.33000000000001</c:v>
                </c:pt>
                <c:pt idx="772">
                  <c:v>130.86000000000001</c:v>
                </c:pt>
                <c:pt idx="773">
                  <c:v>127.27000000000001</c:v>
                </c:pt>
                <c:pt idx="774">
                  <c:v>121.43</c:v>
                </c:pt>
                <c:pt idx="775">
                  <c:v>121.41000000000001</c:v>
                </c:pt>
                <c:pt idx="776">
                  <c:v>121.4</c:v>
                </c:pt>
                <c:pt idx="777">
                  <c:v>121.4</c:v>
                </c:pt>
                <c:pt idx="778">
                  <c:v>121.4</c:v>
                </c:pt>
                <c:pt idx="779">
                  <c:v>121.41000000000001</c:v>
                </c:pt>
                <c:pt idx="780">
                  <c:v>121.41000000000001</c:v>
                </c:pt>
                <c:pt idx="781">
                  <c:v>120.51</c:v>
                </c:pt>
                <c:pt idx="782">
                  <c:v>120.51</c:v>
                </c:pt>
                <c:pt idx="783">
                  <c:v>120.51</c:v>
                </c:pt>
                <c:pt idx="784">
                  <c:v>120.51</c:v>
                </c:pt>
                <c:pt idx="785">
                  <c:v>120.51</c:v>
                </c:pt>
                <c:pt idx="786">
                  <c:v>121.82000000000001</c:v>
                </c:pt>
                <c:pt idx="787">
                  <c:v>121.85000000000001</c:v>
                </c:pt>
                <c:pt idx="788">
                  <c:v>119.63000000000001</c:v>
                </c:pt>
                <c:pt idx="789">
                  <c:v>119.62</c:v>
                </c:pt>
                <c:pt idx="790">
                  <c:v>119.62</c:v>
                </c:pt>
                <c:pt idx="791">
                  <c:v>118.72000000000001</c:v>
                </c:pt>
                <c:pt idx="792">
                  <c:v>115.13000000000001</c:v>
                </c:pt>
                <c:pt idx="793">
                  <c:v>113.80000000000001</c:v>
                </c:pt>
                <c:pt idx="794">
                  <c:v>112.44000000000001</c:v>
                </c:pt>
                <c:pt idx="795">
                  <c:v>112.44000000000001</c:v>
                </c:pt>
                <c:pt idx="796">
                  <c:v>112.44000000000001</c:v>
                </c:pt>
                <c:pt idx="797">
                  <c:v>112.44000000000001</c:v>
                </c:pt>
                <c:pt idx="798">
                  <c:v>112.45</c:v>
                </c:pt>
                <c:pt idx="799">
                  <c:v>110.65</c:v>
                </c:pt>
                <c:pt idx="800">
                  <c:v>109.77000000000001</c:v>
                </c:pt>
                <c:pt idx="801">
                  <c:v>109.76</c:v>
                </c:pt>
                <c:pt idx="802">
                  <c:v>109.77090000000001</c:v>
                </c:pt>
                <c:pt idx="803">
                  <c:v>109.77010000000001</c:v>
                </c:pt>
                <c:pt idx="804">
                  <c:v>108.41000000000001</c:v>
                </c:pt>
                <c:pt idx="805">
                  <c:v>108.42000000000002</c:v>
                </c:pt>
                <c:pt idx="806">
                  <c:v>107.08000000000001</c:v>
                </c:pt>
                <c:pt idx="807">
                  <c:v>107.09</c:v>
                </c:pt>
                <c:pt idx="808">
                  <c:v>107.09</c:v>
                </c:pt>
                <c:pt idx="809">
                  <c:v>107.08000000000001</c:v>
                </c:pt>
                <c:pt idx="810">
                  <c:v>107.08000000000001</c:v>
                </c:pt>
                <c:pt idx="811">
                  <c:v>107.53000000000002</c:v>
                </c:pt>
                <c:pt idx="812">
                  <c:v>107.53000000000002</c:v>
                </c:pt>
                <c:pt idx="813">
                  <c:v>106.64000000000001</c:v>
                </c:pt>
                <c:pt idx="814">
                  <c:v>106.63000000000001</c:v>
                </c:pt>
                <c:pt idx="815">
                  <c:v>106.63000000000001</c:v>
                </c:pt>
                <c:pt idx="816">
                  <c:v>106.63000000000001</c:v>
                </c:pt>
                <c:pt idx="817">
                  <c:v>106.64000000000001</c:v>
                </c:pt>
                <c:pt idx="818">
                  <c:v>106.64000000000001</c:v>
                </c:pt>
                <c:pt idx="819">
                  <c:v>107.53000000000002</c:v>
                </c:pt>
                <c:pt idx="820">
                  <c:v>107.53000000000002</c:v>
                </c:pt>
                <c:pt idx="821">
                  <c:v>105.30000000000001</c:v>
                </c:pt>
                <c:pt idx="822">
                  <c:v>99.459990000000005</c:v>
                </c:pt>
                <c:pt idx="823">
                  <c:v>99.459990000000005</c:v>
                </c:pt>
                <c:pt idx="824">
                  <c:v>99.459990000000005</c:v>
                </c:pt>
                <c:pt idx="825">
                  <c:v>99.459990000000005</c:v>
                </c:pt>
                <c:pt idx="826">
                  <c:v>99.009990000000002</c:v>
                </c:pt>
                <c:pt idx="827">
                  <c:v>98.569990000000004</c:v>
                </c:pt>
                <c:pt idx="828">
                  <c:v>97.679990000000004</c:v>
                </c:pt>
                <c:pt idx="829">
                  <c:v>97.23</c:v>
                </c:pt>
                <c:pt idx="830">
                  <c:v>97.23</c:v>
                </c:pt>
                <c:pt idx="831">
                  <c:v>94.98</c:v>
                </c:pt>
                <c:pt idx="832">
                  <c:v>94.98</c:v>
                </c:pt>
                <c:pt idx="833">
                  <c:v>94.98</c:v>
                </c:pt>
                <c:pt idx="834">
                  <c:v>94.98</c:v>
                </c:pt>
                <c:pt idx="835">
                  <c:v>94.98</c:v>
                </c:pt>
                <c:pt idx="836">
                  <c:v>94.98</c:v>
                </c:pt>
                <c:pt idx="837">
                  <c:v>94.98</c:v>
                </c:pt>
                <c:pt idx="838">
                  <c:v>94.98</c:v>
                </c:pt>
                <c:pt idx="839">
                  <c:v>96.319990000000004</c:v>
                </c:pt>
                <c:pt idx="840">
                  <c:v>95.879990000000006</c:v>
                </c:pt>
                <c:pt idx="841">
                  <c:v>96.319990000000004</c:v>
                </c:pt>
                <c:pt idx="842">
                  <c:v>96.319990000000004</c:v>
                </c:pt>
                <c:pt idx="843">
                  <c:v>96.319990000000004</c:v>
                </c:pt>
                <c:pt idx="844">
                  <c:v>96.319990000000004</c:v>
                </c:pt>
                <c:pt idx="845">
                  <c:v>96.319990000000004</c:v>
                </c:pt>
                <c:pt idx="846">
                  <c:v>96.319990000000004</c:v>
                </c:pt>
                <c:pt idx="847">
                  <c:v>96.319990000000004</c:v>
                </c:pt>
                <c:pt idx="848">
                  <c:v>96.319990000000004</c:v>
                </c:pt>
                <c:pt idx="849">
                  <c:v>96.319990000000004</c:v>
                </c:pt>
                <c:pt idx="850">
                  <c:v>96.319990000000004</c:v>
                </c:pt>
                <c:pt idx="851">
                  <c:v>96.319990000000004</c:v>
                </c:pt>
                <c:pt idx="852">
                  <c:v>96.319990000000004</c:v>
                </c:pt>
                <c:pt idx="853">
                  <c:v>96.319990000000004</c:v>
                </c:pt>
                <c:pt idx="854">
                  <c:v>96.319990000000004</c:v>
                </c:pt>
                <c:pt idx="855">
                  <c:v>96.319990000000004</c:v>
                </c:pt>
                <c:pt idx="856">
                  <c:v>96.319990000000004</c:v>
                </c:pt>
                <c:pt idx="857">
                  <c:v>96.319990000000004</c:v>
                </c:pt>
                <c:pt idx="858">
                  <c:v>97.21999000000001</c:v>
                </c:pt>
                <c:pt idx="859">
                  <c:v>97.21999000000001</c:v>
                </c:pt>
                <c:pt idx="860">
                  <c:v>97.659990000000008</c:v>
                </c:pt>
                <c:pt idx="861">
                  <c:v>98.10999000000001</c:v>
                </c:pt>
                <c:pt idx="862">
                  <c:v>98.10999000000001</c:v>
                </c:pt>
                <c:pt idx="863">
                  <c:v>98.10999000000001</c:v>
                </c:pt>
                <c:pt idx="864">
                  <c:v>99.459990000000005</c:v>
                </c:pt>
                <c:pt idx="865">
                  <c:v>99.459990000000005</c:v>
                </c:pt>
                <c:pt idx="866">
                  <c:v>99.459990000000005</c:v>
                </c:pt>
                <c:pt idx="867">
                  <c:v>99.459990000000005</c:v>
                </c:pt>
                <c:pt idx="868">
                  <c:v>99.459990000000005</c:v>
                </c:pt>
                <c:pt idx="869">
                  <c:v>99.459990000000005</c:v>
                </c:pt>
                <c:pt idx="870">
                  <c:v>99.459990000000005</c:v>
                </c:pt>
                <c:pt idx="871">
                  <c:v>99.459990000000005</c:v>
                </c:pt>
                <c:pt idx="872">
                  <c:v>99.459990000000005</c:v>
                </c:pt>
                <c:pt idx="873">
                  <c:v>99.459990000000005</c:v>
                </c:pt>
                <c:pt idx="874">
                  <c:v>99.459990000000005</c:v>
                </c:pt>
                <c:pt idx="875">
                  <c:v>99.459990000000005</c:v>
                </c:pt>
                <c:pt idx="876">
                  <c:v>99.459990000000005</c:v>
                </c:pt>
                <c:pt idx="877">
                  <c:v>99.459990000000005</c:v>
                </c:pt>
                <c:pt idx="878">
                  <c:v>99.459990000000005</c:v>
                </c:pt>
                <c:pt idx="879">
                  <c:v>99.909990000000008</c:v>
                </c:pt>
                <c:pt idx="880">
                  <c:v>99.909990000000008</c:v>
                </c:pt>
                <c:pt idx="881">
                  <c:v>100.35000000000001</c:v>
                </c:pt>
                <c:pt idx="882">
                  <c:v>100.36000000000001</c:v>
                </c:pt>
                <c:pt idx="883">
                  <c:v>100.36000000000001</c:v>
                </c:pt>
                <c:pt idx="884">
                  <c:v>100.36000000000001</c:v>
                </c:pt>
                <c:pt idx="885">
                  <c:v>100.36000000000001</c:v>
                </c:pt>
                <c:pt idx="886">
                  <c:v>100.36000000000001</c:v>
                </c:pt>
                <c:pt idx="887">
                  <c:v>100.36000000000001</c:v>
                </c:pt>
                <c:pt idx="888">
                  <c:v>100.36000000000001</c:v>
                </c:pt>
                <c:pt idx="889">
                  <c:v>100.36000000000001</c:v>
                </c:pt>
                <c:pt idx="890">
                  <c:v>100.36000000000001</c:v>
                </c:pt>
                <c:pt idx="891">
                  <c:v>100.36000000000001</c:v>
                </c:pt>
                <c:pt idx="892">
                  <c:v>100.36000000000001</c:v>
                </c:pt>
                <c:pt idx="893">
                  <c:v>100.36000000000001</c:v>
                </c:pt>
                <c:pt idx="894">
                  <c:v>103.95</c:v>
                </c:pt>
                <c:pt idx="895">
                  <c:v>108.35000000000001</c:v>
                </c:pt>
                <c:pt idx="896">
                  <c:v>108.35000000000001</c:v>
                </c:pt>
                <c:pt idx="897">
                  <c:v>109.25000000000001</c:v>
                </c:pt>
                <c:pt idx="898">
                  <c:v>109.24000000000001</c:v>
                </c:pt>
                <c:pt idx="899">
                  <c:v>109.24000000000001</c:v>
                </c:pt>
                <c:pt idx="900">
                  <c:v>109.24000000000001</c:v>
                </c:pt>
                <c:pt idx="901">
                  <c:v>109.68</c:v>
                </c:pt>
                <c:pt idx="902">
                  <c:v>109.69000000000001</c:v>
                </c:pt>
                <c:pt idx="903">
                  <c:v>109.69000000000001</c:v>
                </c:pt>
                <c:pt idx="904">
                  <c:v>111.02000000000001</c:v>
                </c:pt>
                <c:pt idx="905">
                  <c:v>112.92000000000002</c:v>
                </c:pt>
                <c:pt idx="906">
                  <c:v>111.57000000000001</c:v>
                </c:pt>
                <c:pt idx="907">
                  <c:v>110.67000000000002</c:v>
                </c:pt>
                <c:pt idx="908">
                  <c:v>110.68</c:v>
                </c:pt>
                <c:pt idx="909">
                  <c:v>110.67000000000002</c:v>
                </c:pt>
                <c:pt idx="910">
                  <c:v>110.66000000000001</c:v>
                </c:pt>
                <c:pt idx="911">
                  <c:v>115.16000000000001</c:v>
                </c:pt>
                <c:pt idx="912">
                  <c:v>115.17000000000002</c:v>
                </c:pt>
                <c:pt idx="913">
                  <c:v>115.14000000000001</c:v>
                </c:pt>
                <c:pt idx="914">
                  <c:v>115.16000000000001</c:v>
                </c:pt>
                <c:pt idx="915">
                  <c:v>116.04</c:v>
                </c:pt>
                <c:pt idx="916">
                  <c:v>116.03000000000002</c:v>
                </c:pt>
                <c:pt idx="917">
                  <c:v>116.94000000000001</c:v>
                </c:pt>
                <c:pt idx="918">
                  <c:v>116.96000000000001</c:v>
                </c:pt>
                <c:pt idx="919">
                  <c:v>116.07000000000001</c:v>
                </c:pt>
                <c:pt idx="920">
                  <c:v>116.06000000000002</c:v>
                </c:pt>
                <c:pt idx="921">
                  <c:v>113.79</c:v>
                </c:pt>
                <c:pt idx="922">
                  <c:v>112.91000000000001</c:v>
                </c:pt>
                <c:pt idx="923">
                  <c:v>112.92000000000002</c:v>
                </c:pt>
                <c:pt idx="924">
                  <c:v>112.92000000000002</c:v>
                </c:pt>
                <c:pt idx="925">
                  <c:v>112.48</c:v>
                </c:pt>
                <c:pt idx="926">
                  <c:v>112.47000000000001</c:v>
                </c:pt>
                <c:pt idx="927">
                  <c:v>112.01</c:v>
                </c:pt>
                <c:pt idx="928">
                  <c:v>112.03000000000002</c:v>
                </c:pt>
                <c:pt idx="929">
                  <c:v>112.01</c:v>
                </c:pt>
                <c:pt idx="930">
                  <c:v>112.01</c:v>
                </c:pt>
                <c:pt idx="931">
                  <c:v>111.58000000000001</c:v>
                </c:pt>
                <c:pt idx="932">
                  <c:v>111.58000000000001</c:v>
                </c:pt>
                <c:pt idx="933">
                  <c:v>112.03000000000002</c:v>
                </c:pt>
                <c:pt idx="934">
                  <c:v>112.00000000000001</c:v>
                </c:pt>
                <c:pt idx="935">
                  <c:v>112.91000000000001</c:v>
                </c:pt>
                <c:pt idx="936">
                  <c:v>112.02000000000001</c:v>
                </c:pt>
                <c:pt idx="937">
                  <c:v>112.03000000000002</c:v>
                </c:pt>
                <c:pt idx="938">
                  <c:v>112.01</c:v>
                </c:pt>
                <c:pt idx="939">
                  <c:v>112.02000000000001</c:v>
                </c:pt>
                <c:pt idx="940">
                  <c:v>112.02000000000001</c:v>
                </c:pt>
                <c:pt idx="941">
                  <c:v>112.00000000000001</c:v>
                </c:pt>
                <c:pt idx="942">
                  <c:v>112.01</c:v>
                </c:pt>
                <c:pt idx="943">
                  <c:v>112.03000000000002</c:v>
                </c:pt>
                <c:pt idx="944">
                  <c:v>112.02000000000001</c:v>
                </c:pt>
                <c:pt idx="945">
                  <c:v>112.01</c:v>
                </c:pt>
                <c:pt idx="946">
                  <c:v>112.01</c:v>
                </c:pt>
                <c:pt idx="947">
                  <c:v>112.02000000000001</c:v>
                </c:pt>
                <c:pt idx="948">
                  <c:v>112.47000000000001</c:v>
                </c:pt>
                <c:pt idx="949">
                  <c:v>112.9</c:v>
                </c:pt>
                <c:pt idx="950">
                  <c:v>113.79</c:v>
                </c:pt>
                <c:pt idx="951">
                  <c:v>117.64000000000001</c:v>
                </c:pt>
                <c:pt idx="952">
                  <c:v>117.62</c:v>
                </c:pt>
                <c:pt idx="953">
                  <c:v>117.63000000000001</c:v>
                </c:pt>
                <c:pt idx="954">
                  <c:v>117.62</c:v>
                </c:pt>
                <c:pt idx="955">
                  <c:v>117.62</c:v>
                </c:pt>
                <c:pt idx="956">
                  <c:v>117.61000000000001</c:v>
                </c:pt>
                <c:pt idx="957">
                  <c:v>117.63000000000001</c:v>
                </c:pt>
                <c:pt idx="958">
                  <c:v>116.28000000000002</c:v>
                </c:pt>
                <c:pt idx="959">
                  <c:v>117.18</c:v>
                </c:pt>
                <c:pt idx="960">
                  <c:v>117.19000000000001</c:v>
                </c:pt>
                <c:pt idx="961">
                  <c:v>117.64000000000001</c:v>
                </c:pt>
                <c:pt idx="962">
                  <c:v>113.16000000000001</c:v>
                </c:pt>
                <c:pt idx="963">
                  <c:v>113.16000000000001</c:v>
                </c:pt>
                <c:pt idx="964">
                  <c:v>113.15</c:v>
                </c:pt>
                <c:pt idx="965">
                  <c:v>113.16000000000001</c:v>
                </c:pt>
                <c:pt idx="966">
                  <c:v>117.45</c:v>
                </c:pt>
                <c:pt idx="967">
                  <c:v>113.16000000000001</c:v>
                </c:pt>
                <c:pt idx="968">
                  <c:v>113.16000000000001</c:v>
                </c:pt>
                <c:pt idx="969">
                  <c:v>113.16000000000001</c:v>
                </c:pt>
                <c:pt idx="970">
                  <c:v>109.05000000000001</c:v>
                </c:pt>
                <c:pt idx="971">
                  <c:v>109.92000000000002</c:v>
                </c:pt>
                <c:pt idx="972">
                  <c:v>109.94000000000001</c:v>
                </c:pt>
                <c:pt idx="973">
                  <c:v>109.92000000000002</c:v>
                </c:pt>
                <c:pt idx="974">
                  <c:v>109.94000000000001</c:v>
                </c:pt>
                <c:pt idx="975">
                  <c:v>109.94000000000001</c:v>
                </c:pt>
                <c:pt idx="976">
                  <c:v>115.73</c:v>
                </c:pt>
                <c:pt idx="977">
                  <c:v>117.00000000000001</c:v>
                </c:pt>
                <c:pt idx="978">
                  <c:v>115.73</c:v>
                </c:pt>
                <c:pt idx="979">
                  <c:v>115.73</c:v>
                </c:pt>
                <c:pt idx="980">
                  <c:v>109.94560000000001</c:v>
                </c:pt>
                <c:pt idx="981">
                  <c:v>117.38000000000001</c:v>
                </c:pt>
                <c:pt idx="982">
                  <c:v>117.39000000000001</c:v>
                </c:pt>
                <c:pt idx="983">
                  <c:v>117.39000000000001</c:v>
                </c:pt>
                <c:pt idx="984">
                  <c:v>116.50000000000001</c:v>
                </c:pt>
                <c:pt idx="985">
                  <c:v>116.49000000000001</c:v>
                </c:pt>
                <c:pt idx="986">
                  <c:v>117.38000000000001</c:v>
                </c:pt>
                <c:pt idx="987">
                  <c:v>118.7</c:v>
                </c:pt>
                <c:pt idx="988">
                  <c:v>117.4</c:v>
                </c:pt>
                <c:pt idx="989">
                  <c:v>116.05000000000001</c:v>
                </c:pt>
                <c:pt idx="990">
                  <c:v>116.05000000000001</c:v>
                </c:pt>
                <c:pt idx="991">
                  <c:v>116.50000000000001</c:v>
                </c:pt>
                <c:pt idx="992">
                  <c:v>117.83000000000001</c:v>
                </c:pt>
                <c:pt idx="993">
                  <c:v>117.38000000000001</c:v>
                </c:pt>
                <c:pt idx="994">
                  <c:v>117.41000000000001</c:v>
                </c:pt>
                <c:pt idx="995">
                  <c:v>117.74000000000001</c:v>
                </c:pt>
                <c:pt idx="996">
                  <c:v>118.18</c:v>
                </c:pt>
                <c:pt idx="997">
                  <c:v>117.75000000000001</c:v>
                </c:pt>
                <c:pt idx="998">
                  <c:v>118.21000000000001</c:v>
                </c:pt>
                <c:pt idx="999">
                  <c:v>118.19000000000001</c:v>
                </c:pt>
                <c:pt idx="1000">
                  <c:v>118.2</c:v>
                </c:pt>
                <c:pt idx="1001">
                  <c:v>118.21000000000001</c:v>
                </c:pt>
                <c:pt idx="1002">
                  <c:v>119.99000000000001</c:v>
                </c:pt>
                <c:pt idx="1003">
                  <c:v>120.43</c:v>
                </c:pt>
                <c:pt idx="1004">
                  <c:v>121.37</c:v>
                </c:pt>
                <c:pt idx="1005">
                  <c:v>121.78000000000002</c:v>
                </c:pt>
                <c:pt idx="1006">
                  <c:v>121.37350000000001</c:v>
                </c:pt>
                <c:pt idx="1007">
                  <c:v>121.77000000000001</c:v>
                </c:pt>
                <c:pt idx="1008">
                  <c:v>121.78000000000002</c:v>
                </c:pt>
                <c:pt idx="1009">
                  <c:v>121.76</c:v>
                </c:pt>
                <c:pt idx="1010">
                  <c:v>121.76</c:v>
                </c:pt>
                <c:pt idx="1011">
                  <c:v>119.55000000000001</c:v>
                </c:pt>
                <c:pt idx="1012">
                  <c:v>119.56000000000002</c:v>
                </c:pt>
                <c:pt idx="1013">
                  <c:v>119.53000000000002</c:v>
                </c:pt>
                <c:pt idx="1014">
                  <c:v>118.42000000000002</c:v>
                </c:pt>
                <c:pt idx="1015">
                  <c:v>118.43</c:v>
                </c:pt>
                <c:pt idx="1016">
                  <c:v>118.42000000000002</c:v>
                </c:pt>
              </c:numCache>
            </c:numRef>
          </c:val>
          <c:smooth val="0"/>
        </c:ser>
        <c:ser>
          <c:idx val="0"/>
          <c:order val="3"/>
          <c:tx>
            <c:strRef>
              <c:f>[alco.xlsm]cds!$D$4</c:f>
              <c:strCache>
                <c:ptCount val="1"/>
                <c:pt idx="0">
                  <c:v>Lengyelország</c:v>
                </c:pt>
              </c:strCache>
            </c:strRef>
          </c:tx>
          <c:spPr>
            <a:ln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[alco.xlsm]cds_west!$A$1578:$A$5000</c:f>
              <c:numCache>
                <c:formatCode>m/d/yyyy</c:formatCode>
                <c:ptCount val="3423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3</c:v>
                </c:pt>
                <c:pt idx="54">
                  <c:v>40984</c:v>
                </c:pt>
                <c:pt idx="55">
                  <c:v>40987</c:v>
                </c:pt>
                <c:pt idx="56">
                  <c:v>40988</c:v>
                </c:pt>
                <c:pt idx="57">
                  <c:v>40989</c:v>
                </c:pt>
                <c:pt idx="58">
                  <c:v>40990</c:v>
                </c:pt>
                <c:pt idx="59">
                  <c:v>40991</c:v>
                </c:pt>
                <c:pt idx="60">
                  <c:v>40994</c:v>
                </c:pt>
                <c:pt idx="61">
                  <c:v>40995</c:v>
                </c:pt>
                <c:pt idx="62">
                  <c:v>40996</c:v>
                </c:pt>
                <c:pt idx="63">
                  <c:v>40997</c:v>
                </c:pt>
                <c:pt idx="64">
                  <c:v>40998</c:v>
                </c:pt>
                <c:pt idx="65">
                  <c:v>41001</c:v>
                </c:pt>
                <c:pt idx="66">
                  <c:v>41002</c:v>
                </c:pt>
                <c:pt idx="67">
                  <c:v>41003</c:v>
                </c:pt>
                <c:pt idx="68">
                  <c:v>41004</c:v>
                </c:pt>
                <c:pt idx="69">
                  <c:v>41005</c:v>
                </c:pt>
                <c:pt idx="70">
                  <c:v>41008</c:v>
                </c:pt>
                <c:pt idx="71">
                  <c:v>41009</c:v>
                </c:pt>
                <c:pt idx="72">
                  <c:v>41010</c:v>
                </c:pt>
                <c:pt idx="73">
                  <c:v>41011</c:v>
                </c:pt>
                <c:pt idx="74">
                  <c:v>41012</c:v>
                </c:pt>
                <c:pt idx="75">
                  <c:v>41015</c:v>
                </c:pt>
                <c:pt idx="76">
                  <c:v>41016</c:v>
                </c:pt>
                <c:pt idx="77">
                  <c:v>41017</c:v>
                </c:pt>
                <c:pt idx="78">
                  <c:v>41018</c:v>
                </c:pt>
                <c:pt idx="79">
                  <c:v>41019</c:v>
                </c:pt>
                <c:pt idx="80">
                  <c:v>41022</c:v>
                </c:pt>
                <c:pt idx="81">
                  <c:v>41023</c:v>
                </c:pt>
                <c:pt idx="82">
                  <c:v>41024</c:v>
                </c:pt>
                <c:pt idx="83">
                  <c:v>41025</c:v>
                </c:pt>
                <c:pt idx="84">
                  <c:v>41026</c:v>
                </c:pt>
                <c:pt idx="85">
                  <c:v>41029</c:v>
                </c:pt>
                <c:pt idx="86">
                  <c:v>41030</c:v>
                </c:pt>
                <c:pt idx="87">
                  <c:v>41031</c:v>
                </c:pt>
                <c:pt idx="88">
                  <c:v>41032</c:v>
                </c:pt>
                <c:pt idx="89">
                  <c:v>41033</c:v>
                </c:pt>
                <c:pt idx="90">
                  <c:v>41036</c:v>
                </c:pt>
                <c:pt idx="91">
                  <c:v>41037</c:v>
                </c:pt>
                <c:pt idx="92">
                  <c:v>41038</c:v>
                </c:pt>
                <c:pt idx="93">
                  <c:v>41039</c:v>
                </c:pt>
                <c:pt idx="94">
                  <c:v>41040</c:v>
                </c:pt>
                <c:pt idx="95">
                  <c:v>41043</c:v>
                </c:pt>
                <c:pt idx="96">
                  <c:v>41044</c:v>
                </c:pt>
                <c:pt idx="97">
                  <c:v>41045</c:v>
                </c:pt>
                <c:pt idx="98">
                  <c:v>41046</c:v>
                </c:pt>
                <c:pt idx="99">
                  <c:v>41047</c:v>
                </c:pt>
                <c:pt idx="100">
                  <c:v>41050</c:v>
                </c:pt>
                <c:pt idx="101">
                  <c:v>41051</c:v>
                </c:pt>
                <c:pt idx="102">
                  <c:v>41052</c:v>
                </c:pt>
                <c:pt idx="103">
                  <c:v>41053</c:v>
                </c:pt>
                <c:pt idx="104">
                  <c:v>41054</c:v>
                </c:pt>
                <c:pt idx="105">
                  <c:v>41057</c:v>
                </c:pt>
                <c:pt idx="106">
                  <c:v>41058</c:v>
                </c:pt>
                <c:pt idx="107">
                  <c:v>41059</c:v>
                </c:pt>
                <c:pt idx="108">
                  <c:v>41060</c:v>
                </c:pt>
                <c:pt idx="109">
                  <c:v>41061</c:v>
                </c:pt>
                <c:pt idx="110">
                  <c:v>41064</c:v>
                </c:pt>
                <c:pt idx="111">
                  <c:v>41065</c:v>
                </c:pt>
                <c:pt idx="112">
                  <c:v>41066</c:v>
                </c:pt>
                <c:pt idx="113">
                  <c:v>41067</c:v>
                </c:pt>
                <c:pt idx="114">
                  <c:v>41068</c:v>
                </c:pt>
                <c:pt idx="115">
                  <c:v>41071</c:v>
                </c:pt>
                <c:pt idx="116">
                  <c:v>41072</c:v>
                </c:pt>
                <c:pt idx="117">
                  <c:v>41073</c:v>
                </c:pt>
                <c:pt idx="118">
                  <c:v>41074</c:v>
                </c:pt>
                <c:pt idx="119">
                  <c:v>41075</c:v>
                </c:pt>
                <c:pt idx="120">
                  <c:v>41078</c:v>
                </c:pt>
                <c:pt idx="121">
                  <c:v>41079</c:v>
                </c:pt>
                <c:pt idx="122">
                  <c:v>41080</c:v>
                </c:pt>
                <c:pt idx="123">
                  <c:v>41081</c:v>
                </c:pt>
                <c:pt idx="124">
                  <c:v>41082</c:v>
                </c:pt>
                <c:pt idx="125">
                  <c:v>41085</c:v>
                </c:pt>
                <c:pt idx="126">
                  <c:v>41086</c:v>
                </c:pt>
                <c:pt idx="127">
                  <c:v>41087</c:v>
                </c:pt>
                <c:pt idx="128">
                  <c:v>41088</c:v>
                </c:pt>
                <c:pt idx="129">
                  <c:v>41089</c:v>
                </c:pt>
                <c:pt idx="130">
                  <c:v>41092</c:v>
                </c:pt>
                <c:pt idx="131">
                  <c:v>41093</c:v>
                </c:pt>
                <c:pt idx="132">
                  <c:v>41094</c:v>
                </c:pt>
                <c:pt idx="133">
                  <c:v>41095</c:v>
                </c:pt>
                <c:pt idx="134">
                  <c:v>41096</c:v>
                </c:pt>
                <c:pt idx="135">
                  <c:v>41099</c:v>
                </c:pt>
                <c:pt idx="136">
                  <c:v>41100</c:v>
                </c:pt>
                <c:pt idx="137">
                  <c:v>41101</c:v>
                </c:pt>
                <c:pt idx="138">
                  <c:v>41102</c:v>
                </c:pt>
                <c:pt idx="139">
                  <c:v>41103</c:v>
                </c:pt>
                <c:pt idx="140">
                  <c:v>41106</c:v>
                </c:pt>
                <c:pt idx="141">
                  <c:v>41107</c:v>
                </c:pt>
                <c:pt idx="142">
                  <c:v>41108</c:v>
                </c:pt>
                <c:pt idx="143">
                  <c:v>41109</c:v>
                </c:pt>
                <c:pt idx="144">
                  <c:v>41110</c:v>
                </c:pt>
                <c:pt idx="145">
                  <c:v>41113</c:v>
                </c:pt>
                <c:pt idx="146">
                  <c:v>41114</c:v>
                </c:pt>
                <c:pt idx="147">
                  <c:v>41115</c:v>
                </c:pt>
                <c:pt idx="148">
                  <c:v>41116</c:v>
                </c:pt>
                <c:pt idx="149">
                  <c:v>41117</c:v>
                </c:pt>
                <c:pt idx="150">
                  <c:v>41120</c:v>
                </c:pt>
                <c:pt idx="151">
                  <c:v>41121</c:v>
                </c:pt>
                <c:pt idx="152">
                  <c:v>41122</c:v>
                </c:pt>
                <c:pt idx="153">
                  <c:v>41123</c:v>
                </c:pt>
                <c:pt idx="154">
                  <c:v>41124</c:v>
                </c:pt>
                <c:pt idx="155">
                  <c:v>41127</c:v>
                </c:pt>
                <c:pt idx="156">
                  <c:v>41128</c:v>
                </c:pt>
                <c:pt idx="157">
                  <c:v>41129</c:v>
                </c:pt>
                <c:pt idx="158">
                  <c:v>41130</c:v>
                </c:pt>
                <c:pt idx="159">
                  <c:v>41131</c:v>
                </c:pt>
                <c:pt idx="160">
                  <c:v>41134</c:v>
                </c:pt>
                <c:pt idx="161">
                  <c:v>41135</c:v>
                </c:pt>
                <c:pt idx="162">
                  <c:v>41136</c:v>
                </c:pt>
                <c:pt idx="163">
                  <c:v>41137</c:v>
                </c:pt>
                <c:pt idx="164">
                  <c:v>41138</c:v>
                </c:pt>
                <c:pt idx="165">
                  <c:v>41141</c:v>
                </c:pt>
                <c:pt idx="166">
                  <c:v>41142</c:v>
                </c:pt>
                <c:pt idx="167">
                  <c:v>41143</c:v>
                </c:pt>
                <c:pt idx="168">
                  <c:v>41144</c:v>
                </c:pt>
                <c:pt idx="169">
                  <c:v>41145</c:v>
                </c:pt>
                <c:pt idx="170">
                  <c:v>41148</c:v>
                </c:pt>
                <c:pt idx="171">
                  <c:v>41149</c:v>
                </c:pt>
                <c:pt idx="172">
                  <c:v>41150</c:v>
                </c:pt>
                <c:pt idx="173">
                  <c:v>41151</c:v>
                </c:pt>
                <c:pt idx="174">
                  <c:v>41152</c:v>
                </c:pt>
                <c:pt idx="175">
                  <c:v>41155</c:v>
                </c:pt>
                <c:pt idx="176">
                  <c:v>41156</c:v>
                </c:pt>
                <c:pt idx="177">
                  <c:v>41157</c:v>
                </c:pt>
                <c:pt idx="178">
                  <c:v>41158</c:v>
                </c:pt>
                <c:pt idx="179">
                  <c:v>41159</c:v>
                </c:pt>
                <c:pt idx="180">
                  <c:v>41162</c:v>
                </c:pt>
                <c:pt idx="181">
                  <c:v>41163</c:v>
                </c:pt>
                <c:pt idx="182">
                  <c:v>41164</c:v>
                </c:pt>
                <c:pt idx="183">
                  <c:v>41165</c:v>
                </c:pt>
                <c:pt idx="184">
                  <c:v>41166</c:v>
                </c:pt>
                <c:pt idx="185">
                  <c:v>41169</c:v>
                </c:pt>
                <c:pt idx="186">
                  <c:v>41170</c:v>
                </c:pt>
                <c:pt idx="187">
                  <c:v>41171</c:v>
                </c:pt>
                <c:pt idx="188">
                  <c:v>41172</c:v>
                </c:pt>
                <c:pt idx="189">
                  <c:v>41173</c:v>
                </c:pt>
                <c:pt idx="190">
                  <c:v>41176</c:v>
                </c:pt>
                <c:pt idx="191">
                  <c:v>41177</c:v>
                </c:pt>
                <c:pt idx="192">
                  <c:v>41178</c:v>
                </c:pt>
                <c:pt idx="193">
                  <c:v>41179</c:v>
                </c:pt>
                <c:pt idx="194">
                  <c:v>41180</c:v>
                </c:pt>
                <c:pt idx="195">
                  <c:v>41183</c:v>
                </c:pt>
                <c:pt idx="196">
                  <c:v>41184</c:v>
                </c:pt>
                <c:pt idx="197">
                  <c:v>41185</c:v>
                </c:pt>
                <c:pt idx="198">
                  <c:v>41186</c:v>
                </c:pt>
                <c:pt idx="199">
                  <c:v>41187</c:v>
                </c:pt>
                <c:pt idx="200">
                  <c:v>41190</c:v>
                </c:pt>
                <c:pt idx="201">
                  <c:v>41191</c:v>
                </c:pt>
                <c:pt idx="202">
                  <c:v>41192</c:v>
                </c:pt>
                <c:pt idx="203">
                  <c:v>41193</c:v>
                </c:pt>
                <c:pt idx="204">
                  <c:v>41194</c:v>
                </c:pt>
                <c:pt idx="205">
                  <c:v>41197</c:v>
                </c:pt>
                <c:pt idx="206">
                  <c:v>41198</c:v>
                </c:pt>
                <c:pt idx="207">
                  <c:v>41199</c:v>
                </c:pt>
                <c:pt idx="208">
                  <c:v>41200</c:v>
                </c:pt>
                <c:pt idx="209">
                  <c:v>41201</c:v>
                </c:pt>
                <c:pt idx="210">
                  <c:v>41204</c:v>
                </c:pt>
                <c:pt idx="211">
                  <c:v>41205</c:v>
                </c:pt>
                <c:pt idx="212">
                  <c:v>41206</c:v>
                </c:pt>
                <c:pt idx="213">
                  <c:v>41207</c:v>
                </c:pt>
                <c:pt idx="214">
                  <c:v>41208</c:v>
                </c:pt>
                <c:pt idx="215">
                  <c:v>41211</c:v>
                </c:pt>
                <c:pt idx="216">
                  <c:v>41212</c:v>
                </c:pt>
                <c:pt idx="217">
                  <c:v>41213</c:v>
                </c:pt>
                <c:pt idx="218">
                  <c:v>41214</c:v>
                </c:pt>
                <c:pt idx="219">
                  <c:v>41215</c:v>
                </c:pt>
                <c:pt idx="220">
                  <c:v>41218</c:v>
                </c:pt>
                <c:pt idx="221">
                  <c:v>41219</c:v>
                </c:pt>
                <c:pt idx="222">
                  <c:v>41220</c:v>
                </c:pt>
                <c:pt idx="223">
                  <c:v>41221</c:v>
                </c:pt>
                <c:pt idx="224">
                  <c:v>41222</c:v>
                </c:pt>
                <c:pt idx="225">
                  <c:v>41225</c:v>
                </c:pt>
                <c:pt idx="226">
                  <c:v>41226</c:v>
                </c:pt>
                <c:pt idx="227">
                  <c:v>41227</c:v>
                </c:pt>
                <c:pt idx="228">
                  <c:v>41228</c:v>
                </c:pt>
                <c:pt idx="229">
                  <c:v>41229</c:v>
                </c:pt>
                <c:pt idx="230">
                  <c:v>41232</c:v>
                </c:pt>
                <c:pt idx="231">
                  <c:v>41233</c:v>
                </c:pt>
                <c:pt idx="232">
                  <c:v>41234</c:v>
                </c:pt>
                <c:pt idx="233">
                  <c:v>41235</c:v>
                </c:pt>
                <c:pt idx="234">
                  <c:v>41236</c:v>
                </c:pt>
                <c:pt idx="235">
                  <c:v>41239</c:v>
                </c:pt>
                <c:pt idx="236">
                  <c:v>41240</c:v>
                </c:pt>
                <c:pt idx="237">
                  <c:v>41241</c:v>
                </c:pt>
                <c:pt idx="238">
                  <c:v>41242</c:v>
                </c:pt>
                <c:pt idx="239">
                  <c:v>41243</c:v>
                </c:pt>
                <c:pt idx="240">
                  <c:v>41246</c:v>
                </c:pt>
                <c:pt idx="241">
                  <c:v>41247</c:v>
                </c:pt>
                <c:pt idx="242">
                  <c:v>41248</c:v>
                </c:pt>
                <c:pt idx="243">
                  <c:v>41249</c:v>
                </c:pt>
                <c:pt idx="244">
                  <c:v>41250</c:v>
                </c:pt>
                <c:pt idx="245">
                  <c:v>41253</c:v>
                </c:pt>
                <c:pt idx="246">
                  <c:v>41254</c:v>
                </c:pt>
                <c:pt idx="247">
                  <c:v>41255</c:v>
                </c:pt>
                <c:pt idx="248">
                  <c:v>41256</c:v>
                </c:pt>
                <c:pt idx="249">
                  <c:v>41257</c:v>
                </c:pt>
                <c:pt idx="250">
                  <c:v>41260</c:v>
                </c:pt>
                <c:pt idx="251">
                  <c:v>41261</c:v>
                </c:pt>
                <c:pt idx="252">
                  <c:v>41262</c:v>
                </c:pt>
                <c:pt idx="253">
                  <c:v>41263</c:v>
                </c:pt>
                <c:pt idx="254">
                  <c:v>41264</c:v>
                </c:pt>
                <c:pt idx="255">
                  <c:v>41267</c:v>
                </c:pt>
                <c:pt idx="256">
                  <c:v>41268</c:v>
                </c:pt>
                <c:pt idx="257">
                  <c:v>41269</c:v>
                </c:pt>
                <c:pt idx="258">
                  <c:v>41270</c:v>
                </c:pt>
                <c:pt idx="259">
                  <c:v>41271</c:v>
                </c:pt>
                <c:pt idx="260">
                  <c:v>41274</c:v>
                </c:pt>
                <c:pt idx="261">
                  <c:v>41275</c:v>
                </c:pt>
                <c:pt idx="262">
                  <c:v>41276</c:v>
                </c:pt>
                <c:pt idx="263">
                  <c:v>41277</c:v>
                </c:pt>
                <c:pt idx="264">
                  <c:v>41278</c:v>
                </c:pt>
                <c:pt idx="265">
                  <c:v>41281</c:v>
                </c:pt>
                <c:pt idx="266">
                  <c:v>41282</c:v>
                </c:pt>
                <c:pt idx="267">
                  <c:v>41283</c:v>
                </c:pt>
                <c:pt idx="268">
                  <c:v>41284</c:v>
                </c:pt>
                <c:pt idx="269">
                  <c:v>41285</c:v>
                </c:pt>
                <c:pt idx="270">
                  <c:v>41288</c:v>
                </c:pt>
                <c:pt idx="271">
                  <c:v>41289</c:v>
                </c:pt>
                <c:pt idx="272">
                  <c:v>41290</c:v>
                </c:pt>
                <c:pt idx="273">
                  <c:v>41291</c:v>
                </c:pt>
                <c:pt idx="274">
                  <c:v>41292</c:v>
                </c:pt>
                <c:pt idx="275">
                  <c:v>41295</c:v>
                </c:pt>
                <c:pt idx="276">
                  <c:v>41296</c:v>
                </c:pt>
                <c:pt idx="277">
                  <c:v>41297</c:v>
                </c:pt>
                <c:pt idx="278">
                  <c:v>41298</c:v>
                </c:pt>
                <c:pt idx="279">
                  <c:v>41299</c:v>
                </c:pt>
                <c:pt idx="280">
                  <c:v>41302</c:v>
                </c:pt>
                <c:pt idx="281">
                  <c:v>41303</c:v>
                </c:pt>
                <c:pt idx="282">
                  <c:v>41304</c:v>
                </c:pt>
                <c:pt idx="283">
                  <c:v>41305</c:v>
                </c:pt>
                <c:pt idx="284">
                  <c:v>41306</c:v>
                </c:pt>
                <c:pt idx="285">
                  <c:v>41309</c:v>
                </c:pt>
                <c:pt idx="286">
                  <c:v>41310</c:v>
                </c:pt>
                <c:pt idx="287">
                  <c:v>41311</c:v>
                </c:pt>
                <c:pt idx="288">
                  <c:v>41312</c:v>
                </c:pt>
                <c:pt idx="289">
                  <c:v>41313</c:v>
                </c:pt>
                <c:pt idx="290">
                  <c:v>41316</c:v>
                </c:pt>
                <c:pt idx="291">
                  <c:v>41317</c:v>
                </c:pt>
                <c:pt idx="292">
                  <c:v>41318</c:v>
                </c:pt>
                <c:pt idx="293">
                  <c:v>41319</c:v>
                </c:pt>
                <c:pt idx="294">
                  <c:v>41320</c:v>
                </c:pt>
                <c:pt idx="295">
                  <c:v>41323</c:v>
                </c:pt>
                <c:pt idx="296">
                  <c:v>41324</c:v>
                </c:pt>
                <c:pt idx="297">
                  <c:v>41325</c:v>
                </c:pt>
                <c:pt idx="298">
                  <c:v>41326</c:v>
                </c:pt>
                <c:pt idx="299">
                  <c:v>41327</c:v>
                </c:pt>
                <c:pt idx="300">
                  <c:v>41330</c:v>
                </c:pt>
                <c:pt idx="301">
                  <c:v>41331</c:v>
                </c:pt>
                <c:pt idx="302">
                  <c:v>41332</c:v>
                </c:pt>
                <c:pt idx="303">
                  <c:v>41333</c:v>
                </c:pt>
                <c:pt idx="304">
                  <c:v>41334</c:v>
                </c:pt>
                <c:pt idx="305">
                  <c:v>41337</c:v>
                </c:pt>
                <c:pt idx="306">
                  <c:v>41338</c:v>
                </c:pt>
                <c:pt idx="307">
                  <c:v>41339</c:v>
                </c:pt>
                <c:pt idx="308">
                  <c:v>41340</c:v>
                </c:pt>
                <c:pt idx="309">
                  <c:v>41341</c:v>
                </c:pt>
                <c:pt idx="310">
                  <c:v>41344</c:v>
                </c:pt>
                <c:pt idx="311">
                  <c:v>41345</c:v>
                </c:pt>
                <c:pt idx="312">
                  <c:v>41346</c:v>
                </c:pt>
                <c:pt idx="313">
                  <c:v>41347</c:v>
                </c:pt>
                <c:pt idx="314">
                  <c:v>41348</c:v>
                </c:pt>
                <c:pt idx="315">
                  <c:v>41351</c:v>
                </c:pt>
                <c:pt idx="316">
                  <c:v>41352</c:v>
                </c:pt>
                <c:pt idx="317">
                  <c:v>41353</c:v>
                </c:pt>
                <c:pt idx="318">
                  <c:v>41354</c:v>
                </c:pt>
                <c:pt idx="319">
                  <c:v>41355</c:v>
                </c:pt>
                <c:pt idx="320">
                  <c:v>41358</c:v>
                </c:pt>
                <c:pt idx="321">
                  <c:v>41359</c:v>
                </c:pt>
                <c:pt idx="322">
                  <c:v>41360</c:v>
                </c:pt>
                <c:pt idx="323">
                  <c:v>41361</c:v>
                </c:pt>
                <c:pt idx="324">
                  <c:v>41362</c:v>
                </c:pt>
                <c:pt idx="325">
                  <c:v>41365</c:v>
                </c:pt>
                <c:pt idx="326">
                  <c:v>41366</c:v>
                </c:pt>
                <c:pt idx="327">
                  <c:v>41367</c:v>
                </c:pt>
                <c:pt idx="328">
                  <c:v>41368</c:v>
                </c:pt>
                <c:pt idx="329">
                  <c:v>41369</c:v>
                </c:pt>
                <c:pt idx="330">
                  <c:v>41372</c:v>
                </c:pt>
                <c:pt idx="331">
                  <c:v>41373</c:v>
                </c:pt>
                <c:pt idx="332">
                  <c:v>41374</c:v>
                </c:pt>
                <c:pt idx="333">
                  <c:v>41375</c:v>
                </c:pt>
                <c:pt idx="334">
                  <c:v>41376</c:v>
                </c:pt>
                <c:pt idx="335">
                  <c:v>41379</c:v>
                </c:pt>
                <c:pt idx="336">
                  <c:v>41380</c:v>
                </c:pt>
                <c:pt idx="337">
                  <c:v>41381</c:v>
                </c:pt>
                <c:pt idx="338">
                  <c:v>41382</c:v>
                </c:pt>
                <c:pt idx="339">
                  <c:v>41383</c:v>
                </c:pt>
                <c:pt idx="340">
                  <c:v>41386</c:v>
                </c:pt>
                <c:pt idx="341">
                  <c:v>41387</c:v>
                </c:pt>
                <c:pt idx="342">
                  <c:v>41388</c:v>
                </c:pt>
                <c:pt idx="343">
                  <c:v>41389</c:v>
                </c:pt>
                <c:pt idx="344">
                  <c:v>41390</c:v>
                </c:pt>
                <c:pt idx="345">
                  <c:v>41393</c:v>
                </c:pt>
                <c:pt idx="346">
                  <c:v>41394</c:v>
                </c:pt>
                <c:pt idx="347">
                  <c:v>41395</c:v>
                </c:pt>
                <c:pt idx="348">
                  <c:v>41396</c:v>
                </c:pt>
                <c:pt idx="349">
                  <c:v>41397</c:v>
                </c:pt>
                <c:pt idx="350">
                  <c:v>41400</c:v>
                </c:pt>
                <c:pt idx="351">
                  <c:v>41401</c:v>
                </c:pt>
                <c:pt idx="352">
                  <c:v>41402</c:v>
                </c:pt>
                <c:pt idx="353">
                  <c:v>41403</c:v>
                </c:pt>
                <c:pt idx="354">
                  <c:v>41404</c:v>
                </c:pt>
                <c:pt idx="355">
                  <c:v>41407</c:v>
                </c:pt>
                <c:pt idx="356">
                  <c:v>41408</c:v>
                </c:pt>
                <c:pt idx="357">
                  <c:v>41409</c:v>
                </c:pt>
                <c:pt idx="358">
                  <c:v>41410</c:v>
                </c:pt>
                <c:pt idx="359">
                  <c:v>41411</c:v>
                </c:pt>
                <c:pt idx="360">
                  <c:v>41414</c:v>
                </c:pt>
                <c:pt idx="361">
                  <c:v>41415</c:v>
                </c:pt>
                <c:pt idx="362">
                  <c:v>41416</c:v>
                </c:pt>
                <c:pt idx="363">
                  <c:v>41417</c:v>
                </c:pt>
                <c:pt idx="364">
                  <c:v>41418</c:v>
                </c:pt>
                <c:pt idx="365">
                  <c:v>41421</c:v>
                </c:pt>
                <c:pt idx="366">
                  <c:v>41422</c:v>
                </c:pt>
                <c:pt idx="367">
                  <c:v>41423</c:v>
                </c:pt>
                <c:pt idx="368">
                  <c:v>41424</c:v>
                </c:pt>
                <c:pt idx="369">
                  <c:v>41425</c:v>
                </c:pt>
                <c:pt idx="370">
                  <c:v>41428</c:v>
                </c:pt>
                <c:pt idx="371">
                  <c:v>41429</c:v>
                </c:pt>
                <c:pt idx="372">
                  <c:v>41430</c:v>
                </c:pt>
                <c:pt idx="373">
                  <c:v>41431</c:v>
                </c:pt>
                <c:pt idx="374">
                  <c:v>41432</c:v>
                </c:pt>
                <c:pt idx="375">
                  <c:v>41435</c:v>
                </c:pt>
                <c:pt idx="376">
                  <c:v>41436</c:v>
                </c:pt>
                <c:pt idx="377">
                  <c:v>41437</c:v>
                </c:pt>
                <c:pt idx="378">
                  <c:v>41438</c:v>
                </c:pt>
                <c:pt idx="379">
                  <c:v>41439</c:v>
                </c:pt>
                <c:pt idx="380">
                  <c:v>41442</c:v>
                </c:pt>
                <c:pt idx="381">
                  <c:v>41443</c:v>
                </c:pt>
                <c:pt idx="382">
                  <c:v>41444</c:v>
                </c:pt>
                <c:pt idx="383">
                  <c:v>41445</c:v>
                </c:pt>
                <c:pt idx="384">
                  <c:v>41446</c:v>
                </c:pt>
                <c:pt idx="385">
                  <c:v>41449</c:v>
                </c:pt>
                <c:pt idx="386">
                  <c:v>41450</c:v>
                </c:pt>
                <c:pt idx="387">
                  <c:v>41451</c:v>
                </c:pt>
                <c:pt idx="388">
                  <c:v>41452</c:v>
                </c:pt>
                <c:pt idx="389">
                  <c:v>41453</c:v>
                </c:pt>
                <c:pt idx="390">
                  <c:v>41456</c:v>
                </c:pt>
                <c:pt idx="391">
                  <c:v>41457</c:v>
                </c:pt>
                <c:pt idx="392">
                  <c:v>41458</c:v>
                </c:pt>
                <c:pt idx="393">
                  <c:v>41459</c:v>
                </c:pt>
                <c:pt idx="394">
                  <c:v>41460</c:v>
                </c:pt>
                <c:pt idx="395">
                  <c:v>41463</c:v>
                </c:pt>
                <c:pt idx="396">
                  <c:v>41464</c:v>
                </c:pt>
                <c:pt idx="397">
                  <c:v>41465</c:v>
                </c:pt>
                <c:pt idx="398">
                  <c:v>41466</c:v>
                </c:pt>
                <c:pt idx="399">
                  <c:v>41467</c:v>
                </c:pt>
                <c:pt idx="400">
                  <c:v>41470</c:v>
                </c:pt>
                <c:pt idx="401">
                  <c:v>41471</c:v>
                </c:pt>
                <c:pt idx="402">
                  <c:v>41472</c:v>
                </c:pt>
                <c:pt idx="403">
                  <c:v>41473</c:v>
                </c:pt>
                <c:pt idx="404">
                  <c:v>41474</c:v>
                </c:pt>
                <c:pt idx="405">
                  <c:v>41477</c:v>
                </c:pt>
                <c:pt idx="406">
                  <c:v>41478</c:v>
                </c:pt>
                <c:pt idx="407">
                  <c:v>41479</c:v>
                </c:pt>
                <c:pt idx="408">
                  <c:v>41480</c:v>
                </c:pt>
                <c:pt idx="409">
                  <c:v>41481</c:v>
                </c:pt>
                <c:pt idx="410">
                  <c:v>41484</c:v>
                </c:pt>
                <c:pt idx="411">
                  <c:v>41485</c:v>
                </c:pt>
                <c:pt idx="412">
                  <c:v>41486</c:v>
                </c:pt>
                <c:pt idx="413">
                  <c:v>41487</c:v>
                </c:pt>
                <c:pt idx="414">
                  <c:v>41488</c:v>
                </c:pt>
                <c:pt idx="415">
                  <c:v>41491</c:v>
                </c:pt>
                <c:pt idx="416">
                  <c:v>41492</c:v>
                </c:pt>
                <c:pt idx="417">
                  <c:v>41493</c:v>
                </c:pt>
                <c:pt idx="418">
                  <c:v>41494</c:v>
                </c:pt>
                <c:pt idx="419">
                  <c:v>41495</c:v>
                </c:pt>
                <c:pt idx="420">
                  <c:v>41498</c:v>
                </c:pt>
                <c:pt idx="421">
                  <c:v>41499</c:v>
                </c:pt>
                <c:pt idx="422">
                  <c:v>41500</c:v>
                </c:pt>
                <c:pt idx="423">
                  <c:v>41501</c:v>
                </c:pt>
                <c:pt idx="424">
                  <c:v>41502</c:v>
                </c:pt>
                <c:pt idx="425">
                  <c:v>41505</c:v>
                </c:pt>
                <c:pt idx="426">
                  <c:v>41506</c:v>
                </c:pt>
                <c:pt idx="427">
                  <c:v>41507</c:v>
                </c:pt>
                <c:pt idx="428">
                  <c:v>41508</c:v>
                </c:pt>
                <c:pt idx="429">
                  <c:v>41509</c:v>
                </c:pt>
                <c:pt idx="430">
                  <c:v>41512</c:v>
                </c:pt>
                <c:pt idx="431">
                  <c:v>41513</c:v>
                </c:pt>
                <c:pt idx="432">
                  <c:v>41514</c:v>
                </c:pt>
                <c:pt idx="433">
                  <c:v>41515</c:v>
                </c:pt>
                <c:pt idx="434">
                  <c:v>41516</c:v>
                </c:pt>
                <c:pt idx="435">
                  <c:v>41519</c:v>
                </c:pt>
                <c:pt idx="436">
                  <c:v>41520</c:v>
                </c:pt>
                <c:pt idx="437">
                  <c:v>41521</c:v>
                </c:pt>
                <c:pt idx="438">
                  <c:v>41522</c:v>
                </c:pt>
                <c:pt idx="439">
                  <c:v>41523</c:v>
                </c:pt>
                <c:pt idx="440">
                  <c:v>41526</c:v>
                </c:pt>
                <c:pt idx="441">
                  <c:v>41527</c:v>
                </c:pt>
                <c:pt idx="442">
                  <c:v>41528</c:v>
                </c:pt>
                <c:pt idx="443">
                  <c:v>41529</c:v>
                </c:pt>
                <c:pt idx="444">
                  <c:v>41530</c:v>
                </c:pt>
                <c:pt idx="445">
                  <c:v>41533</c:v>
                </c:pt>
                <c:pt idx="446">
                  <c:v>41534</c:v>
                </c:pt>
                <c:pt idx="447">
                  <c:v>41535</c:v>
                </c:pt>
                <c:pt idx="448">
                  <c:v>41536</c:v>
                </c:pt>
                <c:pt idx="449">
                  <c:v>41537</c:v>
                </c:pt>
                <c:pt idx="450">
                  <c:v>41540</c:v>
                </c:pt>
                <c:pt idx="451">
                  <c:v>41541</c:v>
                </c:pt>
                <c:pt idx="452">
                  <c:v>41542</c:v>
                </c:pt>
                <c:pt idx="453">
                  <c:v>41543</c:v>
                </c:pt>
                <c:pt idx="454">
                  <c:v>41544</c:v>
                </c:pt>
                <c:pt idx="455">
                  <c:v>41547</c:v>
                </c:pt>
                <c:pt idx="456">
                  <c:v>41548</c:v>
                </c:pt>
                <c:pt idx="457">
                  <c:v>41549</c:v>
                </c:pt>
                <c:pt idx="458">
                  <c:v>41550</c:v>
                </c:pt>
                <c:pt idx="459">
                  <c:v>41551</c:v>
                </c:pt>
                <c:pt idx="460">
                  <c:v>41554</c:v>
                </c:pt>
                <c:pt idx="461">
                  <c:v>41555</c:v>
                </c:pt>
                <c:pt idx="462">
                  <c:v>41556</c:v>
                </c:pt>
                <c:pt idx="463">
                  <c:v>41557</c:v>
                </c:pt>
                <c:pt idx="464">
                  <c:v>41558</c:v>
                </c:pt>
                <c:pt idx="465">
                  <c:v>41561</c:v>
                </c:pt>
                <c:pt idx="466">
                  <c:v>41562</c:v>
                </c:pt>
                <c:pt idx="467">
                  <c:v>41563</c:v>
                </c:pt>
                <c:pt idx="468">
                  <c:v>41564</c:v>
                </c:pt>
                <c:pt idx="469">
                  <c:v>41565</c:v>
                </c:pt>
                <c:pt idx="470">
                  <c:v>41568</c:v>
                </c:pt>
                <c:pt idx="471">
                  <c:v>41569</c:v>
                </c:pt>
                <c:pt idx="472">
                  <c:v>41570</c:v>
                </c:pt>
                <c:pt idx="473">
                  <c:v>41571</c:v>
                </c:pt>
                <c:pt idx="474">
                  <c:v>41572</c:v>
                </c:pt>
                <c:pt idx="475">
                  <c:v>41575</c:v>
                </c:pt>
                <c:pt idx="476">
                  <c:v>41576</c:v>
                </c:pt>
                <c:pt idx="477">
                  <c:v>41577</c:v>
                </c:pt>
                <c:pt idx="478">
                  <c:v>41578</c:v>
                </c:pt>
                <c:pt idx="479">
                  <c:v>41579</c:v>
                </c:pt>
                <c:pt idx="480">
                  <c:v>41582</c:v>
                </c:pt>
                <c:pt idx="481">
                  <c:v>41583</c:v>
                </c:pt>
                <c:pt idx="482">
                  <c:v>41584</c:v>
                </c:pt>
                <c:pt idx="483">
                  <c:v>41585</c:v>
                </c:pt>
                <c:pt idx="484">
                  <c:v>41586</c:v>
                </c:pt>
                <c:pt idx="485">
                  <c:v>41589</c:v>
                </c:pt>
                <c:pt idx="486">
                  <c:v>41590</c:v>
                </c:pt>
                <c:pt idx="487">
                  <c:v>41591</c:v>
                </c:pt>
                <c:pt idx="488">
                  <c:v>41592</c:v>
                </c:pt>
                <c:pt idx="489">
                  <c:v>41593</c:v>
                </c:pt>
                <c:pt idx="490">
                  <c:v>41596</c:v>
                </c:pt>
                <c:pt idx="491">
                  <c:v>41597</c:v>
                </c:pt>
                <c:pt idx="492">
                  <c:v>41598</c:v>
                </c:pt>
                <c:pt idx="493">
                  <c:v>41599</c:v>
                </c:pt>
                <c:pt idx="494">
                  <c:v>41600</c:v>
                </c:pt>
                <c:pt idx="495">
                  <c:v>41603</c:v>
                </c:pt>
                <c:pt idx="496">
                  <c:v>41604</c:v>
                </c:pt>
                <c:pt idx="497">
                  <c:v>41605</c:v>
                </c:pt>
                <c:pt idx="498">
                  <c:v>41606</c:v>
                </c:pt>
                <c:pt idx="499">
                  <c:v>41607</c:v>
                </c:pt>
                <c:pt idx="500">
                  <c:v>41610</c:v>
                </c:pt>
                <c:pt idx="501">
                  <c:v>41611</c:v>
                </c:pt>
                <c:pt idx="502">
                  <c:v>41612</c:v>
                </c:pt>
                <c:pt idx="503">
                  <c:v>41613</c:v>
                </c:pt>
                <c:pt idx="504">
                  <c:v>41614</c:v>
                </c:pt>
                <c:pt idx="505">
                  <c:v>41617</c:v>
                </c:pt>
                <c:pt idx="506">
                  <c:v>41618</c:v>
                </c:pt>
                <c:pt idx="507">
                  <c:v>41619</c:v>
                </c:pt>
                <c:pt idx="508">
                  <c:v>41620</c:v>
                </c:pt>
                <c:pt idx="509">
                  <c:v>41621</c:v>
                </c:pt>
                <c:pt idx="510">
                  <c:v>41624</c:v>
                </c:pt>
                <c:pt idx="511">
                  <c:v>41625</c:v>
                </c:pt>
                <c:pt idx="512">
                  <c:v>41626</c:v>
                </c:pt>
                <c:pt idx="513">
                  <c:v>41627</c:v>
                </c:pt>
                <c:pt idx="514">
                  <c:v>41628</c:v>
                </c:pt>
                <c:pt idx="515">
                  <c:v>41631</c:v>
                </c:pt>
                <c:pt idx="516">
                  <c:v>41632</c:v>
                </c:pt>
                <c:pt idx="517">
                  <c:v>41633</c:v>
                </c:pt>
                <c:pt idx="518">
                  <c:v>41634</c:v>
                </c:pt>
                <c:pt idx="519">
                  <c:v>41635</c:v>
                </c:pt>
                <c:pt idx="520">
                  <c:v>41638</c:v>
                </c:pt>
                <c:pt idx="521">
                  <c:v>41639</c:v>
                </c:pt>
                <c:pt idx="522">
                  <c:v>41640</c:v>
                </c:pt>
                <c:pt idx="523">
                  <c:v>41641</c:v>
                </c:pt>
                <c:pt idx="524">
                  <c:v>41642</c:v>
                </c:pt>
                <c:pt idx="525">
                  <c:v>41645</c:v>
                </c:pt>
                <c:pt idx="526">
                  <c:v>41646</c:v>
                </c:pt>
                <c:pt idx="527">
                  <c:v>41647</c:v>
                </c:pt>
                <c:pt idx="528">
                  <c:v>41648</c:v>
                </c:pt>
                <c:pt idx="529">
                  <c:v>41649</c:v>
                </c:pt>
                <c:pt idx="530">
                  <c:v>41652</c:v>
                </c:pt>
                <c:pt idx="531">
                  <c:v>41653</c:v>
                </c:pt>
                <c:pt idx="532">
                  <c:v>41654</c:v>
                </c:pt>
                <c:pt idx="533">
                  <c:v>41655</c:v>
                </c:pt>
                <c:pt idx="534">
                  <c:v>41656</c:v>
                </c:pt>
                <c:pt idx="535">
                  <c:v>41659</c:v>
                </c:pt>
                <c:pt idx="536">
                  <c:v>41660</c:v>
                </c:pt>
                <c:pt idx="537">
                  <c:v>41661</c:v>
                </c:pt>
                <c:pt idx="538">
                  <c:v>41662</c:v>
                </c:pt>
                <c:pt idx="539">
                  <c:v>41663</c:v>
                </c:pt>
                <c:pt idx="540">
                  <c:v>41666</c:v>
                </c:pt>
                <c:pt idx="541">
                  <c:v>41667</c:v>
                </c:pt>
                <c:pt idx="542">
                  <c:v>41668</c:v>
                </c:pt>
                <c:pt idx="543">
                  <c:v>41669</c:v>
                </c:pt>
                <c:pt idx="544">
                  <c:v>41670</c:v>
                </c:pt>
                <c:pt idx="545">
                  <c:v>41673</c:v>
                </c:pt>
                <c:pt idx="546">
                  <c:v>41674</c:v>
                </c:pt>
                <c:pt idx="547">
                  <c:v>41675</c:v>
                </c:pt>
                <c:pt idx="548">
                  <c:v>41676</c:v>
                </c:pt>
                <c:pt idx="549">
                  <c:v>41677</c:v>
                </c:pt>
                <c:pt idx="550">
                  <c:v>41680</c:v>
                </c:pt>
                <c:pt idx="551">
                  <c:v>41681</c:v>
                </c:pt>
                <c:pt idx="552">
                  <c:v>41682</c:v>
                </c:pt>
                <c:pt idx="553">
                  <c:v>41683</c:v>
                </c:pt>
                <c:pt idx="554">
                  <c:v>41684</c:v>
                </c:pt>
                <c:pt idx="555">
                  <c:v>41687</c:v>
                </c:pt>
                <c:pt idx="556">
                  <c:v>41688</c:v>
                </c:pt>
                <c:pt idx="557">
                  <c:v>41689</c:v>
                </c:pt>
                <c:pt idx="558">
                  <c:v>41690</c:v>
                </c:pt>
                <c:pt idx="559">
                  <c:v>41691</c:v>
                </c:pt>
                <c:pt idx="560">
                  <c:v>41694</c:v>
                </c:pt>
                <c:pt idx="561">
                  <c:v>41695</c:v>
                </c:pt>
                <c:pt idx="562">
                  <c:v>41696</c:v>
                </c:pt>
                <c:pt idx="563">
                  <c:v>41697</c:v>
                </c:pt>
                <c:pt idx="564">
                  <c:v>41698</c:v>
                </c:pt>
                <c:pt idx="565">
                  <c:v>41701</c:v>
                </c:pt>
                <c:pt idx="566">
                  <c:v>41702</c:v>
                </c:pt>
                <c:pt idx="567">
                  <c:v>41703</c:v>
                </c:pt>
                <c:pt idx="568">
                  <c:v>41704</c:v>
                </c:pt>
                <c:pt idx="569">
                  <c:v>41705</c:v>
                </c:pt>
                <c:pt idx="570">
                  <c:v>41708</c:v>
                </c:pt>
                <c:pt idx="571">
                  <c:v>41709</c:v>
                </c:pt>
                <c:pt idx="572">
                  <c:v>41710</c:v>
                </c:pt>
                <c:pt idx="573">
                  <c:v>41711</c:v>
                </c:pt>
                <c:pt idx="574">
                  <c:v>41712</c:v>
                </c:pt>
                <c:pt idx="575">
                  <c:v>41715</c:v>
                </c:pt>
                <c:pt idx="576">
                  <c:v>41716</c:v>
                </c:pt>
                <c:pt idx="577">
                  <c:v>41717</c:v>
                </c:pt>
                <c:pt idx="578">
                  <c:v>41718</c:v>
                </c:pt>
                <c:pt idx="579">
                  <c:v>41719</c:v>
                </c:pt>
                <c:pt idx="580">
                  <c:v>41722</c:v>
                </c:pt>
                <c:pt idx="581">
                  <c:v>41723</c:v>
                </c:pt>
                <c:pt idx="582">
                  <c:v>41724</c:v>
                </c:pt>
                <c:pt idx="583">
                  <c:v>41725</c:v>
                </c:pt>
                <c:pt idx="584">
                  <c:v>41726</c:v>
                </c:pt>
                <c:pt idx="585">
                  <c:v>41729</c:v>
                </c:pt>
                <c:pt idx="586">
                  <c:v>41730</c:v>
                </c:pt>
                <c:pt idx="587">
                  <c:v>41731</c:v>
                </c:pt>
                <c:pt idx="588">
                  <c:v>41732</c:v>
                </c:pt>
                <c:pt idx="589">
                  <c:v>41733</c:v>
                </c:pt>
                <c:pt idx="590">
                  <c:v>41736</c:v>
                </c:pt>
                <c:pt idx="591">
                  <c:v>41737</c:v>
                </c:pt>
                <c:pt idx="592">
                  <c:v>41738</c:v>
                </c:pt>
                <c:pt idx="593">
                  <c:v>41739</c:v>
                </c:pt>
                <c:pt idx="594">
                  <c:v>41740</c:v>
                </c:pt>
                <c:pt idx="595">
                  <c:v>41743</c:v>
                </c:pt>
                <c:pt idx="596">
                  <c:v>41744</c:v>
                </c:pt>
                <c:pt idx="597">
                  <c:v>41745</c:v>
                </c:pt>
                <c:pt idx="598">
                  <c:v>41746</c:v>
                </c:pt>
                <c:pt idx="599">
                  <c:v>41747</c:v>
                </c:pt>
                <c:pt idx="600">
                  <c:v>41750</c:v>
                </c:pt>
                <c:pt idx="601">
                  <c:v>41751</c:v>
                </c:pt>
                <c:pt idx="602">
                  <c:v>41752</c:v>
                </c:pt>
                <c:pt idx="603">
                  <c:v>41753</c:v>
                </c:pt>
                <c:pt idx="604">
                  <c:v>41754</c:v>
                </c:pt>
                <c:pt idx="605">
                  <c:v>41757</c:v>
                </c:pt>
                <c:pt idx="606">
                  <c:v>41758</c:v>
                </c:pt>
                <c:pt idx="607">
                  <c:v>41759</c:v>
                </c:pt>
                <c:pt idx="608">
                  <c:v>41760</c:v>
                </c:pt>
                <c:pt idx="609">
                  <c:v>41761</c:v>
                </c:pt>
                <c:pt idx="610">
                  <c:v>41764</c:v>
                </c:pt>
                <c:pt idx="611">
                  <c:v>41765</c:v>
                </c:pt>
                <c:pt idx="612">
                  <c:v>41766</c:v>
                </c:pt>
                <c:pt idx="613">
                  <c:v>41767</c:v>
                </c:pt>
                <c:pt idx="614">
                  <c:v>41768</c:v>
                </c:pt>
                <c:pt idx="615">
                  <c:v>41771</c:v>
                </c:pt>
                <c:pt idx="616">
                  <c:v>41772</c:v>
                </c:pt>
                <c:pt idx="617">
                  <c:v>41773</c:v>
                </c:pt>
                <c:pt idx="618">
                  <c:v>41774</c:v>
                </c:pt>
                <c:pt idx="619">
                  <c:v>41775</c:v>
                </c:pt>
                <c:pt idx="620">
                  <c:v>41778</c:v>
                </c:pt>
                <c:pt idx="621">
                  <c:v>41779</c:v>
                </c:pt>
                <c:pt idx="622">
                  <c:v>41780</c:v>
                </c:pt>
                <c:pt idx="623">
                  <c:v>41781</c:v>
                </c:pt>
                <c:pt idx="624">
                  <c:v>41782</c:v>
                </c:pt>
                <c:pt idx="625">
                  <c:v>41785</c:v>
                </c:pt>
                <c:pt idx="626">
                  <c:v>41786</c:v>
                </c:pt>
                <c:pt idx="627">
                  <c:v>41787</c:v>
                </c:pt>
                <c:pt idx="628">
                  <c:v>41788</c:v>
                </c:pt>
                <c:pt idx="629">
                  <c:v>41789</c:v>
                </c:pt>
                <c:pt idx="630">
                  <c:v>41792</c:v>
                </c:pt>
                <c:pt idx="631">
                  <c:v>41793</c:v>
                </c:pt>
                <c:pt idx="632">
                  <c:v>41794</c:v>
                </c:pt>
                <c:pt idx="633">
                  <c:v>41795</c:v>
                </c:pt>
                <c:pt idx="634">
                  <c:v>41796</c:v>
                </c:pt>
                <c:pt idx="635">
                  <c:v>41799</c:v>
                </c:pt>
                <c:pt idx="636">
                  <c:v>41800</c:v>
                </c:pt>
                <c:pt idx="637">
                  <c:v>41801</c:v>
                </c:pt>
                <c:pt idx="638">
                  <c:v>41802</c:v>
                </c:pt>
                <c:pt idx="639">
                  <c:v>41803</c:v>
                </c:pt>
                <c:pt idx="640">
                  <c:v>41806</c:v>
                </c:pt>
                <c:pt idx="641">
                  <c:v>41807</c:v>
                </c:pt>
                <c:pt idx="642">
                  <c:v>41808</c:v>
                </c:pt>
                <c:pt idx="643">
                  <c:v>41809</c:v>
                </c:pt>
                <c:pt idx="644">
                  <c:v>41810</c:v>
                </c:pt>
                <c:pt idx="645">
                  <c:v>41813</c:v>
                </c:pt>
                <c:pt idx="646">
                  <c:v>41814</c:v>
                </c:pt>
                <c:pt idx="647">
                  <c:v>41815</c:v>
                </c:pt>
                <c:pt idx="648">
                  <c:v>41816</c:v>
                </c:pt>
                <c:pt idx="649">
                  <c:v>41817</c:v>
                </c:pt>
                <c:pt idx="650">
                  <c:v>41820</c:v>
                </c:pt>
                <c:pt idx="651">
                  <c:v>41821</c:v>
                </c:pt>
                <c:pt idx="652">
                  <c:v>41822</c:v>
                </c:pt>
                <c:pt idx="653">
                  <c:v>41823</c:v>
                </c:pt>
                <c:pt idx="654">
                  <c:v>41824</c:v>
                </c:pt>
                <c:pt idx="655">
                  <c:v>41827</c:v>
                </c:pt>
                <c:pt idx="656">
                  <c:v>41828</c:v>
                </c:pt>
                <c:pt idx="657">
                  <c:v>41829</c:v>
                </c:pt>
                <c:pt idx="658">
                  <c:v>41830</c:v>
                </c:pt>
                <c:pt idx="659">
                  <c:v>41831</c:v>
                </c:pt>
                <c:pt idx="660">
                  <c:v>41834</c:v>
                </c:pt>
                <c:pt idx="661">
                  <c:v>41835</c:v>
                </c:pt>
                <c:pt idx="662">
                  <c:v>41836</c:v>
                </c:pt>
                <c:pt idx="663">
                  <c:v>41837</c:v>
                </c:pt>
                <c:pt idx="664">
                  <c:v>41838</c:v>
                </c:pt>
                <c:pt idx="665">
                  <c:v>41841</c:v>
                </c:pt>
                <c:pt idx="666">
                  <c:v>41842</c:v>
                </c:pt>
                <c:pt idx="667">
                  <c:v>41843</c:v>
                </c:pt>
                <c:pt idx="668">
                  <c:v>41844</c:v>
                </c:pt>
                <c:pt idx="669">
                  <c:v>41845</c:v>
                </c:pt>
                <c:pt idx="670">
                  <c:v>41848</c:v>
                </c:pt>
                <c:pt idx="671">
                  <c:v>41849</c:v>
                </c:pt>
                <c:pt idx="672">
                  <c:v>41850</c:v>
                </c:pt>
                <c:pt idx="673">
                  <c:v>41851</c:v>
                </c:pt>
                <c:pt idx="674">
                  <c:v>41852</c:v>
                </c:pt>
                <c:pt idx="675">
                  <c:v>41855</c:v>
                </c:pt>
                <c:pt idx="676">
                  <c:v>41856</c:v>
                </c:pt>
                <c:pt idx="677">
                  <c:v>41857</c:v>
                </c:pt>
                <c:pt idx="678">
                  <c:v>41858</c:v>
                </c:pt>
                <c:pt idx="679">
                  <c:v>41859</c:v>
                </c:pt>
                <c:pt idx="680">
                  <c:v>41862</c:v>
                </c:pt>
                <c:pt idx="681">
                  <c:v>41863</c:v>
                </c:pt>
                <c:pt idx="682">
                  <c:v>41864</c:v>
                </c:pt>
                <c:pt idx="683">
                  <c:v>41865</c:v>
                </c:pt>
                <c:pt idx="684">
                  <c:v>41866</c:v>
                </c:pt>
                <c:pt idx="685">
                  <c:v>41869</c:v>
                </c:pt>
                <c:pt idx="686">
                  <c:v>41870</c:v>
                </c:pt>
                <c:pt idx="687">
                  <c:v>41871</c:v>
                </c:pt>
                <c:pt idx="688">
                  <c:v>41872</c:v>
                </c:pt>
                <c:pt idx="689">
                  <c:v>41873</c:v>
                </c:pt>
                <c:pt idx="690">
                  <c:v>41876</c:v>
                </c:pt>
                <c:pt idx="691">
                  <c:v>41877</c:v>
                </c:pt>
                <c:pt idx="692">
                  <c:v>41878</c:v>
                </c:pt>
                <c:pt idx="693">
                  <c:v>41879</c:v>
                </c:pt>
                <c:pt idx="694">
                  <c:v>41880</c:v>
                </c:pt>
                <c:pt idx="695">
                  <c:v>41883</c:v>
                </c:pt>
                <c:pt idx="696">
                  <c:v>41884</c:v>
                </c:pt>
                <c:pt idx="697">
                  <c:v>41885</c:v>
                </c:pt>
                <c:pt idx="698">
                  <c:v>41886</c:v>
                </c:pt>
                <c:pt idx="699">
                  <c:v>41887</c:v>
                </c:pt>
                <c:pt idx="700">
                  <c:v>41890</c:v>
                </c:pt>
                <c:pt idx="701">
                  <c:v>41891</c:v>
                </c:pt>
                <c:pt idx="702">
                  <c:v>41892</c:v>
                </c:pt>
                <c:pt idx="703">
                  <c:v>41893</c:v>
                </c:pt>
                <c:pt idx="704">
                  <c:v>41894</c:v>
                </c:pt>
                <c:pt idx="705">
                  <c:v>41897</c:v>
                </c:pt>
                <c:pt idx="706">
                  <c:v>41898</c:v>
                </c:pt>
                <c:pt idx="707">
                  <c:v>41899</c:v>
                </c:pt>
                <c:pt idx="708">
                  <c:v>41900</c:v>
                </c:pt>
                <c:pt idx="709">
                  <c:v>41901</c:v>
                </c:pt>
                <c:pt idx="710">
                  <c:v>41904</c:v>
                </c:pt>
                <c:pt idx="711">
                  <c:v>41905</c:v>
                </c:pt>
                <c:pt idx="712">
                  <c:v>41906</c:v>
                </c:pt>
                <c:pt idx="713">
                  <c:v>41907</c:v>
                </c:pt>
                <c:pt idx="714">
                  <c:v>41908</c:v>
                </c:pt>
                <c:pt idx="715">
                  <c:v>41911</c:v>
                </c:pt>
                <c:pt idx="716">
                  <c:v>41912</c:v>
                </c:pt>
                <c:pt idx="717">
                  <c:v>41913</c:v>
                </c:pt>
                <c:pt idx="718">
                  <c:v>41914</c:v>
                </c:pt>
                <c:pt idx="719">
                  <c:v>41915</c:v>
                </c:pt>
                <c:pt idx="720">
                  <c:v>41918</c:v>
                </c:pt>
                <c:pt idx="721">
                  <c:v>41919</c:v>
                </c:pt>
                <c:pt idx="722">
                  <c:v>41920</c:v>
                </c:pt>
                <c:pt idx="723">
                  <c:v>41921</c:v>
                </c:pt>
                <c:pt idx="724">
                  <c:v>41922</c:v>
                </c:pt>
                <c:pt idx="725">
                  <c:v>41925</c:v>
                </c:pt>
                <c:pt idx="726">
                  <c:v>41926</c:v>
                </c:pt>
                <c:pt idx="727">
                  <c:v>41927</c:v>
                </c:pt>
                <c:pt idx="728">
                  <c:v>41928</c:v>
                </c:pt>
                <c:pt idx="729">
                  <c:v>41929</c:v>
                </c:pt>
                <c:pt idx="730">
                  <c:v>41932</c:v>
                </c:pt>
                <c:pt idx="731">
                  <c:v>41933</c:v>
                </c:pt>
                <c:pt idx="732">
                  <c:v>41934</c:v>
                </c:pt>
                <c:pt idx="733">
                  <c:v>41935</c:v>
                </c:pt>
                <c:pt idx="734">
                  <c:v>41936</c:v>
                </c:pt>
                <c:pt idx="735">
                  <c:v>41939</c:v>
                </c:pt>
                <c:pt idx="736">
                  <c:v>41940</c:v>
                </c:pt>
                <c:pt idx="737">
                  <c:v>41941</c:v>
                </c:pt>
                <c:pt idx="738">
                  <c:v>41942</c:v>
                </c:pt>
                <c:pt idx="739">
                  <c:v>41943</c:v>
                </c:pt>
                <c:pt idx="740">
                  <c:v>41946</c:v>
                </c:pt>
                <c:pt idx="741">
                  <c:v>41947</c:v>
                </c:pt>
                <c:pt idx="742">
                  <c:v>41948</c:v>
                </c:pt>
                <c:pt idx="743">
                  <c:v>41949</c:v>
                </c:pt>
                <c:pt idx="744">
                  <c:v>41950</c:v>
                </c:pt>
                <c:pt idx="745">
                  <c:v>41953</c:v>
                </c:pt>
                <c:pt idx="746">
                  <c:v>41954</c:v>
                </c:pt>
                <c:pt idx="747">
                  <c:v>41955</c:v>
                </c:pt>
                <c:pt idx="748">
                  <c:v>41956</c:v>
                </c:pt>
                <c:pt idx="749">
                  <c:v>41957</c:v>
                </c:pt>
                <c:pt idx="750">
                  <c:v>41960</c:v>
                </c:pt>
                <c:pt idx="751">
                  <c:v>41961</c:v>
                </c:pt>
                <c:pt idx="752">
                  <c:v>41962</c:v>
                </c:pt>
                <c:pt idx="753">
                  <c:v>41963</c:v>
                </c:pt>
                <c:pt idx="754">
                  <c:v>41964</c:v>
                </c:pt>
                <c:pt idx="755">
                  <c:v>41967</c:v>
                </c:pt>
                <c:pt idx="756">
                  <c:v>41968</c:v>
                </c:pt>
                <c:pt idx="757">
                  <c:v>41969</c:v>
                </c:pt>
                <c:pt idx="758">
                  <c:v>41970</c:v>
                </c:pt>
                <c:pt idx="759">
                  <c:v>41971</c:v>
                </c:pt>
                <c:pt idx="760">
                  <c:v>41974</c:v>
                </c:pt>
                <c:pt idx="761">
                  <c:v>41975</c:v>
                </c:pt>
                <c:pt idx="762">
                  <c:v>41976</c:v>
                </c:pt>
                <c:pt idx="763">
                  <c:v>41977</c:v>
                </c:pt>
                <c:pt idx="764">
                  <c:v>41978</c:v>
                </c:pt>
                <c:pt idx="765">
                  <c:v>41981</c:v>
                </c:pt>
                <c:pt idx="766">
                  <c:v>41982</c:v>
                </c:pt>
                <c:pt idx="767">
                  <c:v>41983</c:v>
                </c:pt>
                <c:pt idx="768">
                  <c:v>41984</c:v>
                </c:pt>
                <c:pt idx="769">
                  <c:v>41985</c:v>
                </c:pt>
                <c:pt idx="770">
                  <c:v>41988</c:v>
                </c:pt>
                <c:pt idx="771">
                  <c:v>41989</c:v>
                </c:pt>
                <c:pt idx="772">
                  <c:v>41990</c:v>
                </c:pt>
                <c:pt idx="773">
                  <c:v>41991</c:v>
                </c:pt>
                <c:pt idx="774">
                  <c:v>41992</c:v>
                </c:pt>
                <c:pt idx="775">
                  <c:v>41995</c:v>
                </c:pt>
                <c:pt idx="776">
                  <c:v>41996</c:v>
                </c:pt>
                <c:pt idx="777">
                  <c:v>41997</c:v>
                </c:pt>
                <c:pt idx="778">
                  <c:v>41998</c:v>
                </c:pt>
                <c:pt idx="779">
                  <c:v>41999</c:v>
                </c:pt>
                <c:pt idx="780">
                  <c:v>42002</c:v>
                </c:pt>
                <c:pt idx="781">
                  <c:v>42003</c:v>
                </c:pt>
                <c:pt idx="782">
                  <c:v>42004</c:v>
                </c:pt>
                <c:pt idx="783">
                  <c:v>42005</c:v>
                </c:pt>
                <c:pt idx="784">
                  <c:v>42006</c:v>
                </c:pt>
                <c:pt idx="785">
                  <c:v>42009</c:v>
                </c:pt>
                <c:pt idx="786">
                  <c:v>42010</c:v>
                </c:pt>
                <c:pt idx="787">
                  <c:v>42011</c:v>
                </c:pt>
                <c:pt idx="788">
                  <c:v>42012</c:v>
                </c:pt>
                <c:pt idx="789">
                  <c:v>42013</c:v>
                </c:pt>
                <c:pt idx="790">
                  <c:v>42016</c:v>
                </c:pt>
                <c:pt idx="791">
                  <c:v>42017</c:v>
                </c:pt>
                <c:pt idx="792">
                  <c:v>42018</c:v>
                </c:pt>
                <c:pt idx="793">
                  <c:v>42019</c:v>
                </c:pt>
                <c:pt idx="794">
                  <c:v>42020</c:v>
                </c:pt>
                <c:pt idx="795">
                  <c:v>42023</c:v>
                </c:pt>
                <c:pt idx="796">
                  <c:v>42024</c:v>
                </c:pt>
                <c:pt idx="797">
                  <c:v>42025</c:v>
                </c:pt>
                <c:pt idx="798">
                  <c:v>42026</c:v>
                </c:pt>
                <c:pt idx="799">
                  <c:v>42027</c:v>
                </c:pt>
                <c:pt idx="800">
                  <c:v>42030</c:v>
                </c:pt>
                <c:pt idx="801">
                  <c:v>42031</c:v>
                </c:pt>
                <c:pt idx="802">
                  <c:v>42032</c:v>
                </c:pt>
                <c:pt idx="803">
                  <c:v>42033</c:v>
                </c:pt>
                <c:pt idx="804">
                  <c:v>42034</c:v>
                </c:pt>
                <c:pt idx="805">
                  <c:v>42037</c:v>
                </c:pt>
                <c:pt idx="806">
                  <c:v>42038</c:v>
                </c:pt>
                <c:pt idx="807">
                  <c:v>42039</c:v>
                </c:pt>
                <c:pt idx="808">
                  <c:v>42040</c:v>
                </c:pt>
                <c:pt idx="809">
                  <c:v>42041</c:v>
                </c:pt>
                <c:pt idx="810">
                  <c:v>42044</c:v>
                </c:pt>
                <c:pt idx="811">
                  <c:v>42045</c:v>
                </c:pt>
                <c:pt idx="812">
                  <c:v>42046</c:v>
                </c:pt>
                <c:pt idx="813">
                  <c:v>42047</c:v>
                </c:pt>
                <c:pt idx="814">
                  <c:v>42048</c:v>
                </c:pt>
                <c:pt idx="815">
                  <c:v>42051</c:v>
                </c:pt>
                <c:pt idx="816">
                  <c:v>42052</c:v>
                </c:pt>
                <c:pt idx="817">
                  <c:v>42053</c:v>
                </c:pt>
                <c:pt idx="818">
                  <c:v>42054</c:v>
                </c:pt>
                <c:pt idx="819">
                  <c:v>42055</c:v>
                </c:pt>
                <c:pt idx="820">
                  <c:v>42058</c:v>
                </c:pt>
                <c:pt idx="821">
                  <c:v>42059</c:v>
                </c:pt>
                <c:pt idx="822">
                  <c:v>42060</c:v>
                </c:pt>
                <c:pt idx="823">
                  <c:v>42061</c:v>
                </c:pt>
                <c:pt idx="824">
                  <c:v>42062</c:v>
                </c:pt>
                <c:pt idx="825">
                  <c:v>42065</c:v>
                </c:pt>
                <c:pt idx="826">
                  <c:v>42066</c:v>
                </c:pt>
                <c:pt idx="827">
                  <c:v>42067</c:v>
                </c:pt>
                <c:pt idx="828">
                  <c:v>42068</c:v>
                </c:pt>
                <c:pt idx="829">
                  <c:v>42069</c:v>
                </c:pt>
                <c:pt idx="830">
                  <c:v>42072</c:v>
                </c:pt>
                <c:pt idx="831">
                  <c:v>42073</c:v>
                </c:pt>
                <c:pt idx="832">
                  <c:v>42074</c:v>
                </c:pt>
                <c:pt idx="833">
                  <c:v>42075</c:v>
                </c:pt>
                <c:pt idx="834">
                  <c:v>42076</c:v>
                </c:pt>
                <c:pt idx="835">
                  <c:v>42079</c:v>
                </c:pt>
                <c:pt idx="836">
                  <c:v>42080</c:v>
                </c:pt>
                <c:pt idx="837">
                  <c:v>42081</c:v>
                </c:pt>
                <c:pt idx="838">
                  <c:v>42082</c:v>
                </c:pt>
                <c:pt idx="839">
                  <c:v>42083</c:v>
                </c:pt>
                <c:pt idx="840">
                  <c:v>42086</c:v>
                </c:pt>
                <c:pt idx="841">
                  <c:v>42087</c:v>
                </c:pt>
                <c:pt idx="842">
                  <c:v>42088</c:v>
                </c:pt>
                <c:pt idx="843">
                  <c:v>42089</c:v>
                </c:pt>
                <c:pt idx="844">
                  <c:v>42090</c:v>
                </c:pt>
                <c:pt idx="845">
                  <c:v>42093</c:v>
                </c:pt>
                <c:pt idx="846">
                  <c:v>42094</c:v>
                </c:pt>
                <c:pt idx="847">
                  <c:v>42095</c:v>
                </c:pt>
                <c:pt idx="848">
                  <c:v>42096</c:v>
                </c:pt>
                <c:pt idx="849">
                  <c:v>42097</c:v>
                </c:pt>
                <c:pt idx="850">
                  <c:v>42100</c:v>
                </c:pt>
                <c:pt idx="851">
                  <c:v>42101</c:v>
                </c:pt>
                <c:pt idx="852">
                  <c:v>42102</c:v>
                </c:pt>
                <c:pt idx="853">
                  <c:v>42103</c:v>
                </c:pt>
                <c:pt idx="854">
                  <c:v>42104</c:v>
                </c:pt>
                <c:pt idx="855">
                  <c:v>42107</c:v>
                </c:pt>
                <c:pt idx="856">
                  <c:v>42108</c:v>
                </c:pt>
                <c:pt idx="857">
                  <c:v>42109</c:v>
                </c:pt>
                <c:pt idx="858">
                  <c:v>42110</c:v>
                </c:pt>
                <c:pt idx="859">
                  <c:v>42111</c:v>
                </c:pt>
                <c:pt idx="860">
                  <c:v>42114</c:v>
                </c:pt>
                <c:pt idx="861">
                  <c:v>42115</c:v>
                </c:pt>
                <c:pt idx="862">
                  <c:v>42116</c:v>
                </c:pt>
                <c:pt idx="863">
                  <c:v>42117</c:v>
                </c:pt>
                <c:pt idx="864">
                  <c:v>42118</c:v>
                </c:pt>
                <c:pt idx="865">
                  <c:v>42121</c:v>
                </c:pt>
                <c:pt idx="866">
                  <c:v>42122</c:v>
                </c:pt>
                <c:pt idx="867">
                  <c:v>42123</c:v>
                </c:pt>
                <c:pt idx="868">
                  <c:v>42124</c:v>
                </c:pt>
                <c:pt idx="869">
                  <c:v>42125</c:v>
                </c:pt>
                <c:pt idx="870">
                  <c:v>42128</c:v>
                </c:pt>
                <c:pt idx="871">
                  <c:v>42129</c:v>
                </c:pt>
                <c:pt idx="872">
                  <c:v>42130</c:v>
                </c:pt>
                <c:pt idx="873">
                  <c:v>42131</c:v>
                </c:pt>
                <c:pt idx="874">
                  <c:v>42132</c:v>
                </c:pt>
                <c:pt idx="875">
                  <c:v>42135</c:v>
                </c:pt>
                <c:pt idx="876">
                  <c:v>42136</c:v>
                </c:pt>
                <c:pt idx="877">
                  <c:v>42137</c:v>
                </c:pt>
                <c:pt idx="878">
                  <c:v>42138</c:v>
                </c:pt>
                <c:pt idx="879">
                  <c:v>42139</c:v>
                </c:pt>
                <c:pt idx="880">
                  <c:v>42142</c:v>
                </c:pt>
                <c:pt idx="881">
                  <c:v>42143</c:v>
                </c:pt>
                <c:pt idx="882">
                  <c:v>42144</c:v>
                </c:pt>
                <c:pt idx="883">
                  <c:v>42145</c:v>
                </c:pt>
                <c:pt idx="884">
                  <c:v>42146</c:v>
                </c:pt>
                <c:pt idx="885">
                  <c:v>42149</c:v>
                </c:pt>
                <c:pt idx="886">
                  <c:v>42150</c:v>
                </c:pt>
                <c:pt idx="887">
                  <c:v>42151</c:v>
                </c:pt>
                <c:pt idx="888">
                  <c:v>42152</c:v>
                </c:pt>
                <c:pt idx="889">
                  <c:v>42153</c:v>
                </c:pt>
                <c:pt idx="890">
                  <c:v>42156</c:v>
                </c:pt>
                <c:pt idx="891">
                  <c:v>42157</c:v>
                </c:pt>
                <c:pt idx="892">
                  <c:v>42158</c:v>
                </c:pt>
                <c:pt idx="893">
                  <c:v>42159</c:v>
                </c:pt>
                <c:pt idx="894">
                  <c:v>42160</c:v>
                </c:pt>
                <c:pt idx="895">
                  <c:v>42163</c:v>
                </c:pt>
                <c:pt idx="896">
                  <c:v>42164</c:v>
                </c:pt>
                <c:pt idx="897">
                  <c:v>42165</c:v>
                </c:pt>
                <c:pt idx="898">
                  <c:v>42166</c:v>
                </c:pt>
                <c:pt idx="899">
                  <c:v>42167</c:v>
                </c:pt>
                <c:pt idx="900">
                  <c:v>42170</c:v>
                </c:pt>
                <c:pt idx="901">
                  <c:v>42171</c:v>
                </c:pt>
                <c:pt idx="902">
                  <c:v>42172</c:v>
                </c:pt>
                <c:pt idx="903">
                  <c:v>42173</c:v>
                </c:pt>
                <c:pt idx="904">
                  <c:v>42174</c:v>
                </c:pt>
                <c:pt idx="905">
                  <c:v>42177</c:v>
                </c:pt>
                <c:pt idx="906">
                  <c:v>42178</c:v>
                </c:pt>
                <c:pt idx="907">
                  <c:v>42179</c:v>
                </c:pt>
                <c:pt idx="908">
                  <c:v>42180</c:v>
                </c:pt>
                <c:pt idx="909">
                  <c:v>42181</c:v>
                </c:pt>
                <c:pt idx="910">
                  <c:v>42184</c:v>
                </c:pt>
                <c:pt idx="911">
                  <c:v>42185</c:v>
                </c:pt>
                <c:pt idx="912">
                  <c:v>42186</c:v>
                </c:pt>
                <c:pt idx="913">
                  <c:v>42187</c:v>
                </c:pt>
                <c:pt idx="914">
                  <c:v>42188</c:v>
                </c:pt>
                <c:pt idx="915">
                  <c:v>42191</c:v>
                </c:pt>
                <c:pt idx="916">
                  <c:v>42192</c:v>
                </c:pt>
                <c:pt idx="917">
                  <c:v>42193</c:v>
                </c:pt>
                <c:pt idx="918">
                  <c:v>42194</c:v>
                </c:pt>
                <c:pt idx="919">
                  <c:v>42195</c:v>
                </c:pt>
                <c:pt idx="920">
                  <c:v>42198</c:v>
                </c:pt>
                <c:pt idx="921">
                  <c:v>42199</c:v>
                </c:pt>
                <c:pt idx="922">
                  <c:v>42200</c:v>
                </c:pt>
                <c:pt idx="923">
                  <c:v>42201</c:v>
                </c:pt>
                <c:pt idx="924">
                  <c:v>42202</c:v>
                </c:pt>
                <c:pt idx="925">
                  <c:v>42205</c:v>
                </c:pt>
                <c:pt idx="926">
                  <c:v>42206</c:v>
                </c:pt>
                <c:pt idx="927">
                  <c:v>42207</c:v>
                </c:pt>
                <c:pt idx="928">
                  <c:v>42208</c:v>
                </c:pt>
                <c:pt idx="929">
                  <c:v>42209</c:v>
                </c:pt>
                <c:pt idx="930">
                  <c:v>42212</c:v>
                </c:pt>
                <c:pt idx="931">
                  <c:v>42213</c:v>
                </c:pt>
                <c:pt idx="932">
                  <c:v>42214</c:v>
                </c:pt>
                <c:pt idx="933">
                  <c:v>42215</c:v>
                </c:pt>
                <c:pt idx="934">
                  <c:v>42216</c:v>
                </c:pt>
                <c:pt idx="935">
                  <c:v>42219</c:v>
                </c:pt>
                <c:pt idx="936">
                  <c:v>42220</c:v>
                </c:pt>
                <c:pt idx="937">
                  <c:v>42221</c:v>
                </c:pt>
                <c:pt idx="938">
                  <c:v>42222</c:v>
                </c:pt>
                <c:pt idx="939">
                  <c:v>42223</c:v>
                </c:pt>
                <c:pt idx="940">
                  <c:v>42226</c:v>
                </c:pt>
                <c:pt idx="941">
                  <c:v>42227</c:v>
                </c:pt>
                <c:pt idx="942">
                  <c:v>42228</c:v>
                </c:pt>
                <c:pt idx="943">
                  <c:v>42229</c:v>
                </c:pt>
                <c:pt idx="944">
                  <c:v>42230</c:v>
                </c:pt>
                <c:pt idx="945">
                  <c:v>42233</c:v>
                </c:pt>
                <c:pt idx="946">
                  <c:v>42234</c:v>
                </c:pt>
                <c:pt idx="947">
                  <c:v>42235</c:v>
                </c:pt>
                <c:pt idx="948">
                  <c:v>42236</c:v>
                </c:pt>
                <c:pt idx="949">
                  <c:v>42237</c:v>
                </c:pt>
                <c:pt idx="950">
                  <c:v>42240</c:v>
                </c:pt>
                <c:pt idx="951">
                  <c:v>42241</c:v>
                </c:pt>
                <c:pt idx="952">
                  <c:v>42242</c:v>
                </c:pt>
                <c:pt idx="953">
                  <c:v>42243</c:v>
                </c:pt>
                <c:pt idx="954">
                  <c:v>42244</c:v>
                </c:pt>
                <c:pt idx="955">
                  <c:v>42247</c:v>
                </c:pt>
                <c:pt idx="956">
                  <c:v>42248</c:v>
                </c:pt>
                <c:pt idx="957">
                  <c:v>42249</c:v>
                </c:pt>
                <c:pt idx="958">
                  <c:v>42250</c:v>
                </c:pt>
                <c:pt idx="959">
                  <c:v>42251</c:v>
                </c:pt>
                <c:pt idx="960">
                  <c:v>42254</c:v>
                </c:pt>
                <c:pt idx="961">
                  <c:v>42255</c:v>
                </c:pt>
                <c:pt idx="962">
                  <c:v>42256</c:v>
                </c:pt>
                <c:pt idx="963">
                  <c:v>42257</c:v>
                </c:pt>
                <c:pt idx="964">
                  <c:v>42258</c:v>
                </c:pt>
                <c:pt idx="965">
                  <c:v>42261</c:v>
                </c:pt>
                <c:pt idx="966">
                  <c:v>42262</c:v>
                </c:pt>
                <c:pt idx="967">
                  <c:v>42263</c:v>
                </c:pt>
                <c:pt idx="968">
                  <c:v>42264</c:v>
                </c:pt>
                <c:pt idx="969">
                  <c:v>42265</c:v>
                </c:pt>
                <c:pt idx="970">
                  <c:v>42268</c:v>
                </c:pt>
                <c:pt idx="971">
                  <c:v>42269</c:v>
                </c:pt>
                <c:pt idx="972">
                  <c:v>42270</c:v>
                </c:pt>
                <c:pt idx="973">
                  <c:v>42271</c:v>
                </c:pt>
                <c:pt idx="974">
                  <c:v>42272</c:v>
                </c:pt>
                <c:pt idx="975">
                  <c:v>42275</c:v>
                </c:pt>
                <c:pt idx="976">
                  <c:v>42276</c:v>
                </c:pt>
                <c:pt idx="977">
                  <c:v>42277</c:v>
                </c:pt>
                <c:pt idx="978">
                  <c:v>42278</c:v>
                </c:pt>
                <c:pt idx="979">
                  <c:v>42279</c:v>
                </c:pt>
                <c:pt idx="980">
                  <c:v>42282</c:v>
                </c:pt>
                <c:pt idx="981">
                  <c:v>42283</c:v>
                </c:pt>
                <c:pt idx="982">
                  <c:v>42284</c:v>
                </c:pt>
                <c:pt idx="983">
                  <c:v>42285</c:v>
                </c:pt>
                <c:pt idx="984">
                  <c:v>42286</c:v>
                </c:pt>
                <c:pt idx="985">
                  <c:v>42289</c:v>
                </c:pt>
                <c:pt idx="986">
                  <c:v>42290</c:v>
                </c:pt>
                <c:pt idx="987">
                  <c:v>42291</c:v>
                </c:pt>
                <c:pt idx="988">
                  <c:v>42292</c:v>
                </c:pt>
                <c:pt idx="989">
                  <c:v>42293</c:v>
                </c:pt>
                <c:pt idx="990">
                  <c:v>42296</c:v>
                </c:pt>
                <c:pt idx="991">
                  <c:v>42297</c:v>
                </c:pt>
                <c:pt idx="992">
                  <c:v>42298</c:v>
                </c:pt>
                <c:pt idx="993">
                  <c:v>42299</c:v>
                </c:pt>
                <c:pt idx="994">
                  <c:v>42300</c:v>
                </c:pt>
                <c:pt idx="995">
                  <c:v>42303</c:v>
                </c:pt>
                <c:pt idx="996">
                  <c:v>42304</c:v>
                </c:pt>
                <c:pt idx="997">
                  <c:v>42305</c:v>
                </c:pt>
                <c:pt idx="998">
                  <c:v>42306</c:v>
                </c:pt>
                <c:pt idx="999">
                  <c:v>42307</c:v>
                </c:pt>
                <c:pt idx="1000">
                  <c:v>42310</c:v>
                </c:pt>
                <c:pt idx="1001">
                  <c:v>42311</c:v>
                </c:pt>
                <c:pt idx="1002">
                  <c:v>42312</c:v>
                </c:pt>
                <c:pt idx="1003">
                  <c:v>42313</c:v>
                </c:pt>
                <c:pt idx="1004">
                  <c:v>42314</c:v>
                </c:pt>
                <c:pt idx="1005">
                  <c:v>42317</c:v>
                </c:pt>
                <c:pt idx="1006">
                  <c:v>42318</c:v>
                </c:pt>
                <c:pt idx="1007">
                  <c:v>42319</c:v>
                </c:pt>
                <c:pt idx="1008">
                  <c:v>42320</c:v>
                </c:pt>
                <c:pt idx="1009">
                  <c:v>42321</c:v>
                </c:pt>
                <c:pt idx="1010">
                  <c:v>42324</c:v>
                </c:pt>
                <c:pt idx="1011">
                  <c:v>42325</c:v>
                </c:pt>
                <c:pt idx="1012">
                  <c:v>42326</c:v>
                </c:pt>
                <c:pt idx="1013">
                  <c:v>42327</c:v>
                </c:pt>
                <c:pt idx="1014">
                  <c:v>42328</c:v>
                </c:pt>
                <c:pt idx="1015">
                  <c:v>42331</c:v>
                </c:pt>
                <c:pt idx="1016">
                  <c:v>42332</c:v>
                </c:pt>
              </c:numCache>
            </c:numRef>
          </c:cat>
          <c:val>
            <c:numRef>
              <c:f>[alco.xlsm]cds!$D$1578:$D$5000</c:f>
              <c:numCache>
                <c:formatCode>General</c:formatCode>
                <c:ptCount val="3423"/>
                <c:pt idx="0">
                  <c:v>247.46</c:v>
                </c:pt>
                <c:pt idx="1">
                  <c:v>245.27</c:v>
                </c:pt>
                <c:pt idx="2">
                  <c:v>257.5498</c:v>
                </c:pt>
                <c:pt idx="3">
                  <c:v>264.62990000000002</c:v>
                </c:pt>
                <c:pt idx="4">
                  <c:v>257.18990000000002</c:v>
                </c:pt>
                <c:pt idx="5">
                  <c:v>257.73</c:v>
                </c:pt>
                <c:pt idx="6">
                  <c:v>248.99</c:v>
                </c:pt>
                <c:pt idx="7">
                  <c:v>248.89000000000001</c:v>
                </c:pt>
                <c:pt idx="8">
                  <c:v>242.77</c:v>
                </c:pt>
                <c:pt idx="9">
                  <c:v>248.58</c:v>
                </c:pt>
                <c:pt idx="10">
                  <c:v>249.53000000000003</c:v>
                </c:pt>
                <c:pt idx="11">
                  <c:v>247.33</c:v>
                </c:pt>
                <c:pt idx="12">
                  <c:v>242.53000000000003</c:v>
                </c:pt>
                <c:pt idx="13">
                  <c:v>231.01000000000002</c:v>
                </c:pt>
                <c:pt idx="14">
                  <c:v>228.8</c:v>
                </c:pt>
                <c:pt idx="15">
                  <c:v>222.20000000000002</c:v>
                </c:pt>
                <c:pt idx="16">
                  <c:v>222.20000000000002</c:v>
                </c:pt>
                <c:pt idx="17">
                  <c:v>215.64000000000001</c:v>
                </c:pt>
                <c:pt idx="18">
                  <c:v>213.45000000000002</c:v>
                </c:pt>
                <c:pt idx="19">
                  <c:v>210.87</c:v>
                </c:pt>
                <c:pt idx="20">
                  <c:v>216.66000000000003</c:v>
                </c:pt>
                <c:pt idx="21">
                  <c:v>216.70000000000002</c:v>
                </c:pt>
                <c:pt idx="22">
                  <c:v>212.32000000000002</c:v>
                </c:pt>
                <c:pt idx="23">
                  <c:v>211.07000000000002</c:v>
                </c:pt>
                <c:pt idx="24">
                  <c:v>204.54000000000002</c:v>
                </c:pt>
                <c:pt idx="25">
                  <c:v>203.63000000000002</c:v>
                </c:pt>
                <c:pt idx="26">
                  <c:v>203.66000000000003</c:v>
                </c:pt>
                <c:pt idx="27">
                  <c:v>200.59</c:v>
                </c:pt>
                <c:pt idx="28">
                  <c:v>200.20000000000002</c:v>
                </c:pt>
                <c:pt idx="29">
                  <c:v>203.26000000000002</c:v>
                </c:pt>
                <c:pt idx="30">
                  <c:v>201.15</c:v>
                </c:pt>
                <c:pt idx="31">
                  <c:v>201.14000000000001</c:v>
                </c:pt>
                <c:pt idx="32">
                  <c:v>197.63000000000002</c:v>
                </c:pt>
                <c:pt idx="33">
                  <c:v>197.22000000000003</c:v>
                </c:pt>
                <c:pt idx="34">
                  <c:v>194.10000000000002</c:v>
                </c:pt>
                <c:pt idx="35">
                  <c:v>191.95000000000002</c:v>
                </c:pt>
                <c:pt idx="36">
                  <c:v>188.45000000000002</c:v>
                </c:pt>
                <c:pt idx="37">
                  <c:v>187.11</c:v>
                </c:pt>
                <c:pt idx="38">
                  <c:v>184.51000000000002</c:v>
                </c:pt>
                <c:pt idx="39">
                  <c:v>179.65</c:v>
                </c:pt>
                <c:pt idx="40">
                  <c:v>181.01000000000002</c:v>
                </c:pt>
                <c:pt idx="41">
                  <c:v>177.95000000000002</c:v>
                </c:pt>
                <c:pt idx="42">
                  <c:v>177.08</c:v>
                </c:pt>
                <c:pt idx="43">
                  <c:v>170.41000000000003</c:v>
                </c:pt>
                <c:pt idx="44">
                  <c:v>163.80000000000001</c:v>
                </c:pt>
                <c:pt idx="45">
                  <c:v>163.88000000000002</c:v>
                </c:pt>
                <c:pt idx="46">
                  <c:v>172.73000000000002</c:v>
                </c:pt>
                <c:pt idx="47">
                  <c:v>171.45000000000002</c:v>
                </c:pt>
                <c:pt idx="48">
                  <c:v>164.85000000000002</c:v>
                </c:pt>
                <c:pt idx="49">
                  <c:v>163.97000000000003</c:v>
                </c:pt>
                <c:pt idx="50">
                  <c:v>163.15</c:v>
                </c:pt>
                <c:pt idx="51">
                  <c:v>158.31</c:v>
                </c:pt>
                <c:pt idx="52">
                  <c:v>153.48000000000002</c:v>
                </c:pt>
                <c:pt idx="53">
                  <c:v>154.83500000000001</c:v>
                </c:pt>
                <c:pt idx="54">
                  <c:v>153.52000000000001</c:v>
                </c:pt>
                <c:pt idx="55">
                  <c:v>148.28</c:v>
                </c:pt>
                <c:pt idx="56">
                  <c:v>150.53</c:v>
                </c:pt>
                <c:pt idx="57">
                  <c:v>151.4</c:v>
                </c:pt>
                <c:pt idx="58">
                  <c:v>158.96</c:v>
                </c:pt>
                <c:pt idx="59">
                  <c:v>161.64000000000001</c:v>
                </c:pt>
                <c:pt idx="60">
                  <c:v>158.64000000000001</c:v>
                </c:pt>
                <c:pt idx="61">
                  <c:v>155.53</c:v>
                </c:pt>
                <c:pt idx="62">
                  <c:v>155.15</c:v>
                </c:pt>
                <c:pt idx="63">
                  <c:v>162.24</c:v>
                </c:pt>
                <c:pt idx="64">
                  <c:v>159.62</c:v>
                </c:pt>
                <c:pt idx="65">
                  <c:v>156.15</c:v>
                </c:pt>
                <c:pt idx="66">
                  <c:v>157.07000000000002</c:v>
                </c:pt>
                <c:pt idx="67">
                  <c:v>158.4</c:v>
                </c:pt>
                <c:pt idx="68">
                  <c:v>161.95000000000002</c:v>
                </c:pt>
                <c:pt idx="69">
                  <c:v>161.97000000000003</c:v>
                </c:pt>
                <c:pt idx="70">
                  <c:v>162.12</c:v>
                </c:pt>
                <c:pt idx="71">
                  <c:v>178.07000000000002</c:v>
                </c:pt>
                <c:pt idx="72">
                  <c:v>179.44000000000003</c:v>
                </c:pt>
                <c:pt idx="73">
                  <c:v>177.67000000000002</c:v>
                </c:pt>
                <c:pt idx="74">
                  <c:v>183.45000000000002</c:v>
                </c:pt>
                <c:pt idx="75">
                  <c:v>185.316</c:v>
                </c:pt>
                <c:pt idx="76">
                  <c:v>177.35000000000002</c:v>
                </c:pt>
                <c:pt idx="77">
                  <c:v>183.14600000000002</c:v>
                </c:pt>
                <c:pt idx="78">
                  <c:v>182.30700000000002</c:v>
                </c:pt>
                <c:pt idx="79">
                  <c:v>183.14000000000001</c:v>
                </c:pt>
                <c:pt idx="80">
                  <c:v>190.30700000000002</c:v>
                </c:pt>
                <c:pt idx="81">
                  <c:v>185.44000000000003</c:v>
                </c:pt>
                <c:pt idx="82">
                  <c:v>184.56</c:v>
                </c:pt>
                <c:pt idx="83">
                  <c:v>183.72000000000003</c:v>
                </c:pt>
                <c:pt idx="84">
                  <c:v>182.85000000000002</c:v>
                </c:pt>
                <c:pt idx="85">
                  <c:v>180.73000000000002</c:v>
                </c:pt>
                <c:pt idx="86">
                  <c:v>175.85000000000002</c:v>
                </c:pt>
                <c:pt idx="87">
                  <c:v>177.22000000000003</c:v>
                </c:pt>
                <c:pt idx="88">
                  <c:v>176.79000000000002</c:v>
                </c:pt>
                <c:pt idx="89">
                  <c:v>180.39000000000001</c:v>
                </c:pt>
                <c:pt idx="90">
                  <c:v>180.46</c:v>
                </c:pt>
                <c:pt idx="91">
                  <c:v>183.54000000000002</c:v>
                </c:pt>
                <c:pt idx="92">
                  <c:v>193.60000000000002</c:v>
                </c:pt>
                <c:pt idx="93">
                  <c:v>193.60000000000002</c:v>
                </c:pt>
                <c:pt idx="94">
                  <c:v>195.16000000000003</c:v>
                </c:pt>
                <c:pt idx="95">
                  <c:v>203.28000000000003</c:v>
                </c:pt>
                <c:pt idx="96">
                  <c:v>205.04000000000002</c:v>
                </c:pt>
                <c:pt idx="97">
                  <c:v>207.68</c:v>
                </c:pt>
                <c:pt idx="98">
                  <c:v>220.88000000000002</c:v>
                </c:pt>
                <c:pt idx="99">
                  <c:v>225.28000000000003</c:v>
                </c:pt>
                <c:pt idx="100">
                  <c:v>232.62000000000003</c:v>
                </c:pt>
                <c:pt idx="101">
                  <c:v>218.24</c:v>
                </c:pt>
                <c:pt idx="102">
                  <c:v>230.56000000000003</c:v>
                </c:pt>
                <c:pt idx="103">
                  <c:v>235.82000000000002</c:v>
                </c:pt>
                <c:pt idx="104">
                  <c:v>233.20000000000002</c:v>
                </c:pt>
                <c:pt idx="105">
                  <c:v>233.20000000000002</c:v>
                </c:pt>
                <c:pt idx="106">
                  <c:v>232.32000000000002</c:v>
                </c:pt>
                <c:pt idx="107">
                  <c:v>234.08</c:v>
                </c:pt>
                <c:pt idx="108">
                  <c:v>240.24</c:v>
                </c:pt>
                <c:pt idx="109">
                  <c:v>243.76000000000002</c:v>
                </c:pt>
                <c:pt idx="110">
                  <c:v>243.76000000000002</c:v>
                </c:pt>
                <c:pt idx="111">
                  <c:v>243.76000000000002</c:v>
                </c:pt>
                <c:pt idx="112">
                  <c:v>232.56000000000003</c:v>
                </c:pt>
                <c:pt idx="113">
                  <c:v>219.74</c:v>
                </c:pt>
                <c:pt idx="114">
                  <c:v>223.75000000000003</c:v>
                </c:pt>
                <c:pt idx="115">
                  <c:v>214.61</c:v>
                </c:pt>
                <c:pt idx="116">
                  <c:v>215.04000000000002</c:v>
                </c:pt>
                <c:pt idx="117">
                  <c:v>207.95000000000002</c:v>
                </c:pt>
                <c:pt idx="118">
                  <c:v>203.54000000000002</c:v>
                </c:pt>
                <c:pt idx="119">
                  <c:v>198.66000000000003</c:v>
                </c:pt>
                <c:pt idx="120">
                  <c:v>198.35000000000002</c:v>
                </c:pt>
                <c:pt idx="121">
                  <c:v>190.38000000000002</c:v>
                </c:pt>
                <c:pt idx="122">
                  <c:v>187.08</c:v>
                </c:pt>
                <c:pt idx="123">
                  <c:v>189.33</c:v>
                </c:pt>
                <c:pt idx="124">
                  <c:v>188.92500000000001</c:v>
                </c:pt>
                <c:pt idx="125">
                  <c:v>197.9</c:v>
                </c:pt>
                <c:pt idx="126">
                  <c:v>199.3</c:v>
                </c:pt>
                <c:pt idx="127">
                  <c:v>197.08</c:v>
                </c:pt>
                <c:pt idx="128">
                  <c:v>202.42000000000002</c:v>
                </c:pt>
                <c:pt idx="129">
                  <c:v>192.22000000000003</c:v>
                </c:pt>
                <c:pt idx="130">
                  <c:v>186.10000000000002</c:v>
                </c:pt>
                <c:pt idx="131">
                  <c:v>181.70000000000002</c:v>
                </c:pt>
                <c:pt idx="132">
                  <c:v>181.74</c:v>
                </c:pt>
                <c:pt idx="133">
                  <c:v>184.00000000000003</c:v>
                </c:pt>
                <c:pt idx="134">
                  <c:v>188.45000000000002</c:v>
                </c:pt>
                <c:pt idx="135">
                  <c:v>191.61</c:v>
                </c:pt>
                <c:pt idx="136">
                  <c:v>181.45000000000002</c:v>
                </c:pt>
                <c:pt idx="137">
                  <c:v>177.9</c:v>
                </c:pt>
                <c:pt idx="138">
                  <c:v>174.38000000000002</c:v>
                </c:pt>
                <c:pt idx="139">
                  <c:v>166.42000000000002</c:v>
                </c:pt>
                <c:pt idx="140">
                  <c:v>161.12</c:v>
                </c:pt>
                <c:pt idx="141">
                  <c:v>157.10000000000002</c:v>
                </c:pt>
                <c:pt idx="142">
                  <c:v>153.52000000000001</c:v>
                </c:pt>
                <c:pt idx="143">
                  <c:v>154.9</c:v>
                </c:pt>
                <c:pt idx="144">
                  <c:v>157.63000000000002</c:v>
                </c:pt>
                <c:pt idx="145">
                  <c:v>171.51000000000002</c:v>
                </c:pt>
                <c:pt idx="146">
                  <c:v>172.9</c:v>
                </c:pt>
                <c:pt idx="147">
                  <c:v>168.03</c:v>
                </c:pt>
                <c:pt idx="148">
                  <c:v>160.88000000000002</c:v>
                </c:pt>
                <c:pt idx="149">
                  <c:v>155.54000000000002</c:v>
                </c:pt>
                <c:pt idx="150">
                  <c:v>150.27000000000001</c:v>
                </c:pt>
                <c:pt idx="151">
                  <c:v>149.4</c:v>
                </c:pt>
                <c:pt idx="152">
                  <c:v>144.99</c:v>
                </c:pt>
                <c:pt idx="153">
                  <c:v>149.46</c:v>
                </c:pt>
                <c:pt idx="154">
                  <c:v>132.97</c:v>
                </c:pt>
                <c:pt idx="155">
                  <c:v>130.78</c:v>
                </c:pt>
                <c:pt idx="156">
                  <c:v>129.93</c:v>
                </c:pt>
                <c:pt idx="157">
                  <c:v>133.52000000000001</c:v>
                </c:pt>
                <c:pt idx="158">
                  <c:v>135.80000000000001</c:v>
                </c:pt>
                <c:pt idx="159">
                  <c:v>138.96900000000002</c:v>
                </c:pt>
                <c:pt idx="160">
                  <c:v>147.07000000000002</c:v>
                </c:pt>
                <c:pt idx="161">
                  <c:v>144.44</c:v>
                </c:pt>
                <c:pt idx="162">
                  <c:v>144.93</c:v>
                </c:pt>
                <c:pt idx="163">
                  <c:v>145.82000000000002</c:v>
                </c:pt>
                <c:pt idx="164">
                  <c:v>147.22</c:v>
                </c:pt>
                <c:pt idx="165">
                  <c:v>144.58000000000001</c:v>
                </c:pt>
                <c:pt idx="166">
                  <c:v>138.79000000000002</c:v>
                </c:pt>
                <c:pt idx="167">
                  <c:v>138.79000000000002</c:v>
                </c:pt>
                <c:pt idx="168">
                  <c:v>142.02000000000001</c:v>
                </c:pt>
                <c:pt idx="169">
                  <c:v>141.59</c:v>
                </c:pt>
                <c:pt idx="170">
                  <c:v>141.67000000000002</c:v>
                </c:pt>
                <c:pt idx="171">
                  <c:v>141.25</c:v>
                </c:pt>
                <c:pt idx="172">
                  <c:v>139.43</c:v>
                </c:pt>
                <c:pt idx="173">
                  <c:v>139.46</c:v>
                </c:pt>
                <c:pt idx="174">
                  <c:v>138.59</c:v>
                </c:pt>
                <c:pt idx="175">
                  <c:v>138.68</c:v>
                </c:pt>
                <c:pt idx="176">
                  <c:v>135.15</c:v>
                </c:pt>
                <c:pt idx="177">
                  <c:v>132.89000000000001</c:v>
                </c:pt>
                <c:pt idx="178">
                  <c:v>124.03000000000002</c:v>
                </c:pt>
                <c:pt idx="179">
                  <c:v>124.09</c:v>
                </c:pt>
                <c:pt idx="180">
                  <c:v>118.31000000000002</c:v>
                </c:pt>
                <c:pt idx="181">
                  <c:v>112.95</c:v>
                </c:pt>
                <c:pt idx="182">
                  <c:v>109.41000000000001</c:v>
                </c:pt>
                <c:pt idx="183">
                  <c:v>113.01</c:v>
                </c:pt>
                <c:pt idx="184">
                  <c:v>99.140000000000015</c:v>
                </c:pt>
                <c:pt idx="185">
                  <c:v>99.7</c:v>
                </c:pt>
                <c:pt idx="186">
                  <c:v>101.542</c:v>
                </c:pt>
                <c:pt idx="187">
                  <c:v>101.542</c:v>
                </c:pt>
                <c:pt idx="188">
                  <c:v>102.38000000000001</c:v>
                </c:pt>
                <c:pt idx="189">
                  <c:v>98.829990000000009</c:v>
                </c:pt>
                <c:pt idx="190">
                  <c:v>106.52000000000001</c:v>
                </c:pt>
                <c:pt idx="191">
                  <c:v>105.36000000000001</c:v>
                </c:pt>
                <c:pt idx="192">
                  <c:v>109.9</c:v>
                </c:pt>
                <c:pt idx="193">
                  <c:v>107.22000000000001</c:v>
                </c:pt>
                <c:pt idx="194">
                  <c:v>106.22600000000001</c:v>
                </c:pt>
                <c:pt idx="195">
                  <c:v>105.42800000000001</c:v>
                </c:pt>
                <c:pt idx="196">
                  <c:v>101.879</c:v>
                </c:pt>
                <c:pt idx="197">
                  <c:v>100.56200000000001</c:v>
                </c:pt>
                <c:pt idx="198">
                  <c:v>98.368000000000009</c:v>
                </c:pt>
                <c:pt idx="199">
                  <c:v>92.147990000000007</c:v>
                </c:pt>
                <c:pt idx="200">
                  <c:v>92.750990000000002</c:v>
                </c:pt>
                <c:pt idx="201">
                  <c:v>92.775990000000007</c:v>
                </c:pt>
                <c:pt idx="202">
                  <c:v>87.918000000000006</c:v>
                </c:pt>
                <c:pt idx="203">
                  <c:v>86.599990000000005</c:v>
                </c:pt>
                <c:pt idx="204">
                  <c:v>86.161000000000001</c:v>
                </c:pt>
                <c:pt idx="205">
                  <c:v>83.586000000000013</c:v>
                </c:pt>
                <c:pt idx="206">
                  <c:v>81.372990000000001</c:v>
                </c:pt>
                <c:pt idx="207">
                  <c:v>79.090990000000005</c:v>
                </c:pt>
                <c:pt idx="208">
                  <c:v>78.289990000000003</c:v>
                </c:pt>
                <c:pt idx="209">
                  <c:v>80.14</c:v>
                </c:pt>
                <c:pt idx="210">
                  <c:v>84.64</c:v>
                </c:pt>
                <c:pt idx="211">
                  <c:v>86.899990000000003</c:v>
                </c:pt>
                <c:pt idx="212">
                  <c:v>86.459990000000005</c:v>
                </c:pt>
                <c:pt idx="213">
                  <c:v>83.37</c:v>
                </c:pt>
                <c:pt idx="214">
                  <c:v>82.519990000000007</c:v>
                </c:pt>
                <c:pt idx="215">
                  <c:v>83.48</c:v>
                </c:pt>
                <c:pt idx="216">
                  <c:v>83.5</c:v>
                </c:pt>
                <c:pt idx="217">
                  <c:v>83.504990000000006</c:v>
                </c:pt>
                <c:pt idx="218">
                  <c:v>81.759990000000002</c:v>
                </c:pt>
                <c:pt idx="219">
                  <c:v>78.7</c:v>
                </c:pt>
                <c:pt idx="220">
                  <c:v>79.207990000000009</c:v>
                </c:pt>
                <c:pt idx="221">
                  <c:v>79.23199000000001</c:v>
                </c:pt>
                <c:pt idx="222">
                  <c:v>79.259990000000002</c:v>
                </c:pt>
                <c:pt idx="223">
                  <c:v>78.829990000000009</c:v>
                </c:pt>
                <c:pt idx="224">
                  <c:v>78.409990000000008</c:v>
                </c:pt>
                <c:pt idx="225">
                  <c:v>78.48</c:v>
                </c:pt>
                <c:pt idx="226">
                  <c:v>78.509990000000002</c:v>
                </c:pt>
                <c:pt idx="227">
                  <c:v>79.409990000000008</c:v>
                </c:pt>
                <c:pt idx="228">
                  <c:v>77.23499000000001</c:v>
                </c:pt>
                <c:pt idx="229">
                  <c:v>79.465000000000003</c:v>
                </c:pt>
                <c:pt idx="230">
                  <c:v>79.079990000000009</c:v>
                </c:pt>
                <c:pt idx="231">
                  <c:v>77.782000000000011</c:v>
                </c:pt>
                <c:pt idx="232">
                  <c:v>76.92</c:v>
                </c:pt>
                <c:pt idx="233">
                  <c:v>76.946000000000012</c:v>
                </c:pt>
                <c:pt idx="234">
                  <c:v>76.96799</c:v>
                </c:pt>
                <c:pt idx="235">
                  <c:v>77.915990000000008</c:v>
                </c:pt>
                <c:pt idx="236">
                  <c:v>78.37</c:v>
                </c:pt>
                <c:pt idx="237">
                  <c:v>77.519000000000005</c:v>
                </c:pt>
                <c:pt idx="238">
                  <c:v>76.662990000000008</c:v>
                </c:pt>
                <c:pt idx="239">
                  <c:v>75.78</c:v>
                </c:pt>
                <c:pt idx="240">
                  <c:v>74.974000000000004</c:v>
                </c:pt>
                <c:pt idx="241">
                  <c:v>75.433000000000007</c:v>
                </c:pt>
                <c:pt idx="242">
                  <c:v>75.899990000000003</c:v>
                </c:pt>
                <c:pt idx="243">
                  <c:v>75.92</c:v>
                </c:pt>
                <c:pt idx="244">
                  <c:v>75.94398000000001</c:v>
                </c:pt>
                <c:pt idx="245">
                  <c:v>76.004990000000006</c:v>
                </c:pt>
                <c:pt idx="246">
                  <c:v>76.026990000000012</c:v>
                </c:pt>
                <c:pt idx="247">
                  <c:v>73.84499000000001</c:v>
                </c:pt>
                <c:pt idx="248">
                  <c:v>72.525990000000007</c:v>
                </c:pt>
                <c:pt idx="249">
                  <c:v>72.099990000000005</c:v>
                </c:pt>
                <c:pt idx="250">
                  <c:v>72.159990000000008</c:v>
                </c:pt>
                <c:pt idx="251">
                  <c:v>71.735990000000001</c:v>
                </c:pt>
                <c:pt idx="252">
                  <c:v>69.982990000000001</c:v>
                </c:pt>
                <c:pt idx="253">
                  <c:v>68.939000000000007</c:v>
                </c:pt>
                <c:pt idx="254">
                  <c:v>68.959990000000005</c:v>
                </c:pt>
                <c:pt idx="255">
                  <c:v>71.670990000000003</c:v>
                </c:pt>
                <c:pt idx="256">
                  <c:v>71.689990000000009</c:v>
                </c:pt>
                <c:pt idx="257">
                  <c:v>71.72099</c:v>
                </c:pt>
                <c:pt idx="258">
                  <c:v>71.739990000000006</c:v>
                </c:pt>
                <c:pt idx="259">
                  <c:v>71.759990000000002</c:v>
                </c:pt>
                <c:pt idx="260">
                  <c:v>71.82799</c:v>
                </c:pt>
                <c:pt idx="261">
                  <c:v>71.849990000000005</c:v>
                </c:pt>
                <c:pt idx="262">
                  <c:v>69.819990000000004</c:v>
                </c:pt>
                <c:pt idx="263">
                  <c:v>65.851990000000001</c:v>
                </c:pt>
                <c:pt idx="264">
                  <c:v>66.312000000000012</c:v>
                </c:pt>
                <c:pt idx="265">
                  <c:v>66.817990000000009</c:v>
                </c:pt>
                <c:pt idx="266">
                  <c:v>67.733990000000006</c:v>
                </c:pt>
                <c:pt idx="267">
                  <c:v>67.752990000000011</c:v>
                </c:pt>
                <c:pt idx="268">
                  <c:v>66.877990000000011</c:v>
                </c:pt>
                <c:pt idx="269">
                  <c:v>70.448000000000008</c:v>
                </c:pt>
                <c:pt idx="270">
                  <c:v>69.62</c:v>
                </c:pt>
                <c:pt idx="271">
                  <c:v>70.53</c:v>
                </c:pt>
                <c:pt idx="272">
                  <c:v>72.759990000000002</c:v>
                </c:pt>
                <c:pt idx="273">
                  <c:v>72.78</c:v>
                </c:pt>
                <c:pt idx="274">
                  <c:v>74.129990000000006</c:v>
                </c:pt>
                <c:pt idx="275">
                  <c:v>74.799990000000008</c:v>
                </c:pt>
                <c:pt idx="276">
                  <c:v>74.209990000000005</c:v>
                </c:pt>
                <c:pt idx="277">
                  <c:v>74.23</c:v>
                </c:pt>
                <c:pt idx="278">
                  <c:v>74.25</c:v>
                </c:pt>
                <c:pt idx="279">
                  <c:v>74.269990000000007</c:v>
                </c:pt>
                <c:pt idx="280">
                  <c:v>74.782000000000011</c:v>
                </c:pt>
                <c:pt idx="281">
                  <c:v>77.46399000000001</c:v>
                </c:pt>
                <c:pt idx="282">
                  <c:v>81.493990000000011</c:v>
                </c:pt>
                <c:pt idx="283">
                  <c:v>79.726990000000001</c:v>
                </c:pt>
                <c:pt idx="284">
                  <c:v>79.745000000000005</c:v>
                </c:pt>
                <c:pt idx="285">
                  <c:v>83.34599</c:v>
                </c:pt>
                <c:pt idx="286">
                  <c:v>82.487000000000009</c:v>
                </c:pt>
                <c:pt idx="287">
                  <c:v>82.506990000000002</c:v>
                </c:pt>
                <c:pt idx="288">
                  <c:v>81.20599</c:v>
                </c:pt>
                <c:pt idx="289">
                  <c:v>81.20599</c:v>
                </c:pt>
                <c:pt idx="290">
                  <c:v>81.724000000000004</c:v>
                </c:pt>
                <c:pt idx="291">
                  <c:v>81.743990000000011</c:v>
                </c:pt>
                <c:pt idx="292">
                  <c:v>81.32199</c:v>
                </c:pt>
                <c:pt idx="293">
                  <c:v>81.342000000000013</c:v>
                </c:pt>
                <c:pt idx="294">
                  <c:v>81.360990000000001</c:v>
                </c:pt>
                <c:pt idx="295">
                  <c:v>81.418990000000008</c:v>
                </c:pt>
                <c:pt idx="296">
                  <c:v>81.429990000000004</c:v>
                </c:pt>
                <c:pt idx="297">
                  <c:v>82.33699</c:v>
                </c:pt>
                <c:pt idx="298">
                  <c:v>83.675990000000013</c:v>
                </c:pt>
                <c:pt idx="299">
                  <c:v>84.157000000000011</c:v>
                </c:pt>
                <c:pt idx="300">
                  <c:v>84.157000000000011</c:v>
                </c:pt>
                <c:pt idx="301">
                  <c:v>87.328990000000005</c:v>
                </c:pt>
                <c:pt idx="302">
                  <c:v>86.900990000000007</c:v>
                </c:pt>
                <c:pt idx="303">
                  <c:v>86.47299000000001</c:v>
                </c:pt>
                <c:pt idx="304">
                  <c:v>85.60399000000001</c:v>
                </c:pt>
                <c:pt idx="305">
                  <c:v>85.661000000000001</c:v>
                </c:pt>
                <c:pt idx="306">
                  <c:v>83.015990000000002</c:v>
                </c:pt>
                <c:pt idx="307">
                  <c:v>83.036000000000001</c:v>
                </c:pt>
                <c:pt idx="308">
                  <c:v>82.60699000000001</c:v>
                </c:pt>
                <c:pt idx="309">
                  <c:v>80.846980000000002</c:v>
                </c:pt>
                <c:pt idx="310">
                  <c:v>79.579990000000009</c:v>
                </c:pt>
                <c:pt idx="311">
                  <c:v>79.599000000000004</c:v>
                </c:pt>
                <c:pt idx="312">
                  <c:v>79.616990000000001</c:v>
                </c:pt>
                <c:pt idx="313">
                  <c:v>78.737990000000011</c:v>
                </c:pt>
                <c:pt idx="314">
                  <c:v>78.31898000000001</c:v>
                </c:pt>
                <c:pt idx="315">
                  <c:v>78.814990000000009</c:v>
                </c:pt>
                <c:pt idx="316">
                  <c:v>78.834000000000003</c:v>
                </c:pt>
                <c:pt idx="317">
                  <c:v>77.039990000000003</c:v>
                </c:pt>
                <c:pt idx="318">
                  <c:v>77.064000000000007</c:v>
                </c:pt>
                <c:pt idx="319">
                  <c:v>77.976990000000001</c:v>
                </c:pt>
                <c:pt idx="320">
                  <c:v>76.703990000000005</c:v>
                </c:pt>
                <c:pt idx="321">
                  <c:v>77.618990000000011</c:v>
                </c:pt>
                <c:pt idx="322">
                  <c:v>86.968990000000005</c:v>
                </c:pt>
                <c:pt idx="323">
                  <c:v>86.989990000000006</c:v>
                </c:pt>
                <c:pt idx="324">
                  <c:v>86.989990000000006</c:v>
                </c:pt>
                <c:pt idx="325">
                  <c:v>87.073000000000008</c:v>
                </c:pt>
                <c:pt idx="326">
                  <c:v>84.877990000000011</c:v>
                </c:pt>
                <c:pt idx="327">
                  <c:v>79.120990000000006</c:v>
                </c:pt>
                <c:pt idx="328">
                  <c:v>79.14</c:v>
                </c:pt>
                <c:pt idx="329">
                  <c:v>74.737000000000009</c:v>
                </c:pt>
                <c:pt idx="330">
                  <c:v>74.349000000000004</c:v>
                </c:pt>
                <c:pt idx="331">
                  <c:v>74.349000000000004</c:v>
                </c:pt>
                <c:pt idx="332">
                  <c:v>74.831990000000005</c:v>
                </c:pt>
                <c:pt idx="333">
                  <c:v>72.166990000000013</c:v>
                </c:pt>
                <c:pt idx="334">
                  <c:v>72.637990000000002</c:v>
                </c:pt>
                <c:pt idx="335">
                  <c:v>72.69699</c:v>
                </c:pt>
                <c:pt idx="336">
                  <c:v>73.155000000000001</c:v>
                </c:pt>
                <c:pt idx="337">
                  <c:v>73.176990000000004</c:v>
                </c:pt>
                <c:pt idx="338">
                  <c:v>71.890990000000002</c:v>
                </c:pt>
                <c:pt idx="339">
                  <c:v>72.349990000000005</c:v>
                </c:pt>
                <c:pt idx="340">
                  <c:v>72.411000000000001</c:v>
                </c:pt>
                <c:pt idx="341">
                  <c:v>72.429990000000004</c:v>
                </c:pt>
                <c:pt idx="342">
                  <c:v>72.890990000000002</c:v>
                </c:pt>
                <c:pt idx="343">
                  <c:v>72.909000000000006</c:v>
                </c:pt>
                <c:pt idx="344">
                  <c:v>72.929990000000004</c:v>
                </c:pt>
                <c:pt idx="345">
                  <c:v>72.989990000000006</c:v>
                </c:pt>
                <c:pt idx="346">
                  <c:v>72.56898000000001</c:v>
                </c:pt>
                <c:pt idx="347">
                  <c:v>72.58899000000001</c:v>
                </c:pt>
                <c:pt idx="348">
                  <c:v>71.71999000000001</c:v>
                </c:pt>
                <c:pt idx="349">
                  <c:v>70.411990000000003</c:v>
                </c:pt>
                <c:pt idx="350">
                  <c:v>70.474990000000005</c:v>
                </c:pt>
                <c:pt idx="351">
                  <c:v>70.493000000000009</c:v>
                </c:pt>
                <c:pt idx="352">
                  <c:v>70.064990000000009</c:v>
                </c:pt>
                <c:pt idx="353">
                  <c:v>69.636990000000011</c:v>
                </c:pt>
                <c:pt idx="354">
                  <c:v>69.203990000000005</c:v>
                </c:pt>
                <c:pt idx="355">
                  <c:v>69.265000000000001</c:v>
                </c:pt>
                <c:pt idx="356">
                  <c:v>69.286000000000001</c:v>
                </c:pt>
                <c:pt idx="357">
                  <c:v>68.866990000000001</c:v>
                </c:pt>
                <c:pt idx="358">
                  <c:v>70.22099</c:v>
                </c:pt>
                <c:pt idx="359">
                  <c:v>70.239990000000006</c:v>
                </c:pt>
                <c:pt idx="360">
                  <c:v>70.297990000000013</c:v>
                </c:pt>
                <c:pt idx="361">
                  <c:v>68.974990000000005</c:v>
                </c:pt>
                <c:pt idx="362">
                  <c:v>68.991990000000001</c:v>
                </c:pt>
                <c:pt idx="363">
                  <c:v>69.526990000000012</c:v>
                </c:pt>
                <c:pt idx="364">
                  <c:v>69.532990000000012</c:v>
                </c:pt>
                <c:pt idx="365">
                  <c:v>69.536000000000001</c:v>
                </c:pt>
                <c:pt idx="366">
                  <c:v>69.082990000000009</c:v>
                </c:pt>
                <c:pt idx="367">
                  <c:v>68.189000000000007</c:v>
                </c:pt>
                <c:pt idx="368">
                  <c:v>68.194990000000004</c:v>
                </c:pt>
                <c:pt idx="369">
                  <c:v>67.756</c:v>
                </c:pt>
                <c:pt idx="370">
                  <c:v>68.651990000000012</c:v>
                </c:pt>
                <c:pt idx="371">
                  <c:v>68.431000000000012</c:v>
                </c:pt>
                <c:pt idx="372">
                  <c:v>68.433990000000009</c:v>
                </c:pt>
                <c:pt idx="373">
                  <c:v>69.325000000000003</c:v>
                </c:pt>
                <c:pt idx="374">
                  <c:v>69.987000000000009</c:v>
                </c:pt>
                <c:pt idx="375">
                  <c:v>72.649990000000003</c:v>
                </c:pt>
                <c:pt idx="376">
                  <c:v>80.187000000000012</c:v>
                </c:pt>
                <c:pt idx="377">
                  <c:v>80.179990000000004</c:v>
                </c:pt>
                <c:pt idx="378">
                  <c:v>77.96999000000001</c:v>
                </c:pt>
                <c:pt idx="379">
                  <c:v>73.069990000000004</c:v>
                </c:pt>
                <c:pt idx="380">
                  <c:v>73.069990000000004</c:v>
                </c:pt>
                <c:pt idx="381">
                  <c:v>74.84</c:v>
                </c:pt>
                <c:pt idx="382">
                  <c:v>75.289990000000003</c:v>
                </c:pt>
                <c:pt idx="383">
                  <c:v>87.299990000000008</c:v>
                </c:pt>
                <c:pt idx="384">
                  <c:v>96.189990000000009</c:v>
                </c:pt>
                <c:pt idx="385">
                  <c:v>118.33000000000001</c:v>
                </c:pt>
                <c:pt idx="386">
                  <c:v>107.67</c:v>
                </c:pt>
                <c:pt idx="387">
                  <c:v>96.599990000000005</c:v>
                </c:pt>
                <c:pt idx="388">
                  <c:v>93.929990000000004</c:v>
                </c:pt>
                <c:pt idx="389">
                  <c:v>94.81</c:v>
                </c:pt>
                <c:pt idx="390">
                  <c:v>93.039990000000003</c:v>
                </c:pt>
                <c:pt idx="391">
                  <c:v>91.7</c:v>
                </c:pt>
                <c:pt idx="392">
                  <c:v>88.599990000000005</c:v>
                </c:pt>
                <c:pt idx="393">
                  <c:v>88.599990000000005</c:v>
                </c:pt>
                <c:pt idx="394">
                  <c:v>85.48</c:v>
                </c:pt>
                <c:pt idx="395">
                  <c:v>85.48293000000001</c:v>
                </c:pt>
                <c:pt idx="396">
                  <c:v>84.159990000000008</c:v>
                </c:pt>
                <c:pt idx="397">
                  <c:v>85.049990000000008</c:v>
                </c:pt>
                <c:pt idx="398">
                  <c:v>84.17</c:v>
                </c:pt>
                <c:pt idx="399">
                  <c:v>82.84</c:v>
                </c:pt>
                <c:pt idx="400">
                  <c:v>81.06</c:v>
                </c:pt>
                <c:pt idx="401">
                  <c:v>79.73</c:v>
                </c:pt>
                <c:pt idx="402">
                  <c:v>78.409990000000008</c:v>
                </c:pt>
                <c:pt idx="403">
                  <c:v>78.409990000000008</c:v>
                </c:pt>
                <c:pt idx="404">
                  <c:v>78.409990000000008</c:v>
                </c:pt>
                <c:pt idx="405">
                  <c:v>77.96999000000001</c:v>
                </c:pt>
                <c:pt idx="406">
                  <c:v>78.409990000000008</c:v>
                </c:pt>
                <c:pt idx="407">
                  <c:v>80.17</c:v>
                </c:pt>
                <c:pt idx="408">
                  <c:v>81.06</c:v>
                </c:pt>
                <c:pt idx="409">
                  <c:v>79.73</c:v>
                </c:pt>
                <c:pt idx="410">
                  <c:v>78.84</c:v>
                </c:pt>
                <c:pt idx="411">
                  <c:v>78.399990000000003</c:v>
                </c:pt>
                <c:pt idx="412">
                  <c:v>78.84</c:v>
                </c:pt>
                <c:pt idx="413">
                  <c:v>77.939990000000009</c:v>
                </c:pt>
                <c:pt idx="414">
                  <c:v>77.049990000000008</c:v>
                </c:pt>
                <c:pt idx="415">
                  <c:v>76.60999000000001</c:v>
                </c:pt>
                <c:pt idx="416">
                  <c:v>76.60999000000001</c:v>
                </c:pt>
                <c:pt idx="417">
                  <c:v>76.179990000000004</c:v>
                </c:pt>
                <c:pt idx="418">
                  <c:v>76.17</c:v>
                </c:pt>
                <c:pt idx="419">
                  <c:v>74.849990000000005</c:v>
                </c:pt>
                <c:pt idx="420">
                  <c:v>74.849990000000005</c:v>
                </c:pt>
                <c:pt idx="421">
                  <c:v>74.849990000000005</c:v>
                </c:pt>
                <c:pt idx="422">
                  <c:v>74.849990000000005</c:v>
                </c:pt>
                <c:pt idx="423">
                  <c:v>75.739990000000006</c:v>
                </c:pt>
                <c:pt idx="424">
                  <c:v>76.189990000000009</c:v>
                </c:pt>
                <c:pt idx="425">
                  <c:v>77.519990000000007</c:v>
                </c:pt>
                <c:pt idx="426">
                  <c:v>79.31</c:v>
                </c:pt>
                <c:pt idx="427">
                  <c:v>81.519990000000007</c:v>
                </c:pt>
                <c:pt idx="428">
                  <c:v>83.71999000000001</c:v>
                </c:pt>
                <c:pt idx="429">
                  <c:v>81.509990000000002</c:v>
                </c:pt>
                <c:pt idx="430">
                  <c:v>81.509990000000002</c:v>
                </c:pt>
                <c:pt idx="431">
                  <c:v>83.289990000000003</c:v>
                </c:pt>
                <c:pt idx="432">
                  <c:v>83.73</c:v>
                </c:pt>
                <c:pt idx="433">
                  <c:v>83.289990000000003</c:v>
                </c:pt>
                <c:pt idx="434">
                  <c:v>83.289990000000003</c:v>
                </c:pt>
                <c:pt idx="435">
                  <c:v>82.39</c:v>
                </c:pt>
                <c:pt idx="436">
                  <c:v>82.84</c:v>
                </c:pt>
                <c:pt idx="437">
                  <c:v>83.28</c:v>
                </c:pt>
                <c:pt idx="438">
                  <c:v>84.17</c:v>
                </c:pt>
                <c:pt idx="439">
                  <c:v>84.17</c:v>
                </c:pt>
                <c:pt idx="440">
                  <c:v>83.73</c:v>
                </c:pt>
                <c:pt idx="441">
                  <c:v>82.829990000000009</c:v>
                </c:pt>
                <c:pt idx="442">
                  <c:v>82.829990000000009</c:v>
                </c:pt>
                <c:pt idx="443">
                  <c:v>82.39</c:v>
                </c:pt>
                <c:pt idx="444" formatCode="0.00">
                  <c:v>82.39</c:v>
                </c:pt>
                <c:pt idx="445" formatCode="0.00">
                  <c:v>81.959990000000005</c:v>
                </c:pt>
                <c:pt idx="446" formatCode="0.00">
                  <c:v>81.95</c:v>
                </c:pt>
                <c:pt idx="447" formatCode="0.00">
                  <c:v>79.28</c:v>
                </c:pt>
                <c:pt idx="448" formatCode="0.00">
                  <c:v>79.148130000000009</c:v>
                </c:pt>
                <c:pt idx="449" formatCode="0.00">
                  <c:v>75.299990000000008</c:v>
                </c:pt>
                <c:pt idx="450">
                  <c:v>75.299990000000008</c:v>
                </c:pt>
                <c:pt idx="451">
                  <c:v>77.069990000000004</c:v>
                </c:pt>
                <c:pt idx="452">
                  <c:v>76.179990000000004</c:v>
                </c:pt>
                <c:pt idx="453">
                  <c:v>77.069990000000004</c:v>
                </c:pt>
                <c:pt idx="454">
                  <c:v>78.85999000000001</c:v>
                </c:pt>
                <c:pt idx="455">
                  <c:v>79.299990000000008</c:v>
                </c:pt>
                <c:pt idx="456">
                  <c:v>78.849990000000005</c:v>
                </c:pt>
                <c:pt idx="457">
                  <c:v>78.85999000000001</c:v>
                </c:pt>
                <c:pt idx="458">
                  <c:v>78.849990000000005</c:v>
                </c:pt>
                <c:pt idx="459">
                  <c:v>78.849990000000005</c:v>
                </c:pt>
                <c:pt idx="460">
                  <c:v>78.85999000000001</c:v>
                </c:pt>
                <c:pt idx="461">
                  <c:v>78.849990000000005</c:v>
                </c:pt>
                <c:pt idx="462">
                  <c:v>78.409990000000008</c:v>
                </c:pt>
                <c:pt idx="463">
                  <c:v>77.509990000000002</c:v>
                </c:pt>
                <c:pt idx="464">
                  <c:v>76.189990000000009</c:v>
                </c:pt>
                <c:pt idx="465">
                  <c:v>76.189990000000009</c:v>
                </c:pt>
                <c:pt idx="466">
                  <c:v>76.189990000000009</c:v>
                </c:pt>
                <c:pt idx="467">
                  <c:v>75.299990000000008</c:v>
                </c:pt>
                <c:pt idx="468">
                  <c:v>75.299990000000008</c:v>
                </c:pt>
                <c:pt idx="469">
                  <c:v>74.85999000000001</c:v>
                </c:pt>
                <c:pt idx="470">
                  <c:v>74.85999000000001</c:v>
                </c:pt>
                <c:pt idx="471">
                  <c:v>74.85999000000001</c:v>
                </c:pt>
                <c:pt idx="472">
                  <c:v>74.849990000000005</c:v>
                </c:pt>
                <c:pt idx="473">
                  <c:v>74.849990000000005</c:v>
                </c:pt>
                <c:pt idx="474">
                  <c:v>74.849990000000005</c:v>
                </c:pt>
                <c:pt idx="475">
                  <c:v>74.849990000000005</c:v>
                </c:pt>
                <c:pt idx="476">
                  <c:v>75.739990000000006</c:v>
                </c:pt>
                <c:pt idx="477">
                  <c:v>75.739990000000006</c:v>
                </c:pt>
                <c:pt idx="478">
                  <c:v>75.299990000000008</c:v>
                </c:pt>
                <c:pt idx="479">
                  <c:v>76.189990000000009</c:v>
                </c:pt>
                <c:pt idx="480">
                  <c:v>76.189990000000009</c:v>
                </c:pt>
                <c:pt idx="481">
                  <c:v>76.189990000000009</c:v>
                </c:pt>
                <c:pt idx="482">
                  <c:v>76.189990000000009</c:v>
                </c:pt>
                <c:pt idx="483">
                  <c:v>75.75</c:v>
                </c:pt>
                <c:pt idx="484">
                  <c:v>76.189990000000009</c:v>
                </c:pt>
                <c:pt idx="485">
                  <c:v>76.189990000000009</c:v>
                </c:pt>
                <c:pt idx="486">
                  <c:v>76.64</c:v>
                </c:pt>
                <c:pt idx="487">
                  <c:v>76.64</c:v>
                </c:pt>
                <c:pt idx="488">
                  <c:v>76.629990000000006</c:v>
                </c:pt>
                <c:pt idx="489">
                  <c:v>76.629990000000006</c:v>
                </c:pt>
                <c:pt idx="490">
                  <c:v>76.629990000000006</c:v>
                </c:pt>
                <c:pt idx="491">
                  <c:v>76.629990000000006</c:v>
                </c:pt>
                <c:pt idx="492">
                  <c:v>77.069990000000004</c:v>
                </c:pt>
                <c:pt idx="493">
                  <c:v>77.069990000000004</c:v>
                </c:pt>
                <c:pt idx="494">
                  <c:v>77.069990000000004</c:v>
                </c:pt>
                <c:pt idx="495">
                  <c:v>76.189990000000009</c:v>
                </c:pt>
                <c:pt idx="496">
                  <c:v>76.189990000000009</c:v>
                </c:pt>
                <c:pt idx="497">
                  <c:v>75.739990000000006</c:v>
                </c:pt>
                <c:pt idx="498">
                  <c:v>75.739990000000006</c:v>
                </c:pt>
                <c:pt idx="499">
                  <c:v>74.85999000000001</c:v>
                </c:pt>
                <c:pt idx="500">
                  <c:v>74.85999000000001</c:v>
                </c:pt>
                <c:pt idx="501">
                  <c:v>74.85999000000001</c:v>
                </c:pt>
                <c:pt idx="502">
                  <c:v>74.85999000000001</c:v>
                </c:pt>
                <c:pt idx="503">
                  <c:v>74.85999000000001</c:v>
                </c:pt>
                <c:pt idx="504">
                  <c:v>74.85999000000001</c:v>
                </c:pt>
                <c:pt idx="505">
                  <c:v>74.85999000000001</c:v>
                </c:pt>
                <c:pt idx="506">
                  <c:v>74.85999000000001</c:v>
                </c:pt>
                <c:pt idx="507">
                  <c:v>74.85999000000001</c:v>
                </c:pt>
                <c:pt idx="508">
                  <c:v>74.42</c:v>
                </c:pt>
                <c:pt idx="509">
                  <c:v>74.42</c:v>
                </c:pt>
                <c:pt idx="510">
                  <c:v>73.96999000000001</c:v>
                </c:pt>
                <c:pt idx="511">
                  <c:v>73.09</c:v>
                </c:pt>
                <c:pt idx="512">
                  <c:v>71.739990000000006</c:v>
                </c:pt>
                <c:pt idx="513">
                  <c:v>71.71999000000001</c:v>
                </c:pt>
                <c:pt idx="514">
                  <c:v>71.75</c:v>
                </c:pt>
                <c:pt idx="515">
                  <c:v>71.75</c:v>
                </c:pt>
                <c:pt idx="516">
                  <c:v>71.75</c:v>
                </c:pt>
                <c:pt idx="517">
                  <c:v>71.75</c:v>
                </c:pt>
                <c:pt idx="518">
                  <c:v>71.75</c:v>
                </c:pt>
                <c:pt idx="519">
                  <c:v>71.75</c:v>
                </c:pt>
                <c:pt idx="520">
                  <c:v>70.409990000000008</c:v>
                </c:pt>
                <c:pt idx="521">
                  <c:v>70.409990000000008</c:v>
                </c:pt>
                <c:pt idx="522">
                  <c:v>70.409990000000008</c:v>
                </c:pt>
                <c:pt idx="523">
                  <c:v>70.409990000000008</c:v>
                </c:pt>
                <c:pt idx="524">
                  <c:v>70.409990000000008</c:v>
                </c:pt>
                <c:pt idx="525">
                  <c:v>70.42</c:v>
                </c:pt>
                <c:pt idx="526">
                  <c:v>69.09</c:v>
                </c:pt>
                <c:pt idx="527">
                  <c:v>69.09</c:v>
                </c:pt>
                <c:pt idx="528">
                  <c:v>69.09</c:v>
                </c:pt>
                <c:pt idx="529">
                  <c:v>69.09</c:v>
                </c:pt>
                <c:pt idx="530">
                  <c:v>69.09</c:v>
                </c:pt>
                <c:pt idx="531">
                  <c:v>69.079990000000009</c:v>
                </c:pt>
                <c:pt idx="532">
                  <c:v>69.09</c:v>
                </c:pt>
                <c:pt idx="533">
                  <c:v>68.2</c:v>
                </c:pt>
                <c:pt idx="534">
                  <c:v>68.2</c:v>
                </c:pt>
                <c:pt idx="535">
                  <c:v>68.2</c:v>
                </c:pt>
                <c:pt idx="536">
                  <c:v>68.2</c:v>
                </c:pt>
                <c:pt idx="537">
                  <c:v>68.209990000000005</c:v>
                </c:pt>
                <c:pt idx="538">
                  <c:v>68.2</c:v>
                </c:pt>
                <c:pt idx="539">
                  <c:v>68.659990000000008</c:v>
                </c:pt>
                <c:pt idx="540">
                  <c:v>68.649990000000003</c:v>
                </c:pt>
                <c:pt idx="541">
                  <c:v>66</c:v>
                </c:pt>
                <c:pt idx="542">
                  <c:v>69.09</c:v>
                </c:pt>
                <c:pt idx="543">
                  <c:v>69.539990000000003</c:v>
                </c:pt>
                <c:pt idx="544">
                  <c:v>74.429990000000004</c:v>
                </c:pt>
                <c:pt idx="545">
                  <c:v>73.98</c:v>
                </c:pt>
                <c:pt idx="546">
                  <c:v>71.739990000000006</c:v>
                </c:pt>
                <c:pt idx="547">
                  <c:v>71.75</c:v>
                </c:pt>
                <c:pt idx="548">
                  <c:v>71.75</c:v>
                </c:pt>
                <c:pt idx="549">
                  <c:v>71.75</c:v>
                </c:pt>
                <c:pt idx="550">
                  <c:v>71.75</c:v>
                </c:pt>
                <c:pt idx="551">
                  <c:v>71.75</c:v>
                </c:pt>
                <c:pt idx="552">
                  <c:v>71.75</c:v>
                </c:pt>
                <c:pt idx="553">
                  <c:v>71.75</c:v>
                </c:pt>
                <c:pt idx="554">
                  <c:v>71.739990000000006</c:v>
                </c:pt>
                <c:pt idx="555">
                  <c:v>71.739990000000006</c:v>
                </c:pt>
                <c:pt idx="556">
                  <c:v>71.739990000000006</c:v>
                </c:pt>
                <c:pt idx="557">
                  <c:v>71.739990000000006</c:v>
                </c:pt>
                <c:pt idx="558">
                  <c:v>71.739990000000006</c:v>
                </c:pt>
                <c:pt idx="559">
                  <c:v>71.739990000000006</c:v>
                </c:pt>
                <c:pt idx="560">
                  <c:v>71.299990000000008</c:v>
                </c:pt>
                <c:pt idx="561">
                  <c:v>71.289990000000003</c:v>
                </c:pt>
                <c:pt idx="562">
                  <c:v>71.289990000000003</c:v>
                </c:pt>
                <c:pt idx="563">
                  <c:v>71.289990000000003</c:v>
                </c:pt>
                <c:pt idx="564">
                  <c:v>71.28</c:v>
                </c:pt>
                <c:pt idx="565">
                  <c:v>72.189990000000009</c:v>
                </c:pt>
                <c:pt idx="566">
                  <c:v>72.179990000000004</c:v>
                </c:pt>
                <c:pt idx="567">
                  <c:v>71.739990000000006</c:v>
                </c:pt>
                <c:pt idx="568">
                  <c:v>71.73</c:v>
                </c:pt>
                <c:pt idx="569">
                  <c:v>71.73</c:v>
                </c:pt>
                <c:pt idx="570">
                  <c:v>71.739990000000006</c:v>
                </c:pt>
                <c:pt idx="571">
                  <c:v>71.739990000000006</c:v>
                </c:pt>
                <c:pt idx="572">
                  <c:v>71.739990000000006</c:v>
                </c:pt>
                <c:pt idx="573">
                  <c:v>71.739990000000006</c:v>
                </c:pt>
                <c:pt idx="574">
                  <c:v>71.739990000000006</c:v>
                </c:pt>
                <c:pt idx="575">
                  <c:v>71.73</c:v>
                </c:pt>
                <c:pt idx="576">
                  <c:v>70.849990000000005</c:v>
                </c:pt>
                <c:pt idx="577">
                  <c:v>69.489990000000006</c:v>
                </c:pt>
                <c:pt idx="578">
                  <c:v>66.849990000000005</c:v>
                </c:pt>
                <c:pt idx="579">
                  <c:v>66.85999000000001</c:v>
                </c:pt>
                <c:pt idx="580">
                  <c:v>66.849990000000005</c:v>
                </c:pt>
                <c:pt idx="581">
                  <c:v>65.96999000000001</c:v>
                </c:pt>
                <c:pt idx="582">
                  <c:v>65.519990000000007</c:v>
                </c:pt>
                <c:pt idx="583">
                  <c:v>65.5</c:v>
                </c:pt>
                <c:pt idx="584">
                  <c:v>63.750000000000007</c:v>
                </c:pt>
                <c:pt idx="585">
                  <c:v>63.759990000000002</c:v>
                </c:pt>
                <c:pt idx="586">
                  <c:v>63.750000000000007</c:v>
                </c:pt>
                <c:pt idx="587">
                  <c:v>68.159990000000008</c:v>
                </c:pt>
                <c:pt idx="588">
                  <c:v>64.649990000000003</c:v>
                </c:pt>
                <c:pt idx="589">
                  <c:v>64.67</c:v>
                </c:pt>
                <c:pt idx="590">
                  <c:v>64.659990000000008</c:v>
                </c:pt>
                <c:pt idx="591">
                  <c:v>64.649990000000003</c:v>
                </c:pt>
                <c:pt idx="592">
                  <c:v>64.64</c:v>
                </c:pt>
                <c:pt idx="593">
                  <c:v>64.659990000000008</c:v>
                </c:pt>
                <c:pt idx="594">
                  <c:v>64.649990000000003</c:v>
                </c:pt>
                <c:pt idx="595">
                  <c:v>64.64</c:v>
                </c:pt>
                <c:pt idx="596">
                  <c:v>64.649990000000003</c:v>
                </c:pt>
                <c:pt idx="597">
                  <c:v>64.64</c:v>
                </c:pt>
                <c:pt idx="598">
                  <c:v>64.64</c:v>
                </c:pt>
                <c:pt idx="599">
                  <c:v>64.649990000000003</c:v>
                </c:pt>
                <c:pt idx="600">
                  <c:v>64.649990000000003</c:v>
                </c:pt>
                <c:pt idx="601">
                  <c:v>64.64</c:v>
                </c:pt>
                <c:pt idx="602">
                  <c:v>64.209990000000005</c:v>
                </c:pt>
                <c:pt idx="603">
                  <c:v>64.189990000000009</c:v>
                </c:pt>
                <c:pt idx="604">
                  <c:v>64.2</c:v>
                </c:pt>
                <c:pt idx="605">
                  <c:v>64.189990000000009</c:v>
                </c:pt>
                <c:pt idx="606">
                  <c:v>64.2</c:v>
                </c:pt>
                <c:pt idx="607">
                  <c:v>64.2</c:v>
                </c:pt>
                <c:pt idx="608">
                  <c:v>64.189990000000009</c:v>
                </c:pt>
                <c:pt idx="609">
                  <c:v>64.189990000000009</c:v>
                </c:pt>
                <c:pt idx="610">
                  <c:v>64.189990000000009</c:v>
                </c:pt>
                <c:pt idx="611">
                  <c:v>64.189990000000009</c:v>
                </c:pt>
                <c:pt idx="612">
                  <c:v>64.189990000000009</c:v>
                </c:pt>
                <c:pt idx="613">
                  <c:v>61.599990000000005</c:v>
                </c:pt>
                <c:pt idx="614">
                  <c:v>64.189990000000009</c:v>
                </c:pt>
                <c:pt idx="615">
                  <c:v>61.599990000000005</c:v>
                </c:pt>
                <c:pt idx="616">
                  <c:v>61.599990000000005</c:v>
                </c:pt>
                <c:pt idx="617">
                  <c:v>61.599990000000005</c:v>
                </c:pt>
                <c:pt idx="618">
                  <c:v>61.599990000000005</c:v>
                </c:pt>
                <c:pt idx="619">
                  <c:v>61.599990000000005</c:v>
                </c:pt>
                <c:pt idx="620">
                  <c:v>52.799990000000001</c:v>
                </c:pt>
                <c:pt idx="621">
                  <c:v>52.799990000000001</c:v>
                </c:pt>
                <c:pt idx="622">
                  <c:v>52.799990000000001</c:v>
                </c:pt>
                <c:pt idx="623">
                  <c:v>52.799990000000001</c:v>
                </c:pt>
                <c:pt idx="624">
                  <c:v>52.799990000000001</c:v>
                </c:pt>
                <c:pt idx="625">
                  <c:v>52.799990000000001</c:v>
                </c:pt>
                <c:pt idx="626">
                  <c:v>52.799990000000001</c:v>
                </c:pt>
                <c:pt idx="627">
                  <c:v>52.799990000000001</c:v>
                </c:pt>
                <c:pt idx="628">
                  <c:v>52.799990000000001</c:v>
                </c:pt>
                <c:pt idx="629">
                  <c:v>52.799990000000001</c:v>
                </c:pt>
                <c:pt idx="630">
                  <c:v>52.799990000000001</c:v>
                </c:pt>
                <c:pt idx="631">
                  <c:v>52.799990000000001</c:v>
                </c:pt>
                <c:pt idx="632">
                  <c:v>52.799990000000001</c:v>
                </c:pt>
                <c:pt idx="633">
                  <c:v>52.799990000000001</c:v>
                </c:pt>
                <c:pt idx="634">
                  <c:v>52.799990000000001</c:v>
                </c:pt>
                <c:pt idx="635">
                  <c:v>52.799990000000001</c:v>
                </c:pt>
                <c:pt idx="636">
                  <c:v>52.799990000000001</c:v>
                </c:pt>
                <c:pt idx="637">
                  <c:v>52.799990000000001</c:v>
                </c:pt>
                <c:pt idx="638">
                  <c:v>52.799990000000001</c:v>
                </c:pt>
                <c:pt idx="639">
                  <c:v>52.799990000000001</c:v>
                </c:pt>
                <c:pt idx="640">
                  <c:v>52.799990000000001</c:v>
                </c:pt>
                <c:pt idx="641">
                  <c:v>51.659990000000008</c:v>
                </c:pt>
                <c:pt idx="642">
                  <c:v>49.909990000000008</c:v>
                </c:pt>
                <c:pt idx="643">
                  <c:v>51.250000000000007</c:v>
                </c:pt>
                <c:pt idx="644">
                  <c:v>52.599990000000005</c:v>
                </c:pt>
                <c:pt idx="645">
                  <c:v>51.709990000000005</c:v>
                </c:pt>
                <c:pt idx="646">
                  <c:v>50.81</c:v>
                </c:pt>
                <c:pt idx="647">
                  <c:v>51.28</c:v>
                </c:pt>
                <c:pt idx="648">
                  <c:v>51.28</c:v>
                </c:pt>
                <c:pt idx="649">
                  <c:v>51.259990000000002</c:v>
                </c:pt>
                <c:pt idx="650">
                  <c:v>51.7</c:v>
                </c:pt>
                <c:pt idx="651">
                  <c:v>51.689990000000002</c:v>
                </c:pt>
                <c:pt idx="652">
                  <c:v>51.689990000000002</c:v>
                </c:pt>
                <c:pt idx="653">
                  <c:v>51.679990000000004</c:v>
                </c:pt>
                <c:pt idx="654">
                  <c:v>51.689990000000002</c:v>
                </c:pt>
                <c:pt idx="655">
                  <c:v>51.689990000000002</c:v>
                </c:pt>
                <c:pt idx="656">
                  <c:v>51.709990000000005</c:v>
                </c:pt>
                <c:pt idx="657">
                  <c:v>51.679990000000004</c:v>
                </c:pt>
                <c:pt idx="658">
                  <c:v>51.709990000000005</c:v>
                </c:pt>
                <c:pt idx="659">
                  <c:v>51.719990000000003</c:v>
                </c:pt>
                <c:pt idx="660">
                  <c:v>51.7</c:v>
                </c:pt>
                <c:pt idx="661">
                  <c:v>51.7</c:v>
                </c:pt>
                <c:pt idx="662">
                  <c:v>51.7</c:v>
                </c:pt>
                <c:pt idx="663">
                  <c:v>51.719990000000003</c:v>
                </c:pt>
                <c:pt idx="664">
                  <c:v>51.689990000000002</c:v>
                </c:pt>
                <c:pt idx="665">
                  <c:v>51.709990000000005</c:v>
                </c:pt>
                <c:pt idx="666">
                  <c:v>51.709990000000005</c:v>
                </c:pt>
                <c:pt idx="667">
                  <c:v>51.709990000000005</c:v>
                </c:pt>
                <c:pt idx="668">
                  <c:v>51.239990000000006</c:v>
                </c:pt>
                <c:pt idx="669">
                  <c:v>51.259990000000002</c:v>
                </c:pt>
                <c:pt idx="670">
                  <c:v>50.640000000000008</c:v>
                </c:pt>
                <c:pt idx="671">
                  <c:v>50.640000000000008</c:v>
                </c:pt>
                <c:pt idx="672">
                  <c:v>50.640000000000008</c:v>
                </c:pt>
                <c:pt idx="673">
                  <c:v>50.379990000000006</c:v>
                </c:pt>
                <c:pt idx="674">
                  <c:v>50.409990000000008</c:v>
                </c:pt>
                <c:pt idx="675">
                  <c:v>50.409990000000008</c:v>
                </c:pt>
                <c:pt idx="676">
                  <c:v>50.359990000000003</c:v>
                </c:pt>
                <c:pt idx="677">
                  <c:v>52.629990000000006</c:v>
                </c:pt>
                <c:pt idx="678">
                  <c:v>54.390000000000008</c:v>
                </c:pt>
                <c:pt idx="679">
                  <c:v>56.629990000000006</c:v>
                </c:pt>
                <c:pt idx="680">
                  <c:v>56.629990000000006</c:v>
                </c:pt>
                <c:pt idx="681">
                  <c:v>56.629990000000006</c:v>
                </c:pt>
                <c:pt idx="682">
                  <c:v>56.640000000000008</c:v>
                </c:pt>
                <c:pt idx="683">
                  <c:v>56.629990000000006</c:v>
                </c:pt>
                <c:pt idx="684">
                  <c:v>56.629990000000006</c:v>
                </c:pt>
                <c:pt idx="685">
                  <c:v>56.609990000000003</c:v>
                </c:pt>
                <c:pt idx="686">
                  <c:v>56.179990000000004</c:v>
                </c:pt>
                <c:pt idx="687">
                  <c:v>56.17</c:v>
                </c:pt>
                <c:pt idx="688">
                  <c:v>56.179990000000004</c:v>
                </c:pt>
                <c:pt idx="689">
                  <c:v>57.519990000000007</c:v>
                </c:pt>
                <c:pt idx="690">
                  <c:v>57.519990000000007</c:v>
                </c:pt>
                <c:pt idx="691">
                  <c:v>56.629990000000006</c:v>
                </c:pt>
                <c:pt idx="692">
                  <c:v>55.28</c:v>
                </c:pt>
                <c:pt idx="693">
                  <c:v>57.039990000000003</c:v>
                </c:pt>
                <c:pt idx="694">
                  <c:v>57.039990000000003</c:v>
                </c:pt>
                <c:pt idx="695">
                  <c:v>57.039990000000003</c:v>
                </c:pt>
                <c:pt idx="696">
                  <c:v>57.03</c:v>
                </c:pt>
                <c:pt idx="697">
                  <c:v>56.59</c:v>
                </c:pt>
                <c:pt idx="698">
                  <c:v>56.129990000000006</c:v>
                </c:pt>
                <c:pt idx="699">
                  <c:v>56.599990000000005</c:v>
                </c:pt>
                <c:pt idx="700">
                  <c:v>55.709990000000005</c:v>
                </c:pt>
                <c:pt idx="701">
                  <c:v>55.689990000000002</c:v>
                </c:pt>
                <c:pt idx="702">
                  <c:v>55.7</c:v>
                </c:pt>
                <c:pt idx="703">
                  <c:v>55.709990000000005</c:v>
                </c:pt>
                <c:pt idx="704">
                  <c:v>58.640000000000008</c:v>
                </c:pt>
                <c:pt idx="705">
                  <c:v>57.06</c:v>
                </c:pt>
                <c:pt idx="706">
                  <c:v>57.500000000000007</c:v>
                </c:pt>
                <c:pt idx="707">
                  <c:v>57.500000000000007</c:v>
                </c:pt>
                <c:pt idx="708">
                  <c:v>57.489990000000006</c:v>
                </c:pt>
                <c:pt idx="709">
                  <c:v>57.500000000000007</c:v>
                </c:pt>
                <c:pt idx="710">
                  <c:v>57.509990000000002</c:v>
                </c:pt>
                <c:pt idx="711">
                  <c:v>57.509990000000002</c:v>
                </c:pt>
                <c:pt idx="712">
                  <c:v>58.379990000000006</c:v>
                </c:pt>
                <c:pt idx="713">
                  <c:v>58.379990000000006</c:v>
                </c:pt>
                <c:pt idx="714">
                  <c:v>59.280000000000008</c:v>
                </c:pt>
                <c:pt idx="715">
                  <c:v>59.730000000000004</c:v>
                </c:pt>
                <c:pt idx="716">
                  <c:v>61.489990000000006</c:v>
                </c:pt>
                <c:pt idx="717">
                  <c:v>61.489990000000006</c:v>
                </c:pt>
                <c:pt idx="718">
                  <c:v>61.489990000000006</c:v>
                </c:pt>
                <c:pt idx="719">
                  <c:v>61.489990000000006</c:v>
                </c:pt>
                <c:pt idx="720">
                  <c:v>61.489990000000006</c:v>
                </c:pt>
                <c:pt idx="721">
                  <c:v>62.280000000000008</c:v>
                </c:pt>
                <c:pt idx="722">
                  <c:v>61.500000000000007</c:v>
                </c:pt>
                <c:pt idx="723">
                  <c:v>61.489990000000006</c:v>
                </c:pt>
                <c:pt idx="724">
                  <c:v>61.500000000000007</c:v>
                </c:pt>
                <c:pt idx="725">
                  <c:v>61.489990000000006</c:v>
                </c:pt>
                <c:pt idx="726">
                  <c:v>61.519990000000007</c:v>
                </c:pt>
                <c:pt idx="727">
                  <c:v>61.539990000000003</c:v>
                </c:pt>
                <c:pt idx="728">
                  <c:v>61.489990000000006</c:v>
                </c:pt>
                <c:pt idx="729">
                  <c:v>61.480000000000004</c:v>
                </c:pt>
                <c:pt idx="730">
                  <c:v>61.509990000000002</c:v>
                </c:pt>
                <c:pt idx="731">
                  <c:v>61.489990000000006</c:v>
                </c:pt>
                <c:pt idx="732">
                  <c:v>61.489990000000006</c:v>
                </c:pt>
                <c:pt idx="733">
                  <c:v>60.599990000000005</c:v>
                </c:pt>
                <c:pt idx="734">
                  <c:v>60.620000000000005</c:v>
                </c:pt>
                <c:pt idx="735">
                  <c:v>60.609990000000003</c:v>
                </c:pt>
                <c:pt idx="736">
                  <c:v>60.609990000000003</c:v>
                </c:pt>
                <c:pt idx="737">
                  <c:v>60.620000000000005</c:v>
                </c:pt>
                <c:pt idx="738">
                  <c:v>60.609990000000003</c:v>
                </c:pt>
                <c:pt idx="739">
                  <c:v>59.730000000000004</c:v>
                </c:pt>
                <c:pt idx="740">
                  <c:v>59.730000000000004</c:v>
                </c:pt>
                <c:pt idx="741">
                  <c:v>59.730000000000004</c:v>
                </c:pt>
                <c:pt idx="742">
                  <c:v>59.730000000000004</c:v>
                </c:pt>
                <c:pt idx="743">
                  <c:v>59.730000000000004</c:v>
                </c:pt>
                <c:pt idx="744">
                  <c:v>59.730000000000004</c:v>
                </c:pt>
                <c:pt idx="745">
                  <c:v>59.719990000000003</c:v>
                </c:pt>
                <c:pt idx="746">
                  <c:v>59.719990000000003</c:v>
                </c:pt>
                <c:pt idx="747">
                  <c:v>59.280000000000008</c:v>
                </c:pt>
                <c:pt idx="748">
                  <c:v>59.269990000000007</c:v>
                </c:pt>
                <c:pt idx="749">
                  <c:v>59.269990000000007</c:v>
                </c:pt>
                <c:pt idx="750">
                  <c:v>58.829990000000002</c:v>
                </c:pt>
                <c:pt idx="751">
                  <c:v>58.819990000000004</c:v>
                </c:pt>
                <c:pt idx="752">
                  <c:v>58.819990000000004</c:v>
                </c:pt>
                <c:pt idx="753">
                  <c:v>58.819990000000004</c:v>
                </c:pt>
                <c:pt idx="754">
                  <c:v>58.819990000000004</c:v>
                </c:pt>
                <c:pt idx="755">
                  <c:v>58.370000000000005</c:v>
                </c:pt>
                <c:pt idx="756">
                  <c:v>58.370000000000005</c:v>
                </c:pt>
                <c:pt idx="757">
                  <c:v>58.370000000000005</c:v>
                </c:pt>
                <c:pt idx="758">
                  <c:v>58.370000000000005</c:v>
                </c:pt>
                <c:pt idx="759">
                  <c:v>57.049990000000008</c:v>
                </c:pt>
                <c:pt idx="760">
                  <c:v>55.7</c:v>
                </c:pt>
                <c:pt idx="761">
                  <c:v>55.7</c:v>
                </c:pt>
                <c:pt idx="762">
                  <c:v>55.7</c:v>
                </c:pt>
                <c:pt idx="763">
                  <c:v>55.7</c:v>
                </c:pt>
                <c:pt idx="764">
                  <c:v>55.7</c:v>
                </c:pt>
                <c:pt idx="765">
                  <c:v>55.7</c:v>
                </c:pt>
                <c:pt idx="766">
                  <c:v>55.7</c:v>
                </c:pt>
                <c:pt idx="767">
                  <c:v>56.149990000000003</c:v>
                </c:pt>
                <c:pt idx="768">
                  <c:v>57.03</c:v>
                </c:pt>
                <c:pt idx="769">
                  <c:v>58.390000000000008</c:v>
                </c:pt>
                <c:pt idx="770">
                  <c:v>61.909990000000008</c:v>
                </c:pt>
                <c:pt idx="771">
                  <c:v>62.829990000000002</c:v>
                </c:pt>
                <c:pt idx="772">
                  <c:v>64.14</c:v>
                </c:pt>
                <c:pt idx="773">
                  <c:v>65.039990000000003</c:v>
                </c:pt>
                <c:pt idx="774">
                  <c:v>64.159990000000008</c:v>
                </c:pt>
                <c:pt idx="775">
                  <c:v>63.280000000000008</c:v>
                </c:pt>
                <c:pt idx="776">
                  <c:v>63.280000000000008</c:v>
                </c:pt>
                <c:pt idx="777">
                  <c:v>63.280000000000008</c:v>
                </c:pt>
                <c:pt idx="778">
                  <c:v>63.280000000000008</c:v>
                </c:pt>
                <c:pt idx="779">
                  <c:v>63.280000000000008</c:v>
                </c:pt>
                <c:pt idx="780">
                  <c:v>63.280000000000008</c:v>
                </c:pt>
                <c:pt idx="781">
                  <c:v>63.719990000000003</c:v>
                </c:pt>
                <c:pt idx="782">
                  <c:v>63.280000000000008</c:v>
                </c:pt>
                <c:pt idx="783">
                  <c:v>63.280000000000008</c:v>
                </c:pt>
                <c:pt idx="784">
                  <c:v>63.280000000000008</c:v>
                </c:pt>
                <c:pt idx="785">
                  <c:v>63.280000000000008</c:v>
                </c:pt>
                <c:pt idx="786">
                  <c:v>63.289990000000003</c:v>
                </c:pt>
                <c:pt idx="787">
                  <c:v>62.379990000000006</c:v>
                </c:pt>
                <c:pt idx="788">
                  <c:v>61.469990000000003</c:v>
                </c:pt>
                <c:pt idx="789">
                  <c:v>61.480000000000004</c:v>
                </c:pt>
                <c:pt idx="790">
                  <c:v>61.480000000000004</c:v>
                </c:pt>
                <c:pt idx="791">
                  <c:v>61.480000000000004</c:v>
                </c:pt>
                <c:pt idx="792">
                  <c:v>59.280000000000008</c:v>
                </c:pt>
                <c:pt idx="793">
                  <c:v>59.269990000000007</c:v>
                </c:pt>
                <c:pt idx="794">
                  <c:v>60.629990000000006</c:v>
                </c:pt>
                <c:pt idx="795">
                  <c:v>60.629990000000006</c:v>
                </c:pt>
                <c:pt idx="796">
                  <c:v>60.629990000000006</c:v>
                </c:pt>
                <c:pt idx="797">
                  <c:v>64.62</c:v>
                </c:pt>
                <c:pt idx="798">
                  <c:v>63.709990000000005</c:v>
                </c:pt>
                <c:pt idx="799">
                  <c:v>62.849990000000005</c:v>
                </c:pt>
                <c:pt idx="800">
                  <c:v>61.500000000000007</c:v>
                </c:pt>
                <c:pt idx="801">
                  <c:v>61.500000000000007</c:v>
                </c:pt>
                <c:pt idx="802">
                  <c:v>61.053820000000002</c:v>
                </c:pt>
                <c:pt idx="803">
                  <c:v>61.058320000000002</c:v>
                </c:pt>
                <c:pt idx="804">
                  <c:v>60.620000000000005</c:v>
                </c:pt>
                <c:pt idx="805">
                  <c:v>60.17</c:v>
                </c:pt>
                <c:pt idx="806">
                  <c:v>59.280000000000008</c:v>
                </c:pt>
                <c:pt idx="807">
                  <c:v>59.280000000000008</c:v>
                </c:pt>
                <c:pt idx="808">
                  <c:v>59.269990000000007</c:v>
                </c:pt>
                <c:pt idx="809">
                  <c:v>59.280000000000008</c:v>
                </c:pt>
                <c:pt idx="810">
                  <c:v>58.84</c:v>
                </c:pt>
                <c:pt idx="811">
                  <c:v>58.84</c:v>
                </c:pt>
                <c:pt idx="812">
                  <c:v>58.84</c:v>
                </c:pt>
                <c:pt idx="813">
                  <c:v>58.84</c:v>
                </c:pt>
                <c:pt idx="814">
                  <c:v>59.280000000000008</c:v>
                </c:pt>
                <c:pt idx="815">
                  <c:v>59.280000000000008</c:v>
                </c:pt>
                <c:pt idx="816">
                  <c:v>57.929990000000004</c:v>
                </c:pt>
                <c:pt idx="817">
                  <c:v>57.929990000000004</c:v>
                </c:pt>
                <c:pt idx="818">
                  <c:v>57.929990000000004</c:v>
                </c:pt>
                <c:pt idx="819">
                  <c:v>57.03</c:v>
                </c:pt>
                <c:pt idx="820">
                  <c:v>57.03</c:v>
                </c:pt>
                <c:pt idx="821">
                  <c:v>56.129990000000006</c:v>
                </c:pt>
                <c:pt idx="822">
                  <c:v>53.929990000000004</c:v>
                </c:pt>
                <c:pt idx="823">
                  <c:v>53.929990000000004</c:v>
                </c:pt>
                <c:pt idx="824">
                  <c:v>53.929990000000004</c:v>
                </c:pt>
                <c:pt idx="825">
                  <c:v>53.929990000000004</c:v>
                </c:pt>
                <c:pt idx="826">
                  <c:v>53.480000000000004</c:v>
                </c:pt>
                <c:pt idx="827">
                  <c:v>52.579990000000002</c:v>
                </c:pt>
                <c:pt idx="828">
                  <c:v>52.569990000000004</c:v>
                </c:pt>
                <c:pt idx="829">
                  <c:v>52.579990000000002</c:v>
                </c:pt>
                <c:pt idx="830">
                  <c:v>53.480000000000004</c:v>
                </c:pt>
                <c:pt idx="831">
                  <c:v>53.469990000000003</c:v>
                </c:pt>
                <c:pt idx="832">
                  <c:v>53.469990000000003</c:v>
                </c:pt>
                <c:pt idx="833">
                  <c:v>53.459990000000005</c:v>
                </c:pt>
                <c:pt idx="834">
                  <c:v>53.469990000000003</c:v>
                </c:pt>
                <c:pt idx="835">
                  <c:v>53.469990000000003</c:v>
                </c:pt>
                <c:pt idx="836">
                  <c:v>53.469990000000003</c:v>
                </c:pt>
                <c:pt idx="837">
                  <c:v>53.469990000000003</c:v>
                </c:pt>
                <c:pt idx="838">
                  <c:v>53.439990000000002</c:v>
                </c:pt>
                <c:pt idx="839">
                  <c:v>53.500000000000007</c:v>
                </c:pt>
                <c:pt idx="840">
                  <c:v>53.469990000000003</c:v>
                </c:pt>
                <c:pt idx="841">
                  <c:v>53.95</c:v>
                </c:pt>
                <c:pt idx="842">
                  <c:v>53.939990000000002</c:v>
                </c:pt>
                <c:pt idx="843">
                  <c:v>53.939990000000002</c:v>
                </c:pt>
                <c:pt idx="844">
                  <c:v>53.939990000000002</c:v>
                </c:pt>
                <c:pt idx="845">
                  <c:v>53.95</c:v>
                </c:pt>
                <c:pt idx="846">
                  <c:v>53.939990000000002</c:v>
                </c:pt>
                <c:pt idx="847">
                  <c:v>53.509990000000002</c:v>
                </c:pt>
                <c:pt idx="848">
                  <c:v>53.500000000000007</c:v>
                </c:pt>
                <c:pt idx="849">
                  <c:v>53.500000000000007</c:v>
                </c:pt>
                <c:pt idx="850">
                  <c:v>53.489990000000006</c:v>
                </c:pt>
                <c:pt idx="851">
                  <c:v>53.489990000000006</c:v>
                </c:pt>
                <c:pt idx="852">
                  <c:v>53.489990000000006</c:v>
                </c:pt>
                <c:pt idx="853">
                  <c:v>53.489990000000006</c:v>
                </c:pt>
                <c:pt idx="854">
                  <c:v>53.489990000000006</c:v>
                </c:pt>
                <c:pt idx="855">
                  <c:v>53.489990000000006</c:v>
                </c:pt>
                <c:pt idx="856">
                  <c:v>52.609990000000003</c:v>
                </c:pt>
                <c:pt idx="857">
                  <c:v>52.17</c:v>
                </c:pt>
                <c:pt idx="858">
                  <c:v>52.159990000000008</c:v>
                </c:pt>
                <c:pt idx="859">
                  <c:v>52.17</c:v>
                </c:pt>
                <c:pt idx="860">
                  <c:v>52.17</c:v>
                </c:pt>
                <c:pt idx="861">
                  <c:v>52.620000000000005</c:v>
                </c:pt>
                <c:pt idx="862">
                  <c:v>52.609990000000003</c:v>
                </c:pt>
                <c:pt idx="863">
                  <c:v>52.609990000000003</c:v>
                </c:pt>
                <c:pt idx="864">
                  <c:v>53.049990000000001</c:v>
                </c:pt>
                <c:pt idx="865">
                  <c:v>53.049990000000001</c:v>
                </c:pt>
                <c:pt idx="866">
                  <c:v>53.049990000000001</c:v>
                </c:pt>
                <c:pt idx="867">
                  <c:v>53.049990000000001</c:v>
                </c:pt>
                <c:pt idx="868">
                  <c:v>53.049990000000001</c:v>
                </c:pt>
                <c:pt idx="869">
                  <c:v>53.049990000000001</c:v>
                </c:pt>
                <c:pt idx="870">
                  <c:v>53.049990000000001</c:v>
                </c:pt>
                <c:pt idx="871">
                  <c:v>53.06</c:v>
                </c:pt>
                <c:pt idx="872">
                  <c:v>53.049990000000001</c:v>
                </c:pt>
                <c:pt idx="873">
                  <c:v>53.06</c:v>
                </c:pt>
                <c:pt idx="874">
                  <c:v>53.049990000000001</c:v>
                </c:pt>
                <c:pt idx="875">
                  <c:v>53.049990000000001</c:v>
                </c:pt>
                <c:pt idx="876">
                  <c:v>53.049990000000001</c:v>
                </c:pt>
                <c:pt idx="877">
                  <c:v>53.049990000000001</c:v>
                </c:pt>
                <c:pt idx="878">
                  <c:v>53.049990000000001</c:v>
                </c:pt>
                <c:pt idx="879">
                  <c:v>53.039990000000003</c:v>
                </c:pt>
                <c:pt idx="880">
                  <c:v>53.049990000000001</c:v>
                </c:pt>
                <c:pt idx="881">
                  <c:v>53.049990000000001</c:v>
                </c:pt>
                <c:pt idx="882">
                  <c:v>53.049990000000001</c:v>
                </c:pt>
                <c:pt idx="883">
                  <c:v>53.049990000000001</c:v>
                </c:pt>
                <c:pt idx="884">
                  <c:v>53.049990000000001</c:v>
                </c:pt>
                <c:pt idx="885">
                  <c:v>53.039990000000003</c:v>
                </c:pt>
                <c:pt idx="886">
                  <c:v>53.039990000000003</c:v>
                </c:pt>
                <c:pt idx="887">
                  <c:v>53.039990000000003</c:v>
                </c:pt>
                <c:pt idx="888">
                  <c:v>53.039990000000003</c:v>
                </c:pt>
                <c:pt idx="889">
                  <c:v>54.359990000000003</c:v>
                </c:pt>
                <c:pt idx="890">
                  <c:v>54.359990000000003</c:v>
                </c:pt>
                <c:pt idx="891">
                  <c:v>56.609990000000003</c:v>
                </c:pt>
                <c:pt idx="892">
                  <c:v>56.609990000000003</c:v>
                </c:pt>
                <c:pt idx="893">
                  <c:v>57.06</c:v>
                </c:pt>
                <c:pt idx="894">
                  <c:v>57.049990000000008</c:v>
                </c:pt>
                <c:pt idx="895">
                  <c:v>57.049990000000008</c:v>
                </c:pt>
                <c:pt idx="896">
                  <c:v>57.049990000000008</c:v>
                </c:pt>
                <c:pt idx="897">
                  <c:v>57.489990000000006</c:v>
                </c:pt>
                <c:pt idx="898">
                  <c:v>58.399990000000003</c:v>
                </c:pt>
                <c:pt idx="899">
                  <c:v>58.399990000000003</c:v>
                </c:pt>
                <c:pt idx="900">
                  <c:v>59.31</c:v>
                </c:pt>
                <c:pt idx="901">
                  <c:v>60.209990000000005</c:v>
                </c:pt>
                <c:pt idx="902">
                  <c:v>60.2</c:v>
                </c:pt>
                <c:pt idx="903">
                  <c:v>60.2</c:v>
                </c:pt>
                <c:pt idx="904">
                  <c:v>60.659990000000008</c:v>
                </c:pt>
                <c:pt idx="905">
                  <c:v>65.48</c:v>
                </c:pt>
                <c:pt idx="906">
                  <c:v>63.7</c:v>
                </c:pt>
                <c:pt idx="907">
                  <c:v>63.7</c:v>
                </c:pt>
                <c:pt idx="908">
                  <c:v>63.689990000000002</c:v>
                </c:pt>
                <c:pt idx="909">
                  <c:v>63.709990000000005</c:v>
                </c:pt>
                <c:pt idx="910">
                  <c:v>63.730000000000004</c:v>
                </c:pt>
                <c:pt idx="911">
                  <c:v>67.269990000000007</c:v>
                </c:pt>
                <c:pt idx="912">
                  <c:v>67.269990000000007</c:v>
                </c:pt>
                <c:pt idx="913">
                  <c:v>67.289990000000003</c:v>
                </c:pt>
                <c:pt idx="914">
                  <c:v>67.28</c:v>
                </c:pt>
                <c:pt idx="915">
                  <c:v>67.28</c:v>
                </c:pt>
                <c:pt idx="916">
                  <c:v>67.299990000000008</c:v>
                </c:pt>
                <c:pt idx="917">
                  <c:v>67.28</c:v>
                </c:pt>
                <c:pt idx="918">
                  <c:v>67.269990000000007</c:v>
                </c:pt>
                <c:pt idx="919">
                  <c:v>67.259990000000002</c:v>
                </c:pt>
                <c:pt idx="920">
                  <c:v>66.37</c:v>
                </c:pt>
                <c:pt idx="921">
                  <c:v>66.39</c:v>
                </c:pt>
                <c:pt idx="922">
                  <c:v>64.579990000000009</c:v>
                </c:pt>
                <c:pt idx="923">
                  <c:v>64.569990000000004</c:v>
                </c:pt>
                <c:pt idx="924">
                  <c:v>64.569990000000004</c:v>
                </c:pt>
                <c:pt idx="925">
                  <c:v>64.569990000000004</c:v>
                </c:pt>
                <c:pt idx="926">
                  <c:v>63.679990000000004</c:v>
                </c:pt>
                <c:pt idx="927">
                  <c:v>64.14</c:v>
                </c:pt>
                <c:pt idx="928">
                  <c:v>64.12</c:v>
                </c:pt>
                <c:pt idx="929">
                  <c:v>64.14</c:v>
                </c:pt>
                <c:pt idx="930">
                  <c:v>64.59</c:v>
                </c:pt>
                <c:pt idx="931">
                  <c:v>62.019990000000007</c:v>
                </c:pt>
                <c:pt idx="932">
                  <c:v>62.019990000000007</c:v>
                </c:pt>
                <c:pt idx="933">
                  <c:v>62.009990000000002</c:v>
                </c:pt>
                <c:pt idx="934">
                  <c:v>62.049990000000008</c:v>
                </c:pt>
                <c:pt idx="935">
                  <c:v>62.030000000000008</c:v>
                </c:pt>
                <c:pt idx="936">
                  <c:v>62.019990000000007</c:v>
                </c:pt>
                <c:pt idx="937">
                  <c:v>62.009990000000002</c:v>
                </c:pt>
                <c:pt idx="938">
                  <c:v>62.030000000000008</c:v>
                </c:pt>
                <c:pt idx="939">
                  <c:v>62.019990000000007</c:v>
                </c:pt>
                <c:pt idx="940">
                  <c:v>61.489990000000006</c:v>
                </c:pt>
                <c:pt idx="941">
                  <c:v>61.489990000000006</c:v>
                </c:pt>
                <c:pt idx="942">
                  <c:v>61.509990000000002</c:v>
                </c:pt>
                <c:pt idx="943">
                  <c:v>61.480000000000004</c:v>
                </c:pt>
                <c:pt idx="944">
                  <c:v>61.489990000000006</c:v>
                </c:pt>
                <c:pt idx="945">
                  <c:v>61.500000000000007</c:v>
                </c:pt>
                <c:pt idx="946">
                  <c:v>61.509990000000002</c:v>
                </c:pt>
                <c:pt idx="947">
                  <c:v>61.489990000000006</c:v>
                </c:pt>
                <c:pt idx="948">
                  <c:v>63.289990000000003</c:v>
                </c:pt>
                <c:pt idx="949">
                  <c:v>63.31</c:v>
                </c:pt>
                <c:pt idx="950">
                  <c:v>63.759990000000002</c:v>
                </c:pt>
                <c:pt idx="951">
                  <c:v>63.730000000000004</c:v>
                </c:pt>
                <c:pt idx="952">
                  <c:v>63.750000000000007</c:v>
                </c:pt>
                <c:pt idx="953">
                  <c:v>62.84</c:v>
                </c:pt>
                <c:pt idx="954">
                  <c:v>64.599990000000005</c:v>
                </c:pt>
                <c:pt idx="955">
                  <c:v>64.60999000000001</c:v>
                </c:pt>
                <c:pt idx="956">
                  <c:v>64.62</c:v>
                </c:pt>
                <c:pt idx="957">
                  <c:v>65.5</c:v>
                </c:pt>
                <c:pt idx="958">
                  <c:v>64.599990000000005</c:v>
                </c:pt>
                <c:pt idx="959">
                  <c:v>65.95</c:v>
                </c:pt>
                <c:pt idx="960">
                  <c:v>65.939990000000009</c:v>
                </c:pt>
                <c:pt idx="961">
                  <c:v>65.939990000000009</c:v>
                </c:pt>
                <c:pt idx="962">
                  <c:v>65.489990000000006</c:v>
                </c:pt>
                <c:pt idx="963">
                  <c:v>65.5</c:v>
                </c:pt>
                <c:pt idx="964">
                  <c:v>65.509990000000002</c:v>
                </c:pt>
                <c:pt idx="965">
                  <c:v>65.5</c:v>
                </c:pt>
                <c:pt idx="966">
                  <c:v>63.359990000000003</c:v>
                </c:pt>
                <c:pt idx="967">
                  <c:v>65.5</c:v>
                </c:pt>
                <c:pt idx="968">
                  <c:v>65.5</c:v>
                </c:pt>
                <c:pt idx="969">
                  <c:v>65.5</c:v>
                </c:pt>
                <c:pt idx="970">
                  <c:v>66.03</c:v>
                </c:pt>
                <c:pt idx="971">
                  <c:v>66.06</c:v>
                </c:pt>
                <c:pt idx="972">
                  <c:v>66.039990000000003</c:v>
                </c:pt>
                <c:pt idx="973">
                  <c:v>66.049990000000008</c:v>
                </c:pt>
                <c:pt idx="974">
                  <c:v>66.03</c:v>
                </c:pt>
                <c:pt idx="975">
                  <c:v>66.039990000000003</c:v>
                </c:pt>
                <c:pt idx="976">
                  <c:v>67.84</c:v>
                </c:pt>
                <c:pt idx="977">
                  <c:v>69.519990000000007</c:v>
                </c:pt>
                <c:pt idx="978">
                  <c:v>67.84</c:v>
                </c:pt>
                <c:pt idx="979">
                  <c:v>67.84</c:v>
                </c:pt>
                <c:pt idx="980">
                  <c:v>66.038499999999999</c:v>
                </c:pt>
                <c:pt idx="981">
                  <c:v>69.489990000000006</c:v>
                </c:pt>
                <c:pt idx="982">
                  <c:v>69.03</c:v>
                </c:pt>
                <c:pt idx="983">
                  <c:v>69.03</c:v>
                </c:pt>
                <c:pt idx="984">
                  <c:v>68.14</c:v>
                </c:pt>
                <c:pt idx="985">
                  <c:v>68.14</c:v>
                </c:pt>
                <c:pt idx="986">
                  <c:v>69.489990000000006</c:v>
                </c:pt>
                <c:pt idx="987">
                  <c:v>69.5</c:v>
                </c:pt>
                <c:pt idx="988">
                  <c:v>68.579990000000009</c:v>
                </c:pt>
                <c:pt idx="989">
                  <c:v>68.579990000000009</c:v>
                </c:pt>
                <c:pt idx="990">
                  <c:v>68.59</c:v>
                </c:pt>
                <c:pt idx="991">
                  <c:v>69.03</c:v>
                </c:pt>
                <c:pt idx="992">
                  <c:v>69.039990000000003</c:v>
                </c:pt>
                <c:pt idx="993">
                  <c:v>69.039990000000003</c:v>
                </c:pt>
                <c:pt idx="994">
                  <c:v>69.019990000000007</c:v>
                </c:pt>
                <c:pt idx="995">
                  <c:v>66.53</c:v>
                </c:pt>
                <c:pt idx="996">
                  <c:v>66.539990000000003</c:v>
                </c:pt>
                <c:pt idx="997">
                  <c:v>66.069990000000004</c:v>
                </c:pt>
                <c:pt idx="998">
                  <c:v>66.06</c:v>
                </c:pt>
                <c:pt idx="999">
                  <c:v>66.079990000000009</c:v>
                </c:pt>
                <c:pt idx="1000">
                  <c:v>66.069990000000004</c:v>
                </c:pt>
                <c:pt idx="1001">
                  <c:v>66.06</c:v>
                </c:pt>
                <c:pt idx="1002">
                  <c:v>66.519990000000007</c:v>
                </c:pt>
                <c:pt idx="1003">
                  <c:v>66.96999000000001</c:v>
                </c:pt>
                <c:pt idx="1004">
                  <c:v>67.399990000000003</c:v>
                </c:pt>
                <c:pt idx="1005">
                  <c:v>66.519990000000007</c:v>
                </c:pt>
                <c:pt idx="1006">
                  <c:v>67.401499999999999</c:v>
                </c:pt>
                <c:pt idx="1007">
                  <c:v>65.629990000000006</c:v>
                </c:pt>
                <c:pt idx="1008">
                  <c:v>65.62</c:v>
                </c:pt>
                <c:pt idx="1009">
                  <c:v>66.09</c:v>
                </c:pt>
                <c:pt idx="1010">
                  <c:v>66.079990000000009</c:v>
                </c:pt>
                <c:pt idx="1011">
                  <c:v>65.17</c:v>
                </c:pt>
                <c:pt idx="1012">
                  <c:v>65.179990000000004</c:v>
                </c:pt>
                <c:pt idx="1013">
                  <c:v>65.189990000000009</c:v>
                </c:pt>
                <c:pt idx="1014">
                  <c:v>64.28</c:v>
                </c:pt>
                <c:pt idx="1015">
                  <c:v>64.28</c:v>
                </c:pt>
                <c:pt idx="1016">
                  <c:v>64.28</c:v>
                </c:pt>
              </c:numCache>
            </c:numRef>
          </c:val>
          <c:smooth val="0"/>
        </c:ser>
        <c:ser>
          <c:idx val="2"/>
          <c:order val="4"/>
          <c:tx>
            <c:strRef>
              <c:f>[alco.xlsm]cds!$B$4</c:f>
              <c:strCache>
                <c:ptCount val="1"/>
                <c:pt idx="0">
                  <c:v>Szlovákia</c:v>
                </c:pt>
              </c:strCache>
            </c:strRef>
          </c:tx>
          <c:marker>
            <c:symbol val="none"/>
          </c:marker>
          <c:cat>
            <c:numRef>
              <c:f>[alco.xlsm]cds_west!$A$1578:$A$5000</c:f>
              <c:numCache>
                <c:formatCode>m/d/yyyy</c:formatCode>
                <c:ptCount val="3423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3</c:v>
                </c:pt>
                <c:pt idx="54">
                  <c:v>40984</c:v>
                </c:pt>
                <c:pt idx="55">
                  <c:v>40987</c:v>
                </c:pt>
                <c:pt idx="56">
                  <c:v>40988</c:v>
                </c:pt>
                <c:pt idx="57">
                  <c:v>40989</c:v>
                </c:pt>
                <c:pt idx="58">
                  <c:v>40990</c:v>
                </c:pt>
                <c:pt idx="59">
                  <c:v>40991</c:v>
                </c:pt>
                <c:pt idx="60">
                  <c:v>40994</c:v>
                </c:pt>
                <c:pt idx="61">
                  <c:v>40995</c:v>
                </c:pt>
                <c:pt idx="62">
                  <c:v>40996</c:v>
                </c:pt>
                <c:pt idx="63">
                  <c:v>40997</c:v>
                </c:pt>
                <c:pt idx="64">
                  <c:v>40998</c:v>
                </c:pt>
                <c:pt idx="65">
                  <c:v>41001</c:v>
                </c:pt>
                <c:pt idx="66">
                  <c:v>41002</c:v>
                </c:pt>
                <c:pt idx="67">
                  <c:v>41003</c:v>
                </c:pt>
                <c:pt idx="68">
                  <c:v>41004</c:v>
                </c:pt>
                <c:pt idx="69">
                  <c:v>41005</c:v>
                </c:pt>
                <c:pt idx="70">
                  <c:v>41008</c:v>
                </c:pt>
                <c:pt idx="71">
                  <c:v>41009</c:v>
                </c:pt>
                <c:pt idx="72">
                  <c:v>41010</c:v>
                </c:pt>
                <c:pt idx="73">
                  <c:v>41011</c:v>
                </c:pt>
                <c:pt idx="74">
                  <c:v>41012</c:v>
                </c:pt>
                <c:pt idx="75">
                  <c:v>41015</c:v>
                </c:pt>
                <c:pt idx="76">
                  <c:v>41016</c:v>
                </c:pt>
                <c:pt idx="77">
                  <c:v>41017</c:v>
                </c:pt>
                <c:pt idx="78">
                  <c:v>41018</c:v>
                </c:pt>
                <c:pt idx="79">
                  <c:v>41019</c:v>
                </c:pt>
                <c:pt idx="80">
                  <c:v>41022</c:v>
                </c:pt>
                <c:pt idx="81">
                  <c:v>41023</c:v>
                </c:pt>
                <c:pt idx="82">
                  <c:v>41024</c:v>
                </c:pt>
                <c:pt idx="83">
                  <c:v>41025</c:v>
                </c:pt>
                <c:pt idx="84">
                  <c:v>41026</c:v>
                </c:pt>
                <c:pt idx="85">
                  <c:v>41029</c:v>
                </c:pt>
                <c:pt idx="86">
                  <c:v>41030</c:v>
                </c:pt>
                <c:pt idx="87">
                  <c:v>41031</c:v>
                </c:pt>
                <c:pt idx="88">
                  <c:v>41032</c:v>
                </c:pt>
                <c:pt idx="89">
                  <c:v>41033</c:v>
                </c:pt>
                <c:pt idx="90">
                  <c:v>41036</c:v>
                </c:pt>
                <c:pt idx="91">
                  <c:v>41037</c:v>
                </c:pt>
                <c:pt idx="92">
                  <c:v>41038</c:v>
                </c:pt>
                <c:pt idx="93">
                  <c:v>41039</c:v>
                </c:pt>
                <c:pt idx="94">
                  <c:v>41040</c:v>
                </c:pt>
                <c:pt idx="95">
                  <c:v>41043</c:v>
                </c:pt>
                <c:pt idx="96">
                  <c:v>41044</c:v>
                </c:pt>
                <c:pt idx="97">
                  <c:v>41045</c:v>
                </c:pt>
                <c:pt idx="98">
                  <c:v>41046</c:v>
                </c:pt>
                <c:pt idx="99">
                  <c:v>41047</c:v>
                </c:pt>
                <c:pt idx="100">
                  <c:v>41050</c:v>
                </c:pt>
                <c:pt idx="101">
                  <c:v>41051</c:v>
                </c:pt>
                <c:pt idx="102">
                  <c:v>41052</c:v>
                </c:pt>
                <c:pt idx="103">
                  <c:v>41053</c:v>
                </c:pt>
                <c:pt idx="104">
                  <c:v>41054</c:v>
                </c:pt>
                <c:pt idx="105">
                  <c:v>41057</c:v>
                </c:pt>
                <c:pt idx="106">
                  <c:v>41058</c:v>
                </c:pt>
                <c:pt idx="107">
                  <c:v>41059</c:v>
                </c:pt>
                <c:pt idx="108">
                  <c:v>41060</c:v>
                </c:pt>
                <c:pt idx="109">
                  <c:v>41061</c:v>
                </c:pt>
                <c:pt idx="110">
                  <c:v>41064</c:v>
                </c:pt>
                <c:pt idx="111">
                  <c:v>41065</c:v>
                </c:pt>
                <c:pt idx="112">
                  <c:v>41066</c:v>
                </c:pt>
                <c:pt idx="113">
                  <c:v>41067</c:v>
                </c:pt>
                <c:pt idx="114">
                  <c:v>41068</c:v>
                </c:pt>
                <c:pt idx="115">
                  <c:v>41071</c:v>
                </c:pt>
                <c:pt idx="116">
                  <c:v>41072</c:v>
                </c:pt>
                <c:pt idx="117">
                  <c:v>41073</c:v>
                </c:pt>
                <c:pt idx="118">
                  <c:v>41074</c:v>
                </c:pt>
                <c:pt idx="119">
                  <c:v>41075</c:v>
                </c:pt>
                <c:pt idx="120">
                  <c:v>41078</c:v>
                </c:pt>
                <c:pt idx="121">
                  <c:v>41079</c:v>
                </c:pt>
                <c:pt idx="122">
                  <c:v>41080</c:v>
                </c:pt>
                <c:pt idx="123">
                  <c:v>41081</c:v>
                </c:pt>
                <c:pt idx="124">
                  <c:v>41082</c:v>
                </c:pt>
                <c:pt idx="125">
                  <c:v>41085</c:v>
                </c:pt>
                <c:pt idx="126">
                  <c:v>41086</c:v>
                </c:pt>
                <c:pt idx="127">
                  <c:v>41087</c:v>
                </c:pt>
                <c:pt idx="128">
                  <c:v>41088</c:v>
                </c:pt>
                <c:pt idx="129">
                  <c:v>41089</c:v>
                </c:pt>
                <c:pt idx="130">
                  <c:v>41092</c:v>
                </c:pt>
                <c:pt idx="131">
                  <c:v>41093</c:v>
                </c:pt>
                <c:pt idx="132">
                  <c:v>41094</c:v>
                </c:pt>
                <c:pt idx="133">
                  <c:v>41095</c:v>
                </c:pt>
                <c:pt idx="134">
                  <c:v>41096</c:v>
                </c:pt>
                <c:pt idx="135">
                  <c:v>41099</c:v>
                </c:pt>
                <c:pt idx="136">
                  <c:v>41100</c:v>
                </c:pt>
                <c:pt idx="137">
                  <c:v>41101</c:v>
                </c:pt>
                <c:pt idx="138">
                  <c:v>41102</c:v>
                </c:pt>
                <c:pt idx="139">
                  <c:v>41103</c:v>
                </c:pt>
                <c:pt idx="140">
                  <c:v>41106</c:v>
                </c:pt>
                <c:pt idx="141">
                  <c:v>41107</c:v>
                </c:pt>
                <c:pt idx="142">
                  <c:v>41108</c:v>
                </c:pt>
                <c:pt idx="143">
                  <c:v>41109</c:v>
                </c:pt>
                <c:pt idx="144">
                  <c:v>41110</c:v>
                </c:pt>
                <c:pt idx="145">
                  <c:v>41113</c:v>
                </c:pt>
                <c:pt idx="146">
                  <c:v>41114</c:v>
                </c:pt>
                <c:pt idx="147">
                  <c:v>41115</c:v>
                </c:pt>
                <c:pt idx="148">
                  <c:v>41116</c:v>
                </c:pt>
                <c:pt idx="149">
                  <c:v>41117</c:v>
                </c:pt>
                <c:pt idx="150">
                  <c:v>41120</c:v>
                </c:pt>
                <c:pt idx="151">
                  <c:v>41121</c:v>
                </c:pt>
                <c:pt idx="152">
                  <c:v>41122</c:v>
                </c:pt>
                <c:pt idx="153">
                  <c:v>41123</c:v>
                </c:pt>
                <c:pt idx="154">
                  <c:v>41124</c:v>
                </c:pt>
                <c:pt idx="155">
                  <c:v>41127</c:v>
                </c:pt>
                <c:pt idx="156">
                  <c:v>41128</c:v>
                </c:pt>
                <c:pt idx="157">
                  <c:v>41129</c:v>
                </c:pt>
                <c:pt idx="158">
                  <c:v>41130</c:v>
                </c:pt>
                <c:pt idx="159">
                  <c:v>41131</c:v>
                </c:pt>
                <c:pt idx="160">
                  <c:v>41134</c:v>
                </c:pt>
                <c:pt idx="161">
                  <c:v>41135</c:v>
                </c:pt>
                <c:pt idx="162">
                  <c:v>41136</c:v>
                </c:pt>
                <c:pt idx="163">
                  <c:v>41137</c:v>
                </c:pt>
                <c:pt idx="164">
                  <c:v>41138</c:v>
                </c:pt>
                <c:pt idx="165">
                  <c:v>41141</c:v>
                </c:pt>
                <c:pt idx="166">
                  <c:v>41142</c:v>
                </c:pt>
                <c:pt idx="167">
                  <c:v>41143</c:v>
                </c:pt>
                <c:pt idx="168">
                  <c:v>41144</c:v>
                </c:pt>
                <c:pt idx="169">
                  <c:v>41145</c:v>
                </c:pt>
                <c:pt idx="170">
                  <c:v>41148</c:v>
                </c:pt>
                <c:pt idx="171">
                  <c:v>41149</c:v>
                </c:pt>
                <c:pt idx="172">
                  <c:v>41150</c:v>
                </c:pt>
                <c:pt idx="173">
                  <c:v>41151</c:v>
                </c:pt>
                <c:pt idx="174">
                  <c:v>41152</c:v>
                </c:pt>
                <c:pt idx="175">
                  <c:v>41155</c:v>
                </c:pt>
                <c:pt idx="176">
                  <c:v>41156</c:v>
                </c:pt>
                <c:pt idx="177">
                  <c:v>41157</c:v>
                </c:pt>
                <c:pt idx="178">
                  <c:v>41158</c:v>
                </c:pt>
                <c:pt idx="179">
                  <c:v>41159</c:v>
                </c:pt>
                <c:pt idx="180">
                  <c:v>41162</c:v>
                </c:pt>
                <c:pt idx="181">
                  <c:v>41163</c:v>
                </c:pt>
                <c:pt idx="182">
                  <c:v>41164</c:v>
                </c:pt>
                <c:pt idx="183">
                  <c:v>41165</c:v>
                </c:pt>
                <c:pt idx="184">
                  <c:v>41166</c:v>
                </c:pt>
                <c:pt idx="185">
                  <c:v>41169</c:v>
                </c:pt>
                <c:pt idx="186">
                  <c:v>41170</c:v>
                </c:pt>
                <c:pt idx="187">
                  <c:v>41171</c:v>
                </c:pt>
                <c:pt idx="188">
                  <c:v>41172</c:v>
                </c:pt>
                <c:pt idx="189">
                  <c:v>41173</c:v>
                </c:pt>
                <c:pt idx="190">
                  <c:v>41176</c:v>
                </c:pt>
                <c:pt idx="191">
                  <c:v>41177</c:v>
                </c:pt>
                <c:pt idx="192">
                  <c:v>41178</c:v>
                </c:pt>
                <c:pt idx="193">
                  <c:v>41179</c:v>
                </c:pt>
                <c:pt idx="194">
                  <c:v>41180</c:v>
                </c:pt>
                <c:pt idx="195">
                  <c:v>41183</c:v>
                </c:pt>
                <c:pt idx="196">
                  <c:v>41184</c:v>
                </c:pt>
                <c:pt idx="197">
                  <c:v>41185</c:v>
                </c:pt>
                <c:pt idx="198">
                  <c:v>41186</c:v>
                </c:pt>
                <c:pt idx="199">
                  <c:v>41187</c:v>
                </c:pt>
                <c:pt idx="200">
                  <c:v>41190</c:v>
                </c:pt>
                <c:pt idx="201">
                  <c:v>41191</c:v>
                </c:pt>
                <c:pt idx="202">
                  <c:v>41192</c:v>
                </c:pt>
                <c:pt idx="203">
                  <c:v>41193</c:v>
                </c:pt>
                <c:pt idx="204">
                  <c:v>41194</c:v>
                </c:pt>
                <c:pt idx="205">
                  <c:v>41197</c:v>
                </c:pt>
                <c:pt idx="206">
                  <c:v>41198</c:v>
                </c:pt>
                <c:pt idx="207">
                  <c:v>41199</c:v>
                </c:pt>
                <c:pt idx="208">
                  <c:v>41200</c:v>
                </c:pt>
                <c:pt idx="209">
                  <c:v>41201</c:v>
                </c:pt>
                <c:pt idx="210">
                  <c:v>41204</c:v>
                </c:pt>
                <c:pt idx="211">
                  <c:v>41205</c:v>
                </c:pt>
                <c:pt idx="212">
                  <c:v>41206</c:v>
                </c:pt>
                <c:pt idx="213">
                  <c:v>41207</c:v>
                </c:pt>
                <c:pt idx="214">
                  <c:v>41208</c:v>
                </c:pt>
                <c:pt idx="215">
                  <c:v>41211</c:v>
                </c:pt>
                <c:pt idx="216">
                  <c:v>41212</c:v>
                </c:pt>
                <c:pt idx="217">
                  <c:v>41213</c:v>
                </c:pt>
                <c:pt idx="218">
                  <c:v>41214</c:v>
                </c:pt>
                <c:pt idx="219">
                  <c:v>41215</c:v>
                </c:pt>
                <c:pt idx="220">
                  <c:v>41218</c:v>
                </c:pt>
                <c:pt idx="221">
                  <c:v>41219</c:v>
                </c:pt>
                <c:pt idx="222">
                  <c:v>41220</c:v>
                </c:pt>
                <c:pt idx="223">
                  <c:v>41221</c:v>
                </c:pt>
                <c:pt idx="224">
                  <c:v>41222</c:v>
                </c:pt>
                <c:pt idx="225">
                  <c:v>41225</c:v>
                </c:pt>
                <c:pt idx="226">
                  <c:v>41226</c:v>
                </c:pt>
                <c:pt idx="227">
                  <c:v>41227</c:v>
                </c:pt>
                <c:pt idx="228">
                  <c:v>41228</c:v>
                </c:pt>
                <c:pt idx="229">
                  <c:v>41229</c:v>
                </c:pt>
                <c:pt idx="230">
                  <c:v>41232</c:v>
                </c:pt>
                <c:pt idx="231">
                  <c:v>41233</c:v>
                </c:pt>
                <c:pt idx="232">
                  <c:v>41234</c:v>
                </c:pt>
                <c:pt idx="233">
                  <c:v>41235</c:v>
                </c:pt>
                <c:pt idx="234">
                  <c:v>41236</c:v>
                </c:pt>
                <c:pt idx="235">
                  <c:v>41239</c:v>
                </c:pt>
                <c:pt idx="236">
                  <c:v>41240</c:v>
                </c:pt>
                <c:pt idx="237">
                  <c:v>41241</c:v>
                </c:pt>
                <c:pt idx="238">
                  <c:v>41242</c:v>
                </c:pt>
                <c:pt idx="239">
                  <c:v>41243</c:v>
                </c:pt>
                <c:pt idx="240">
                  <c:v>41246</c:v>
                </c:pt>
                <c:pt idx="241">
                  <c:v>41247</c:v>
                </c:pt>
                <c:pt idx="242">
                  <c:v>41248</c:v>
                </c:pt>
                <c:pt idx="243">
                  <c:v>41249</c:v>
                </c:pt>
                <c:pt idx="244">
                  <c:v>41250</c:v>
                </c:pt>
                <c:pt idx="245">
                  <c:v>41253</c:v>
                </c:pt>
                <c:pt idx="246">
                  <c:v>41254</c:v>
                </c:pt>
                <c:pt idx="247">
                  <c:v>41255</c:v>
                </c:pt>
                <c:pt idx="248">
                  <c:v>41256</c:v>
                </c:pt>
                <c:pt idx="249">
                  <c:v>41257</c:v>
                </c:pt>
                <c:pt idx="250">
                  <c:v>41260</c:v>
                </c:pt>
                <c:pt idx="251">
                  <c:v>41261</c:v>
                </c:pt>
                <c:pt idx="252">
                  <c:v>41262</c:v>
                </c:pt>
                <c:pt idx="253">
                  <c:v>41263</c:v>
                </c:pt>
                <c:pt idx="254">
                  <c:v>41264</c:v>
                </c:pt>
                <c:pt idx="255">
                  <c:v>41267</c:v>
                </c:pt>
                <c:pt idx="256">
                  <c:v>41268</c:v>
                </c:pt>
                <c:pt idx="257">
                  <c:v>41269</c:v>
                </c:pt>
                <c:pt idx="258">
                  <c:v>41270</c:v>
                </c:pt>
                <c:pt idx="259">
                  <c:v>41271</c:v>
                </c:pt>
                <c:pt idx="260">
                  <c:v>41274</c:v>
                </c:pt>
                <c:pt idx="261">
                  <c:v>41275</c:v>
                </c:pt>
                <c:pt idx="262">
                  <c:v>41276</c:v>
                </c:pt>
                <c:pt idx="263">
                  <c:v>41277</c:v>
                </c:pt>
                <c:pt idx="264">
                  <c:v>41278</c:v>
                </c:pt>
                <c:pt idx="265">
                  <c:v>41281</c:v>
                </c:pt>
                <c:pt idx="266">
                  <c:v>41282</c:v>
                </c:pt>
                <c:pt idx="267">
                  <c:v>41283</c:v>
                </c:pt>
                <c:pt idx="268">
                  <c:v>41284</c:v>
                </c:pt>
                <c:pt idx="269">
                  <c:v>41285</c:v>
                </c:pt>
                <c:pt idx="270">
                  <c:v>41288</c:v>
                </c:pt>
                <c:pt idx="271">
                  <c:v>41289</c:v>
                </c:pt>
                <c:pt idx="272">
                  <c:v>41290</c:v>
                </c:pt>
                <c:pt idx="273">
                  <c:v>41291</c:v>
                </c:pt>
                <c:pt idx="274">
                  <c:v>41292</c:v>
                </c:pt>
                <c:pt idx="275">
                  <c:v>41295</c:v>
                </c:pt>
                <c:pt idx="276">
                  <c:v>41296</c:v>
                </c:pt>
                <c:pt idx="277">
                  <c:v>41297</c:v>
                </c:pt>
                <c:pt idx="278">
                  <c:v>41298</c:v>
                </c:pt>
                <c:pt idx="279">
                  <c:v>41299</c:v>
                </c:pt>
                <c:pt idx="280">
                  <c:v>41302</c:v>
                </c:pt>
                <c:pt idx="281">
                  <c:v>41303</c:v>
                </c:pt>
                <c:pt idx="282">
                  <c:v>41304</c:v>
                </c:pt>
                <c:pt idx="283">
                  <c:v>41305</c:v>
                </c:pt>
                <c:pt idx="284">
                  <c:v>41306</c:v>
                </c:pt>
                <c:pt idx="285">
                  <c:v>41309</c:v>
                </c:pt>
                <c:pt idx="286">
                  <c:v>41310</c:v>
                </c:pt>
                <c:pt idx="287">
                  <c:v>41311</c:v>
                </c:pt>
                <c:pt idx="288">
                  <c:v>41312</c:v>
                </c:pt>
                <c:pt idx="289">
                  <c:v>41313</c:v>
                </c:pt>
                <c:pt idx="290">
                  <c:v>41316</c:v>
                </c:pt>
                <c:pt idx="291">
                  <c:v>41317</c:v>
                </c:pt>
                <c:pt idx="292">
                  <c:v>41318</c:v>
                </c:pt>
                <c:pt idx="293">
                  <c:v>41319</c:v>
                </c:pt>
                <c:pt idx="294">
                  <c:v>41320</c:v>
                </c:pt>
                <c:pt idx="295">
                  <c:v>41323</c:v>
                </c:pt>
                <c:pt idx="296">
                  <c:v>41324</c:v>
                </c:pt>
                <c:pt idx="297">
                  <c:v>41325</c:v>
                </c:pt>
                <c:pt idx="298">
                  <c:v>41326</c:v>
                </c:pt>
                <c:pt idx="299">
                  <c:v>41327</c:v>
                </c:pt>
                <c:pt idx="300">
                  <c:v>41330</c:v>
                </c:pt>
                <c:pt idx="301">
                  <c:v>41331</c:v>
                </c:pt>
                <c:pt idx="302">
                  <c:v>41332</c:v>
                </c:pt>
                <c:pt idx="303">
                  <c:v>41333</c:v>
                </c:pt>
                <c:pt idx="304">
                  <c:v>41334</c:v>
                </c:pt>
                <c:pt idx="305">
                  <c:v>41337</c:v>
                </c:pt>
                <c:pt idx="306">
                  <c:v>41338</c:v>
                </c:pt>
                <c:pt idx="307">
                  <c:v>41339</c:v>
                </c:pt>
                <c:pt idx="308">
                  <c:v>41340</c:v>
                </c:pt>
                <c:pt idx="309">
                  <c:v>41341</c:v>
                </c:pt>
                <c:pt idx="310">
                  <c:v>41344</c:v>
                </c:pt>
                <c:pt idx="311">
                  <c:v>41345</c:v>
                </c:pt>
                <c:pt idx="312">
                  <c:v>41346</c:v>
                </c:pt>
                <c:pt idx="313">
                  <c:v>41347</c:v>
                </c:pt>
                <c:pt idx="314">
                  <c:v>41348</c:v>
                </c:pt>
                <c:pt idx="315">
                  <c:v>41351</c:v>
                </c:pt>
                <c:pt idx="316">
                  <c:v>41352</c:v>
                </c:pt>
                <c:pt idx="317">
                  <c:v>41353</c:v>
                </c:pt>
                <c:pt idx="318">
                  <c:v>41354</c:v>
                </c:pt>
                <c:pt idx="319">
                  <c:v>41355</c:v>
                </c:pt>
                <c:pt idx="320">
                  <c:v>41358</c:v>
                </c:pt>
                <c:pt idx="321">
                  <c:v>41359</c:v>
                </c:pt>
                <c:pt idx="322">
                  <c:v>41360</c:v>
                </c:pt>
                <c:pt idx="323">
                  <c:v>41361</c:v>
                </c:pt>
                <c:pt idx="324">
                  <c:v>41362</c:v>
                </c:pt>
                <c:pt idx="325">
                  <c:v>41365</c:v>
                </c:pt>
                <c:pt idx="326">
                  <c:v>41366</c:v>
                </c:pt>
                <c:pt idx="327">
                  <c:v>41367</c:v>
                </c:pt>
                <c:pt idx="328">
                  <c:v>41368</c:v>
                </c:pt>
                <c:pt idx="329">
                  <c:v>41369</c:v>
                </c:pt>
                <c:pt idx="330">
                  <c:v>41372</c:v>
                </c:pt>
                <c:pt idx="331">
                  <c:v>41373</c:v>
                </c:pt>
                <c:pt idx="332">
                  <c:v>41374</c:v>
                </c:pt>
                <c:pt idx="333">
                  <c:v>41375</c:v>
                </c:pt>
                <c:pt idx="334">
                  <c:v>41376</c:v>
                </c:pt>
                <c:pt idx="335">
                  <c:v>41379</c:v>
                </c:pt>
                <c:pt idx="336">
                  <c:v>41380</c:v>
                </c:pt>
                <c:pt idx="337">
                  <c:v>41381</c:v>
                </c:pt>
                <c:pt idx="338">
                  <c:v>41382</c:v>
                </c:pt>
                <c:pt idx="339">
                  <c:v>41383</c:v>
                </c:pt>
                <c:pt idx="340">
                  <c:v>41386</c:v>
                </c:pt>
                <c:pt idx="341">
                  <c:v>41387</c:v>
                </c:pt>
                <c:pt idx="342">
                  <c:v>41388</c:v>
                </c:pt>
                <c:pt idx="343">
                  <c:v>41389</c:v>
                </c:pt>
                <c:pt idx="344">
                  <c:v>41390</c:v>
                </c:pt>
                <c:pt idx="345">
                  <c:v>41393</c:v>
                </c:pt>
                <c:pt idx="346">
                  <c:v>41394</c:v>
                </c:pt>
                <c:pt idx="347">
                  <c:v>41395</c:v>
                </c:pt>
                <c:pt idx="348">
                  <c:v>41396</c:v>
                </c:pt>
                <c:pt idx="349">
                  <c:v>41397</c:v>
                </c:pt>
                <c:pt idx="350">
                  <c:v>41400</c:v>
                </c:pt>
                <c:pt idx="351">
                  <c:v>41401</c:v>
                </c:pt>
                <c:pt idx="352">
                  <c:v>41402</c:v>
                </c:pt>
                <c:pt idx="353">
                  <c:v>41403</c:v>
                </c:pt>
                <c:pt idx="354">
                  <c:v>41404</c:v>
                </c:pt>
                <c:pt idx="355">
                  <c:v>41407</c:v>
                </c:pt>
                <c:pt idx="356">
                  <c:v>41408</c:v>
                </c:pt>
                <c:pt idx="357">
                  <c:v>41409</c:v>
                </c:pt>
                <c:pt idx="358">
                  <c:v>41410</c:v>
                </c:pt>
                <c:pt idx="359">
                  <c:v>41411</c:v>
                </c:pt>
                <c:pt idx="360">
                  <c:v>41414</c:v>
                </c:pt>
                <c:pt idx="361">
                  <c:v>41415</c:v>
                </c:pt>
                <c:pt idx="362">
                  <c:v>41416</c:v>
                </c:pt>
                <c:pt idx="363">
                  <c:v>41417</c:v>
                </c:pt>
                <c:pt idx="364">
                  <c:v>41418</c:v>
                </c:pt>
                <c:pt idx="365">
                  <c:v>41421</c:v>
                </c:pt>
                <c:pt idx="366">
                  <c:v>41422</c:v>
                </c:pt>
                <c:pt idx="367">
                  <c:v>41423</c:v>
                </c:pt>
                <c:pt idx="368">
                  <c:v>41424</c:v>
                </c:pt>
                <c:pt idx="369">
                  <c:v>41425</c:v>
                </c:pt>
                <c:pt idx="370">
                  <c:v>41428</c:v>
                </c:pt>
                <c:pt idx="371">
                  <c:v>41429</c:v>
                </c:pt>
                <c:pt idx="372">
                  <c:v>41430</c:v>
                </c:pt>
                <c:pt idx="373">
                  <c:v>41431</c:v>
                </c:pt>
                <c:pt idx="374">
                  <c:v>41432</c:v>
                </c:pt>
                <c:pt idx="375">
                  <c:v>41435</c:v>
                </c:pt>
                <c:pt idx="376">
                  <c:v>41436</c:v>
                </c:pt>
                <c:pt idx="377">
                  <c:v>41437</c:v>
                </c:pt>
                <c:pt idx="378">
                  <c:v>41438</c:v>
                </c:pt>
                <c:pt idx="379">
                  <c:v>41439</c:v>
                </c:pt>
                <c:pt idx="380">
                  <c:v>41442</c:v>
                </c:pt>
                <c:pt idx="381">
                  <c:v>41443</c:v>
                </c:pt>
                <c:pt idx="382">
                  <c:v>41444</c:v>
                </c:pt>
                <c:pt idx="383">
                  <c:v>41445</c:v>
                </c:pt>
                <c:pt idx="384">
                  <c:v>41446</c:v>
                </c:pt>
                <c:pt idx="385">
                  <c:v>41449</c:v>
                </c:pt>
                <c:pt idx="386">
                  <c:v>41450</c:v>
                </c:pt>
                <c:pt idx="387">
                  <c:v>41451</c:v>
                </c:pt>
                <c:pt idx="388">
                  <c:v>41452</c:v>
                </c:pt>
                <c:pt idx="389">
                  <c:v>41453</c:v>
                </c:pt>
                <c:pt idx="390">
                  <c:v>41456</c:v>
                </c:pt>
                <c:pt idx="391">
                  <c:v>41457</c:v>
                </c:pt>
                <c:pt idx="392">
                  <c:v>41458</c:v>
                </c:pt>
                <c:pt idx="393">
                  <c:v>41459</c:v>
                </c:pt>
                <c:pt idx="394">
                  <c:v>41460</c:v>
                </c:pt>
                <c:pt idx="395">
                  <c:v>41463</c:v>
                </c:pt>
                <c:pt idx="396">
                  <c:v>41464</c:v>
                </c:pt>
                <c:pt idx="397">
                  <c:v>41465</c:v>
                </c:pt>
                <c:pt idx="398">
                  <c:v>41466</c:v>
                </c:pt>
                <c:pt idx="399">
                  <c:v>41467</c:v>
                </c:pt>
                <c:pt idx="400">
                  <c:v>41470</c:v>
                </c:pt>
                <c:pt idx="401">
                  <c:v>41471</c:v>
                </c:pt>
                <c:pt idx="402">
                  <c:v>41472</c:v>
                </c:pt>
                <c:pt idx="403">
                  <c:v>41473</c:v>
                </c:pt>
                <c:pt idx="404">
                  <c:v>41474</c:v>
                </c:pt>
                <c:pt idx="405">
                  <c:v>41477</c:v>
                </c:pt>
                <c:pt idx="406">
                  <c:v>41478</c:v>
                </c:pt>
                <c:pt idx="407">
                  <c:v>41479</c:v>
                </c:pt>
                <c:pt idx="408">
                  <c:v>41480</c:v>
                </c:pt>
                <c:pt idx="409">
                  <c:v>41481</c:v>
                </c:pt>
                <c:pt idx="410">
                  <c:v>41484</c:v>
                </c:pt>
                <c:pt idx="411">
                  <c:v>41485</c:v>
                </c:pt>
                <c:pt idx="412">
                  <c:v>41486</c:v>
                </c:pt>
                <c:pt idx="413">
                  <c:v>41487</c:v>
                </c:pt>
                <c:pt idx="414">
                  <c:v>41488</c:v>
                </c:pt>
                <c:pt idx="415">
                  <c:v>41491</c:v>
                </c:pt>
                <c:pt idx="416">
                  <c:v>41492</c:v>
                </c:pt>
                <c:pt idx="417">
                  <c:v>41493</c:v>
                </c:pt>
                <c:pt idx="418">
                  <c:v>41494</c:v>
                </c:pt>
                <c:pt idx="419">
                  <c:v>41495</c:v>
                </c:pt>
                <c:pt idx="420">
                  <c:v>41498</c:v>
                </c:pt>
                <c:pt idx="421">
                  <c:v>41499</c:v>
                </c:pt>
                <c:pt idx="422">
                  <c:v>41500</c:v>
                </c:pt>
                <c:pt idx="423">
                  <c:v>41501</c:v>
                </c:pt>
                <c:pt idx="424">
                  <c:v>41502</c:v>
                </c:pt>
                <c:pt idx="425">
                  <c:v>41505</c:v>
                </c:pt>
                <c:pt idx="426">
                  <c:v>41506</c:v>
                </c:pt>
                <c:pt idx="427">
                  <c:v>41507</c:v>
                </c:pt>
                <c:pt idx="428">
                  <c:v>41508</c:v>
                </c:pt>
                <c:pt idx="429">
                  <c:v>41509</c:v>
                </c:pt>
                <c:pt idx="430">
                  <c:v>41512</c:v>
                </c:pt>
                <c:pt idx="431">
                  <c:v>41513</c:v>
                </c:pt>
                <c:pt idx="432">
                  <c:v>41514</c:v>
                </c:pt>
                <c:pt idx="433">
                  <c:v>41515</c:v>
                </c:pt>
                <c:pt idx="434">
                  <c:v>41516</c:v>
                </c:pt>
                <c:pt idx="435">
                  <c:v>41519</c:v>
                </c:pt>
                <c:pt idx="436">
                  <c:v>41520</c:v>
                </c:pt>
                <c:pt idx="437">
                  <c:v>41521</c:v>
                </c:pt>
                <c:pt idx="438">
                  <c:v>41522</c:v>
                </c:pt>
                <c:pt idx="439">
                  <c:v>41523</c:v>
                </c:pt>
                <c:pt idx="440">
                  <c:v>41526</c:v>
                </c:pt>
                <c:pt idx="441">
                  <c:v>41527</c:v>
                </c:pt>
                <c:pt idx="442">
                  <c:v>41528</c:v>
                </c:pt>
                <c:pt idx="443">
                  <c:v>41529</c:v>
                </c:pt>
                <c:pt idx="444">
                  <c:v>41530</c:v>
                </c:pt>
                <c:pt idx="445">
                  <c:v>41533</c:v>
                </c:pt>
                <c:pt idx="446">
                  <c:v>41534</c:v>
                </c:pt>
                <c:pt idx="447">
                  <c:v>41535</c:v>
                </c:pt>
                <c:pt idx="448">
                  <c:v>41536</c:v>
                </c:pt>
                <c:pt idx="449">
                  <c:v>41537</c:v>
                </c:pt>
                <c:pt idx="450">
                  <c:v>41540</c:v>
                </c:pt>
                <c:pt idx="451">
                  <c:v>41541</c:v>
                </c:pt>
                <c:pt idx="452">
                  <c:v>41542</c:v>
                </c:pt>
                <c:pt idx="453">
                  <c:v>41543</c:v>
                </c:pt>
                <c:pt idx="454">
                  <c:v>41544</c:v>
                </c:pt>
                <c:pt idx="455">
                  <c:v>41547</c:v>
                </c:pt>
                <c:pt idx="456">
                  <c:v>41548</c:v>
                </c:pt>
                <c:pt idx="457">
                  <c:v>41549</c:v>
                </c:pt>
                <c:pt idx="458">
                  <c:v>41550</c:v>
                </c:pt>
                <c:pt idx="459">
                  <c:v>41551</c:v>
                </c:pt>
                <c:pt idx="460">
                  <c:v>41554</c:v>
                </c:pt>
                <c:pt idx="461">
                  <c:v>41555</c:v>
                </c:pt>
                <c:pt idx="462">
                  <c:v>41556</c:v>
                </c:pt>
                <c:pt idx="463">
                  <c:v>41557</c:v>
                </c:pt>
                <c:pt idx="464">
                  <c:v>41558</c:v>
                </c:pt>
                <c:pt idx="465">
                  <c:v>41561</c:v>
                </c:pt>
                <c:pt idx="466">
                  <c:v>41562</c:v>
                </c:pt>
                <c:pt idx="467">
                  <c:v>41563</c:v>
                </c:pt>
                <c:pt idx="468">
                  <c:v>41564</c:v>
                </c:pt>
                <c:pt idx="469">
                  <c:v>41565</c:v>
                </c:pt>
                <c:pt idx="470">
                  <c:v>41568</c:v>
                </c:pt>
                <c:pt idx="471">
                  <c:v>41569</c:v>
                </c:pt>
                <c:pt idx="472">
                  <c:v>41570</c:v>
                </c:pt>
                <c:pt idx="473">
                  <c:v>41571</c:v>
                </c:pt>
                <c:pt idx="474">
                  <c:v>41572</c:v>
                </c:pt>
                <c:pt idx="475">
                  <c:v>41575</c:v>
                </c:pt>
                <c:pt idx="476">
                  <c:v>41576</c:v>
                </c:pt>
                <c:pt idx="477">
                  <c:v>41577</c:v>
                </c:pt>
                <c:pt idx="478">
                  <c:v>41578</c:v>
                </c:pt>
                <c:pt idx="479">
                  <c:v>41579</c:v>
                </c:pt>
                <c:pt idx="480">
                  <c:v>41582</c:v>
                </c:pt>
                <c:pt idx="481">
                  <c:v>41583</c:v>
                </c:pt>
                <c:pt idx="482">
                  <c:v>41584</c:v>
                </c:pt>
                <c:pt idx="483">
                  <c:v>41585</c:v>
                </c:pt>
                <c:pt idx="484">
                  <c:v>41586</c:v>
                </c:pt>
                <c:pt idx="485">
                  <c:v>41589</c:v>
                </c:pt>
                <c:pt idx="486">
                  <c:v>41590</c:v>
                </c:pt>
                <c:pt idx="487">
                  <c:v>41591</c:v>
                </c:pt>
                <c:pt idx="488">
                  <c:v>41592</c:v>
                </c:pt>
                <c:pt idx="489">
                  <c:v>41593</c:v>
                </c:pt>
                <c:pt idx="490">
                  <c:v>41596</c:v>
                </c:pt>
                <c:pt idx="491">
                  <c:v>41597</c:v>
                </c:pt>
                <c:pt idx="492">
                  <c:v>41598</c:v>
                </c:pt>
                <c:pt idx="493">
                  <c:v>41599</c:v>
                </c:pt>
                <c:pt idx="494">
                  <c:v>41600</c:v>
                </c:pt>
                <c:pt idx="495">
                  <c:v>41603</c:v>
                </c:pt>
                <c:pt idx="496">
                  <c:v>41604</c:v>
                </c:pt>
                <c:pt idx="497">
                  <c:v>41605</c:v>
                </c:pt>
                <c:pt idx="498">
                  <c:v>41606</c:v>
                </c:pt>
                <c:pt idx="499">
                  <c:v>41607</c:v>
                </c:pt>
                <c:pt idx="500">
                  <c:v>41610</c:v>
                </c:pt>
                <c:pt idx="501">
                  <c:v>41611</c:v>
                </c:pt>
                <c:pt idx="502">
                  <c:v>41612</c:v>
                </c:pt>
                <c:pt idx="503">
                  <c:v>41613</c:v>
                </c:pt>
                <c:pt idx="504">
                  <c:v>41614</c:v>
                </c:pt>
                <c:pt idx="505">
                  <c:v>41617</c:v>
                </c:pt>
                <c:pt idx="506">
                  <c:v>41618</c:v>
                </c:pt>
                <c:pt idx="507">
                  <c:v>41619</c:v>
                </c:pt>
                <c:pt idx="508">
                  <c:v>41620</c:v>
                </c:pt>
                <c:pt idx="509">
                  <c:v>41621</c:v>
                </c:pt>
                <c:pt idx="510">
                  <c:v>41624</c:v>
                </c:pt>
                <c:pt idx="511">
                  <c:v>41625</c:v>
                </c:pt>
                <c:pt idx="512">
                  <c:v>41626</c:v>
                </c:pt>
                <c:pt idx="513">
                  <c:v>41627</c:v>
                </c:pt>
                <c:pt idx="514">
                  <c:v>41628</c:v>
                </c:pt>
                <c:pt idx="515">
                  <c:v>41631</c:v>
                </c:pt>
                <c:pt idx="516">
                  <c:v>41632</c:v>
                </c:pt>
                <c:pt idx="517">
                  <c:v>41633</c:v>
                </c:pt>
                <c:pt idx="518">
                  <c:v>41634</c:v>
                </c:pt>
                <c:pt idx="519">
                  <c:v>41635</c:v>
                </c:pt>
                <c:pt idx="520">
                  <c:v>41638</c:v>
                </c:pt>
                <c:pt idx="521">
                  <c:v>41639</c:v>
                </c:pt>
                <c:pt idx="522">
                  <c:v>41640</c:v>
                </c:pt>
                <c:pt idx="523">
                  <c:v>41641</c:v>
                </c:pt>
                <c:pt idx="524">
                  <c:v>41642</c:v>
                </c:pt>
                <c:pt idx="525">
                  <c:v>41645</c:v>
                </c:pt>
                <c:pt idx="526">
                  <c:v>41646</c:v>
                </c:pt>
                <c:pt idx="527">
                  <c:v>41647</c:v>
                </c:pt>
                <c:pt idx="528">
                  <c:v>41648</c:v>
                </c:pt>
                <c:pt idx="529">
                  <c:v>41649</c:v>
                </c:pt>
                <c:pt idx="530">
                  <c:v>41652</c:v>
                </c:pt>
                <c:pt idx="531">
                  <c:v>41653</c:v>
                </c:pt>
                <c:pt idx="532">
                  <c:v>41654</c:v>
                </c:pt>
                <c:pt idx="533">
                  <c:v>41655</c:v>
                </c:pt>
                <c:pt idx="534">
                  <c:v>41656</c:v>
                </c:pt>
                <c:pt idx="535">
                  <c:v>41659</c:v>
                </c:pt>
                <c:pt idx="536">
                  <c:v>41660</c:v>
                </c:pt>
                <c:pt idx="537">
                  <c:v>41661</c:v>
                </c:pt>
                <c:pt idx="538">
                  <c:v>41662</c:v>
                </c:pt>
                <c:pt idx="539">
                  <c:v>41663</c:v>
                </c:pt>
                <c:pt idx="540">
                  <c:v>41666</c:v>
                </c:pt>
                <c:pt idx="541">
                  <c:v>41667</c:v>
                </c:pt>
                <c:pt idx="542">
                  <c:v>41668</c:v>
                </c:pt>
                <c:pt idx="543">
                  <c:v>41669</c:v>
                </c:pt>
                <c:pt idx="544">
                  <c:v>41670</c:v>
                </c:pt>
                <c:pt idx="545">
                  <c:v>41673</c:v>
                </c:pt>
                <c:pt idx="546">
                  <c:v>41674</c:v>
                </c:pt>
                <c:pt idx="547">
                  <c:v>41675</c:v>
                </c:pt>
                <c:pt idx="548">
                  <c:v>41676</c:v>
                </c:pt>
                <c:pt idx="549">
                  <c:v>41677</c:v>
                </c:pt>
                <c:pt idx="550">
                  <c:v>41680</c:v>
                </c:pt>
                <c:pt idx="551">
                  <c:v>41681</c:v>
                </c:pt>
                <c:pt idx="552">
                  <c:v>41682</c:v>
                </c:pt>
                <c:pt idx="553">
                  <c:v>41683</c:v>
                </c:pt>
                <c:pt idx="554">
                  <c:v>41684</c:v>
                </c:pt>
                <c:pt idx="555">
                  <c:v>41687</c:v>
                </c:pt>
                <c:pt idx="556">
                  <c:v>41688</c:v>
                </c:pt>
                <c:pt idx="557">
                  <c:v>41689</c:v>
                </c:pt>
                <c:pt idx="558">
                  <c:v>41690</c:v>
                </c:pt>
                <c:pt idx="559">
                  <c:v>41691</c:v>
                </c:pt>
                <c:pt idx="560">
                  <c:v>41694</c:v>
                </c:pt>
                <c:pt idx="561">
                  <c:v>41695</c:v>
                </c:pt>
                <c:pt idx="562">
                  <c:v>41696</c:v>
                </c:pt>
                <c:pt idx="563">
                  <c:v>41697</c:v>
                </c:pt>
                <c:pt idx="564">
                  <c:v>41698</c:v>
                </c:pt>
                <c:pt idx="565">
                  <c:v>41701</c:v>
                </c:pt>
                <c:pt idx="566">
                  <c:v>41702</c:v>
                </c:pt>
                <c:pt idx="567">
                  <c:v>41703</c:v>
                </c:pt>
                <c:pt idx="568">
                  <c:v>41704</c:v>
                </c:pt>
                <c:pt idx="569">
                  <c:v>41705</c:v>
                </c:pt>
                <c:pt idx="570">
                  <c:v>41708</c:v>
                </c:pt>
                <c:pt idx="571">
                  <c:v>41709</c:v>
                </c:pt>
                <c:pt idx="572">
                  <c:v>41710</c:v>
                </c:pt>
                <c:pt idx="573">
                  <c:v>41711</c:v>
                </c:pt>
                <c:pt idx="574">
                  <c:v>41712</c:v>
                </c:pt>
                <c:pt idx="575">
                  <c:v>41715</c:v>
                </c:pt>
                <c:pt idx="576">
                  <c:v>41716</c:v>
                </c:pt>
                <c:pt idx="577">
                  <c:v>41717</c:v>
                </c:pt>
                <c:pt idx="578">
                  <c:v>41718</c:v>
                </c:pt>
                <c:pt idx="579">
                  <c:v>41719</c:v>
                </c:pt>
                <c:pt idx="580">
                  <c:v>41722</c:v>
                </c:pt>
                <c:pt idx="581">
                  <c:v>41723</c:v>
                </c:pt>
                <c:pt idx="582">
                  <c:v>41724</c:v>
                </c:pt>
                <c:pt idx="583">
                  <c:v>41725</c:v>
                </c:pt>
                <c:pt idx="584">
                  <c:v>41726</c:v>
                </c:pt>
                <c:pt idx="585">
                  <c:v>41729</c:v>
                </c:pt>
                <c:pt idx="586">
                  <c:v>41730</c:v>
                </c:pt>
                <c:pt idx="587">
                  <c:v>41731</c:v>
                </c:pt>
                <c:pt idx="588">
                  <c:v>41732</c:v>
                </c:pt>
                <c:pt idx="589">
                  <c:v>41733</c:v>
                </c:pt>
                <c:pt idx="590">
                  <c:v>41736</c:v>
                </c:pt>
                <c:pt idx="591">
                  <c:v>41737</c:v>
                </c:pt>
                <c:pt idx="592">
                  <c:v>41738</c:v>
                </c:pt>
                <c:pt idx="593">
                  <c:v>41739</c:v>
                </c:pt>
                <c:pt idx="594">
                  <c:v>41740</c:v>
                </c:pt>
                <c:pt idx="595">
                  <c:v>41743</c:v>
                </c:pt>
                <c:pt idx="596">
                  <c:v>41744</c:v>
                </c:pt>
                <c:pt idx="597">
                  <c:v>41745</c:v>
                </c:pt>
                <c:pt idx="598">
                  <c:v>41746</c:v>
                </c:pt>
                <c:pt idx="599">
                  <c:v>41747</c:v>
                </c:pt>
                <c:pt idx="600">
                  <c:v>41750</c:v>
                </c:pt>
                <c:pt idx="601">
                  <c:v>41751</c:v>
                </c:pt>
                <c:pt idx="602">
                  <c:v>41752</c:v>
                </c:pt>
                <c:pt idx="603">
                  <c:v>41753</c:v>
                </c:pt>
                <c:pt idx="604">
                  <c:v>41754</c:v>
                </c:pt>
                <c:pt idx="605">
                  <c:v>41757</c:v>
                </c:pt>
                <c:pt idx="606">
                  <c:v>41758</c:v>
                </c:pt>
                <c:pt idx="607">
                  <c:v>41759</c:v>
                </c:pt>
                <c:pt idx="608">
                  <c:v>41760</c:v>
                </c:pt>
                <c:pt idx="609">
                  <c:v>41761</c:v>
                </c:pt>
                <c:pt idx="610">
                  <c:v>41764</c:v>
                </c:pt>
                <c:pt idx="611">
                  <c:v>41765</c:v>
                </c:pt>
                <c:pt idx="612">
                  <c:v>41766</c:v>
                </c:pt>
                <c:pt idx="613">
                  <c:v>41767</c:v>
                </c:pt>
                <c:pt idx="614">
                  <c:v>41768</c:v>
                </c:pt>
                <c:pt idx="615">
                  <c:v>41771</c:v>
                </c:pt>
                <c:pt idx="616">
                  <c:v>41772</c:v>
                </c:pt>
                <c:pt idx="617">
                  <c:v>41773</c:v>
                </c:pt>
                <c:pt idx="618">
                  <c:v>41774</c:v>
                </c:pt>
                <c:pt idx="619">
                  <c:v>41775</c:v>
                </c:pt>
                <c:pt idx="620">
                  <c:v>41778</c:v>
                </c:pt>
                <c:pt idx="621">
                  <c:v>41779</c:v>
                </c:pt>
                <c:pt idx="622">
                  <c:v>41780</c:v>
                </c:pt>
                <c:pt idx="623">
                  <c:v>41781</c:v>
                </c:pt>
                <c:pt idx="624">
                  <c:v>41782</c:v>
                </c:pt>
                <c:pt idx="625">
                  <c:v>41785</c:v>
                </c:pt>
                <c:pt idx="626">
                  <c:v>41786</c:v>
                </c:pt>
                <c:pt idx="627">
                  <c:v>41787</c:v>
                </c:pt>
                <c:pt idx="628">
                  <c:v>41788</c:v>
                </c:pt>
                <c:pt idx="629">
                  <c:v>41789</c:v>
                </c:pt>
                <c:pt idx="630">
                  <c:v>41792</c:v>
                </c:pt>
                <c:pt idx="631">
                  <c:v>41793</c:v>
                </c:pt>
                <c:pt idx="632">
                  <c:v>41794</c:v>
                </c:pt>
                <c:pt idx="633">
                  <c:v>41795</c:v>
                </c:pt>
                <c:pt idx="634">
                  <c:v>41796</c:v>
                </c:pt>
                <c:pt idx="635">
                  <c:v>41799</c:v>
                </c:pt>
                <c:pt idx="636">
                  <c:v>41800</c:v>
                </c:pt>
                <c:pt idx="637">
                  <c:v>41801</c:v>
                </c:pt>
                <c:pt idx="638">
                  <c:v>41802</c:v>
                </c:pt>
                <c:pt idx="639">
                  <c:v>41803</c:v>
                </c:pt>
                <c:pt idx="640">
                  <c:v>41806</c:v>
                </c:pt>
                <c:pt idx="641">
                  <c:v>41807</c:v>
                </c:pt>
                <c:pt idx="642">
                  <c:v>41808</c:v>
                </c:pt>
                <c:pt idx="643">
                  <c:v>41809</c:v>
                </c:pt>
                <c:pt idx="644">
                  <c:v>41810</c:v>
                </c:pt>
                <c:pt idx="645">
                  <c:v>41813</c:v>
                </c:pt>
                <c:pt idx="646">
                  <c:v>41814</c:v>
                </c:pt>
                <c:pt idx="647">
                  <c:v>41815</c:v>
                </c:pt>
                <c:pt idx="648">
                  <c:v>41816</c:v>
                </c:pt>
                <c:pt idx="649">
                  <c:v>41817</c:v>
                </c:pt>
                <c:pt idx="650">
                  <c:v>41820</c:v>
                </c:pt>
                <c:pt idx="651">
                  <c:v>41821</c:v>
                </c:pt>
                <c:pt idx="652">
                  <c:v>41822</c:v>
                </c:pt>
                <c:pt idx="653">
                  <c:v>41823</c:v>
                </c:pt>
                <c:pt idx="654">
                  <c:v>41824</c:v>
                </c:pt>
                <c:pt idx="655">
                  <c:v>41827</c:v>
                </c:pt>
                <c:pt idx="656">
                  <c:v>41828</c:v>
                </c:pt>
                <c:pt idx="657">
                  <c:v>41829</c:v>
                </c:pt>
                <c:pt idx="658">
                  <c:v>41830</c:v>
                </c:pt>
                <c:pt idx="659">
                  <c:v>41831</c:v>
                </c:pt>
                <c:pt idx="660">
                  <c:v>41834</c:v>
                </c:pt>
                <c:pt idx="661">
                  <c:v>41835</c:v>
                </c:pt>
                <c:pt idx="662">
                  <c:v>41836</c:v>
                </c:pt>
                <c:pt idx="663">
                  <c:v>41837</c:v>
                </c:pt>
                <c:pt idx="664">
                  <c:v>41838</c:v>
                </c:pt>
                <c:pt idx="665">
                  <c:v>41841</c:v>
                </c:pt>
                <c:pt idx="666">
                  <c:v>41842</c:v>
                </c:pt>
                <c:pt idx="667">
                  <c:v>41843</c:v>
                </c:pt>
                <c:pt idx="668">
                  <c:v>41844</c:v>
                </c:pt>
                <c:pt idx="669">
                  <c:v>41845</c:v>
                </c:pt>
                <c:pt idx="670">
                  <c:v>41848</c:v>
                </c:pt>
                <c:pt idx="671">
                  <c:v>41849</c:v>
                </c:pt>
                <c:pt idx="672">
                  <c:v>41850</c:v>
                </c:pt>
                <c:pt idx="673">
                  <c:v>41851</c:v>
                </c:pt>
                <c:pt idx="674">
                  <c:v>41852</c:v>
                </c:pt>
                <c:pt idx="675">
                  <c:v>41855</c:v>
                </c:pt>
                <c:pt idx="676">
                  <c:v>41856</c:v>
                </c:pt>
                <c:pt idx="677">
                  <c:v>41857</c:v>
                </c:pt>
                <c:pt idx="678">
                  <c:v>41858</c:v>
                </c:pt>
                <c:pt idx="679">
                  <c:v>41859</c:v>
                </c:pt>
                <c:pt idx="680">
                  <c:v>41862</c:v>
                </c:pt>
                <c:pt idx="681">
                  <c:v>41863</c:v>
                </c:pt>
                <c:pt idx="682">
                  <c:v>41864</c:v>
                </c:pt>
                <c:pt idx="683">
                  <c:v>41865</c:v>
                </c:pt>
                <c:pt idx="684">
                  <c:v>41866</c:v>
                </c:pt>
                <c:pt idx="685">
                  <c:v>41869</c:v>
                </c:pt>
                <c:pt idx="686">
                  <c:v>41870</c:v>
                </c:pt>
                <c:pt idx="687">
                  <c:v>41871</c:v>
                </c:pt>
                <c:pt idx="688">
                  <c:v>41872</c:v>
                </c:pt>
                <c:pt idx="689">
                  <c:v>41873</c:v>
                </c:pt>
                <c:pt idx="690">
                  <c:v>41876</c:v>
                </c:pt>
                <c:pt idx="691">
                  <c:v>41877</c:v>
                </c:pt>
                <c:pt idx="692">
                  <c:v>41878</c:v>
                </c:pt>
                <c:pt idx="693">
                  <c:v>41879</c:v>
                </c:pt>
                <c:pt idx="694">
                  <c:v>41880</c:v>
                </c:pt>
                <c:pt idx="695">
                  <c:v>41883</c:v>
                </c:pt>
                <c:pt idx="696">
                  <c:v>41884</c:v>
                </c:pt>
                <c:pt idx="697">
                  <c:v>41885</c:v>
                </c:pt>
                <c:pt idx="698">
                  <c:v>41886</c:v>
                </c:pt>
                <c:pt idx="699">
                  <c:v>41887</c:v>
                </c:pt>
                <c:pt idx="700">
                  <c:v>41890</c:v>
                </c:pt>
                <c:pt idx="701">
                  <c:v>41891</c:v>
                </c:pt>
                <c:pt idx="702">
                  <c:v>41892</c:v>
                </c:pt>
                <c:pt idx="703">
                  <c:v>41893</c:v>
                </c:pt>
                <c:pt idx="704">
                  <c:v>41894</c:v>
                </c:pt>
                <c:pt idx="705">
                  <c:v>41897</c:v>
                </c:pt>
                <c:pt idx="706">
                  <c:v>41898</c:v>
                </c:pt>
                <c:pt idx="707">
                  <c:v>41899</c:v>
                </c:pt>
                <c:pt idx="708">
                  <c:v>41900</c:v>
                </c:pt>
                <c:pt idx="709">
                  <c:v>41901</c:v>
                </c:pt>
                <c:pt idx="710">
                  <c:v>41904</c:v>
                </c:pt>
                <c:pt idx="711">
                  <c:v>41905</c:v>
                </c:pt>
                <c:pt idx="712">
                  <c:v>41906</c:v>
                </c:pt>
                <c:pt idx="713">
                  <c:v>41907</c:v>
                </c:pt>
                <c:pt idx="714">
                  <c:v>41908</c:v>
                </c:pt>
                <c:pt idx="715">
                  <c:v>41911</c:v>
                </c:pt>
                <c:pt idx="716">
                  <c:v>41912</c:v>
                </c:pt>
                <c:pt idx="717">
                  <c:v>41913</c:v>
                </c:pt>
                <c:pt idx="718">
                  <c:v>41914</c:v>
                </c:pt>
                <c:pt idx="719">
                  <c:v>41915</c:v>
                </c:pt>
                <c:pt idx="720">
                  <c:v>41918</c:v>
                </c:pt>
                <c:pt idx="721">
                  <c:v>41919</c:v>
                </c:pt>
                <c:pt idx="722">
                  <c:v>41920</c:v>
                </c:pt>
                <c:pt idx="723">
                  <c:v>41921</c:v>
                </c:pt>
                <c:pt idx="724">
                  <c:v>41922</c:v>
                </c:pt>
                <c:pt idx="725">
                  <c:v>41925</c:v>
                </c:pt>
                <c:pt idx="726">
                  <c:v>41926</c:v>
                </c:pt>
                <c:pt idx="727">
                  <c:v>41927</c:v>
                </c:pt>
                <c:pt idx="728">
                  <c:v>41928</c:v>
                </c:pt>
                <c:pt idx="729">
                  <c:v>41929</c:v>
                </c:pt>
                <c:pt idx="730">
                  <c:v>41932</c:v>
                </c:pt>
                <c:pt idx="731">
                  <c:v>41933</c:v>
                </c:pt>
                <c:pt idx="732">
                  <c:v>41934</c:v>
                </c:pt>
                <c:pt idx="733">
                  <c:v>41935</c:v>
                </c:pt>
                <c:pt idx="734">
                  <c:v>41936</c:v>
                </c:pt>
                <c:pt idx="735">
                  <c:v>41939</c:v>
                </c:pt>
                <c:pt idx="736">
                  <c:v>41940</c:v>
                </c:pt>
                <c:pt idx="737">
                  <c:v>41941</c:v>
                </c:pt>
                <c:pt idx="738">
                  <c:v>41942</c:v>
                </c:pt>
                <c:pt idx="739">
                  <c:v>41943</c:v>
                </c:pt>
                <c:pt idx="740">
                  <c:v>41946</c:v>
                </c:pt>
                <c:pt idx="741">
                  <c:v>41947</c:v>
                </c:pt>
                <c:pt idx="742">
                  <c:v>41948</c:v>
                </c:pt>
                <c:pt idx="743">
                  <c:v>41949</c:v>
                </c:pt>
                <c:pt idx="744">
                  <c:v>41950</c:v>
                </c:pt>
                <c:pt idx="745">
                  <c:v>41953</c:v>
                </c:pt>
                <c:pt idx="746">
                  <c:v>41954</c:v>
                </c:pt>
                <c:pt idx="747">
                  <c:v>41955</c:v>
                </c:pt>
                <c:pt idx="748">
                  <c:v>41956</c:v>
                </c:pt>
                <c:pt idx="749">
                  <c:v>41957</c:v>
                </c:pt>
                <c:pt idx="750">
                  <c:v>41960</c:v>
                </c:pt>
                <c:pt idx="751">
                  <c:v>41961</c:v>
                </c:pt>
                <c:pt idx="752">
                  <c:v>41962</c:v>
                </c:pt>
                <c:pt idx="753">
                  <c:v>41963</c:v>
                </c:pt>
                <c:pt idx="754">
                  <c:v>41964</c:v>
                </c:pt>
                <c:pt idx="755">
                  <c:v>41967</c:v>
                </c:pt>
                <c:pt idx="756">
                  <c:v>41968</c:v>
                </c:pt>
                <c:pt idx="757">
                  <c:v>41969</c:v>
                </c:pt>
                <c:pt idx="758">
                  <c:v>41970</c:v>
                </c:pt>
                <c:pt idx="759">
                  <c:v>41971</c:v>
                </c:pt>
                <c:pt idx="760">
                  <c:v>41974</c:v>
                </c:pt>
                <c:pt idx="761">
                  <c:v>41975</c:v>
                </c:pt>
                <c:pt idx="762">
                  <c:v>41976</c:v>
                </c:pt>
                <c:pt idx="763">
                  <c:v>41977</c:v>
                </c:pt>
                <c:pt idx="764">
                  <c:v>41978</c:v>
                </c:pt>
                <c:pt idx="765">
                  <c:v>41981</c:v>
                </c:pt>
                <c:pt idx="766">
                  <c:v>41982</c:v>
                </c:pt>
                <c:pt idx="767">
                  <c:v>41983</c:v>
                </c:pt>
                <c:pt idx="768">
                  <c:v>41984</c:v>
                </c:pt>
                <c:pt idx="769">
                  <c:v>41985</c:v>
                </c:pt>
                <c:pt idx="770">
                  <c:v>41988</c:v>
                </c:pt>
                <c:pt idx="771">
                  <c:v>41989</c:v>
                </c:pt>
                <c:pt idx="772">
                  <c:v>41990</c:v>
                </c:pt>
                <c:pt idx="773">
                  <c:v>41991</c:v>
                </c:pt>
                <c:pt idx="774">
                  <c:v>41992</c:v>
                </c:pt>
                <c:pt idx="775">
                  <c:v>41995</c:v>
                </c:pt>
                <c:pt idx="776">
                  <c:v>41996</c:v>
                </c:pt>
                <c:pt idx="777">
                  <c:v>41997</c:v>
                </c:pt>
                <c:pt idx="778">
                  <c:v>41998</c:v>
                </c:pt>
                <c:pt idx="779">
                  <c:v>41999</c:v>
                </c:pt>
                <c:pt idx="780">
                  <c:v>42002</c:v>
                </c:pt>
                <c:pt idx="781">
                  <c:v>42003</c:v>
                </c:pt>
                <c:pt idx="782">
                  <c:v>42004</c:v>
                </c:pt>
                <c:pt idx="783">
                  <c:v>42005</c:v>
                </c:pt>
                <c:pt idx="784">
                  <c:v>42006</c:v>
                </c:pt>
                <c:pt idx="785">
                  <c:v>42009</c:v>
                </c:pt>
                <c:pt idx="786">
                  <c:v>42010</c:v>
                </c:pt>
                <c:pt idx="787">
                  <c:v>42011</c:v>
                </c:pt>
                <c:pt idx="788">
                  <c:v>42012</c:v>
                </c:pt>
                <c:pt idx="789">
                  <c:v>42013</c:v>
                </c:pt>
                <c:pt idx="790">
                  <c:v>42016</c:v>
                </c:pt>
                <c:pt idx="791">
                  <c:v>42017</c:v>
                </c:pt>
                <c:pt idx="792">
                  <c:v>42018</c:v>
                </c:pt>
                <c:pt idx="793">
                  <c:v>42019</c:v>
                </c:pt>
                <c:pt idx="794">
                  <c:v>42020</c:v>
                </c:pt>
                <c:pt idx="795">
                  <c:v>42023</c:v>
                </c:pt>
                <c:pt idx="796">
                  <c:v>42024</c:v>
                </c:pt>
                <c:pt idx="797">
                  <c:v>42025</c:v>
                </c:pt>
                <c:pt idx="798">
                  <c:v>42026</c:v>
                </c:pt>
                <c:pt idx="799">
                  <c:v>42027</c:v>
                </c:pt>
                <c:pt idx="800">
                  <c:v>42030</c:v>
                </c:pt>
                <c:pt idx="801">
                  <c:v>42031</c:v>
                </c:pt>
                <c:pt idx="802">
                  <c:v>42032</c:v>
                </c:pt>
                <c:pt idx="803">
                  <c:v>42033</c:v>
                </c:pt>
                <c:pt idx="804">
                  <c:v>42034</c:v>
                </c:pt>
                <c:pt idx="805">
                  <c:v>42037</c:v>
                </c:pt>
                <c:pt idx="806">
                  <c:v>42038</c:v>
                </c:pt>
                <c:pt idx="807">
                  <c:v>42039</c:v>
                </c:pt>
                <c:pt idx="808">
                  <c:v>42040</c:v>
                </c:pt>
                <c:pt idx="809">
                  <c:v>42041</c:v>
                </c:pt>
                <c:pt idx="810">
                  <c:v>42044</c:v>
                </c:pt>
                <c:pt idx="811">
                  <c:v>42045</c:v>
                </c:pt>
                <c:pt idx="812">
                  <c:v>42046</c:v>
                </c:pt>
                <c:pt idx="813">
                  <c:v>42047</c:v>
                </c:pt>
                <c:pt idx="814">
                  <c:v>42048</c:v>
                </c:pt>
                <c:pt idx="815">
                  <c:v>42051</c:v>
                </c:pt>
                <c:pt idx="816">
                  <c:v>42052</c:v>
                </c:pt>
                <c:pt idx="817">
                  <c:v>42053</c:v>
                </c:pt>
                <c:pt idx="818">
                  <c:v>42054</c:v>
                </c:pt>
                <c:pt idx="819">
                  <c:v>42055</c:v>
                </c:pt>
                <c:pt idx="820">
                  <c:v>42058</c:v>
                </c:pt>
                <c:pt idx="821">
                  <c:v>42059</c:v>
                </c:pt>
                <c:pt idx="822">
                  <c:v>42060</c:v>
                </c:pt>
                <c:pt idx="823">
                  <c:v>42061</c:v>
                </c:pt>
                <c:pt idx="824">
                  <c:v>42062</c:v>
                </c:pt>
                <c:pt idx="825">
                  <c:v>42065</c:v>
                </c:pt>
                <c:pt idx="826">
                  <c:v>42066</c:v>
                </c:pt>
                <c:pt idx="827">
                  <c:v>42067</c:v>
                </c:pt>
                <c:pt idx="828">
                  <c:v>42068</c:v>
                </c:pt>
                <c:pt idx="829">
                  <c:v>42069</c:v>
                </c:pt>
                <c:pt idx="830">
                  <c:v>42072</c:v>
                </c:pt>
                <c:pt idx="831">
                  <c:v>42073</c:v>
                </c:pt>
                <c:pt idx="832">
                  <c:v>42074</c:v>
                </c:pt>
                <c:pt idx="833">
                  <c:v>42075</c:v>
                </c:pt>
                <c:pt idx="834">
                  <c:v>42076</c:v>
                </c:pt>
                <c:pt idx="835">
                  <c:v>42079</c:v>
                </c:pt>
                <c:pt idx="836">
                  <c:v>42080</c:v>
                </c:pt>
                <c:pt idx="837">
                  <c:v>42081</c:v>
                </c:pt>
                <c:pt idx="838">
                  <c:v>42082</c:v>
                </c:pt>
                <c:pt idx="839">
                  <c:v>42083</c:v>
                </c:pt>
                <c:pt idx="840">
                  <c:v>42086</c:v>
                </c:pt>
                <c:pt idx="841">
                  <c:v>42087</c:v>
                </c:pt>
                <c:pt idx="842">
                  <c:v>42088</c:v>
                </c:pt>
                <c:pt idx="843">
                  <c:v>42089</c:v>
                </c:pt>
                <c:pt idx="844">
                  <c:v>42090</c:v>
                </c:pt>
                <c:pt idx="845">
                  <c:v>42093</c:v>
                </c:pt>
                <c:pt idx="846">
                  <c:v>42094</c:v>
                </c:pt>
                <c:pt idx="847">
                  <c:v>42095</c:v>
                </c:pt>
                <c:pt idx="848">
                  <c:v>42096</c:v>
                </c:pt>
                <c:pt idx="849">
                  <c:v>42097</c:v>
                </c:pt>
                <c:pt idx="850">
                  <c:v>42100</c:v>
                </c:pt>
                <c:pt idx="851">
                  <c:v>42101</c:v>
                </c:pt>
                <c:pt idx="852">
                  <c:v>42102</c:v>
                </c:pt>
                <c:pt idx="853">
                  <c:v>42103</c:v>
                </c:pt>
                <c:pt idx="854">
                  <c:v>42104</c:v>
                </c:pt>
                <c:pt idx="855">
                  <c:v>42107</c:v>
                </c:pt>
                <c:pt idx="856">
                  <c:v>42108</c:v>
                </c:pt>
                <c:pt idx="857">
                  <c:v>42109</c:v>
                </c:pt>
                <c:pt idx="858">
                  <c:v>42110</c:v>
                </c:pt>
                <c:pt idx="859">
                  <c:v>42111</c:v>
                </c:pt>
                <c:pt idx="860">
                  <c:v>42114</c:v>
                </c:pt>
                <c:pt idx="861">
                  <c:v>42115</c:v>
                </c:pt>
                <c:pt idx="862">
                  <c:v>42116</c:v>
                </c:pt>
                <c:pt idx="863">
                  <c:v>42117</c:v>
                </c:pt>
                <c:pt idx="864">
                  <c:v>42118</c:v>
                </c:pt>
                <c:pt idx="865">
                  <c:v>42121</c:v>
                </c:pt>
                <c:pt idx="866">
                  <c:v>42122</c:v>
                </c:pt>
                <c:pt idx="867">
                  <c:v>42123</c:v>
                </c:pt>
                <c:pt idx="868">
                  <c:v>42124</c:v>
                </c:pt>
                <c:pt idx="869">
                  <c:v>42125</c:v>
                </c:pt>
                <c:pt idx="870">
                  <c:v>42128</c:v>
                </c:pt>
                <c:pt idx="871">
                  <c:v>42129</c:v>
                </c:pt>
                <c:pt idx="872">
                  <c:v>42130</c:v>
                </c:pt>
                <c:pt idx="873">
                  <c:v>42131</c:v>
                </c:pt>
                <c:pt idx="874">
                  <c:v>42132</c:v>
                </c:pt>
                <c:pt idx="875">
                  <c:v>42135</c:v>
                </c:pt>
                <c:pt idx="876">
                  <c:v>42136</c:v>
                </c:pt>
                <c:pt idx="877">
                  <c:v>42137</c:v>
                </c:pt>
                <c:pt idx="878">
                  <c:v>42138</c:v>
                </c:pt>
                <c:pt idx="879">
                  <c:v>42139</c:v>
                </c:pt>
                <c:pt idx="880">
                  <c:v>42142</c:v>
                </c:pt>
                <c:pt idx="881">
                  <c:v>42143</c:v>
                </c:pt>
                <c:pt idx="882">
                  <c:v>42144</c:v>
                </c:pt>
                <c:pt idx="883">
                  <c:v>42145</c:v>
                </c:pt>
                <c:pt idx="884">
                  <c:v>42146</c:v>
                </c:pt>
                <c:pt idx="885">
                  <c:v>42149</c:v>
                </c:pt>
                <c:pt idx="886">
                  <c:v>42150</c:v>
                </c:pt>
                <c:pt idx="887">
                  <c:v>42151</c:v>
                </c:pt>
                <c:pt idx="888">
                  <c:v>42152</c:v>
                </c:pt>
                <c:pt idx="889">
                  <c:v>42153</c:v>
                </c:pt>
                <c:pt idx="890">
                  <c:v>42156</c:v>
                </c:pt>
                <c:pt idx="891">
                  <c:v>42157</c:v>
                </c:pt>
                <c:pt idx="892">
                  <c:v>42158</c:v>
                </c:pt>
                <c:pt idx="893">
                  <c:v>42159</c:v>
                </c:pt>
                <c:pt idx="894">
                  <c:v>42160</c:v>
                </c:pt>
                <c:pt idx="895">
                  <c:v>42163</c:v>
                </c:pt>
                <c:pt idx="896">
                  <c:v>42164</c:v>
                </c:pt>
                <c:pt idx="897">
                  <c:v>42165</c:v>
                </c:pt>
                <c:pt idx="898">
                  <c:v>42166</c:v>
                </c:pt>
                <c:pt idx="899">
                  <c:v>42167</c:v>
                </c:pt>
                <c:pt idx="900">
                  <c:v>42170</c:v>
                </c:pt>
                <c:pt idx="901">
                  <c:v>42171</c:v>
                </c:pt>
                <c:pt idx="902">
                  <c:v>42172</c:v>
                </c:pt>
                <c:pt idx="903">
                  <c:v>42173</c:v>
                </c:pt>
                <c:pt idx="904">
                  <c:v>42174</c:v>
                </c:pt>
                <c:pt idx="905">
                  <c:v>42177</c:v>
                </c:pt>
                <c:pt idx="906">
                  <c:v>42178</c:v>
                </c:pt>
                <c:pt idx="907">
                  <c:v>42179</c:v>
                </c:pt>
                <c:pt idx="908">
                  <c:v>42180</c:v>
                </c:pt>
                <c:pt idx="909">
                  <c:v>42181</c:v>
                </c:pt>
                <c:pt idx="910">
                  <c:v>42184</c:v>
                </c:pt>
                <c:pt idx="911">
                  <c:v>42185</c:v>
                </c:pt>
                <c:pt idx="912">
                  <c:v>42186</c:v>
                </c:pt>
                <c:pt idx="913">
                  <c:v>42187</c:v>
                </c:pt>
                <c:pt idx="914">
                  <c:v>42188</c:v>
                </c:pt>
                <c:pt idx="915">
                  <c:v>42191</c:v>
                </c:pt>
                <c:pt idx="916">
                  <c:v>42192</c:v>
                </c:pt>
                <c:pt idx="917">
                  <c:v>42193</c:v>
                </c:pt>
                <c:pt idx="918">
                  <c:v>42194</c:v>
                </c:pt>
                <c:pt idx="919">
                  <c:v>42195</c:v>
                </c:pt>
                <c:pt idx="920">
                  <c:v>42198</c:v>
                </c:pt>
                <c:pt idx="921">
                  <c:v>42199</c:v>
                </c:pt>
                <c:pt idx="922">
                  <c:v>42200</c:v>
                </c:pt>
                <c:pt idx="923">
                  <c:v>42201</c:v>
                </c:pt>
                <c:pt idx="924">
                  <c:v>42202</c:v>
                </c:pt>
                <c:pt idx="925">
                  <c:v>42205</c:v>
                </c:pt>
                <c:pt idx="926">
                  <c:v>42206</c:v>
                </c:pt>
                <c:pt idx="927">
                  <c:v>42207</c:v>
                </c:pt>
                <c:pt idx="928">
                  <c:v>42208</c:v>
                </c:pt>
                <c:pt idx="929">
                  <c:v>42209</c:v>
                </c:pt>
                <c:pt idx="930">
                  <c:v>42212</c:v>
                </c:pt>
                <c:pt idx="931">
                  <c:v>42213</c:v>
                </c:pt>
                <c:pt idx="932">
                  <c:v>42214</c:v>
                </c:pt>
                <c:pt idx="933">
                  <c:v>42215</c:v>
                </c:pt>
                <c:pt idx="934">
                  <c:v>42216</c:v>
                </c:pt>
                <c:pt idx="935">
                  <c:v>42219</c:v>
                </c:pt>
                <c:pt idx="936">
                  <c:v>42220</c:v>
                </c:pt>
                <c:pt idx="937">
                  <c:v>42221</c:v>
                </c:pt>
                <c:pt idx="938">
                  <c:v>42222</c:v>
                </c:pt>
                <c:pt idx="939">
                  <c:v>42223</c:v>
                </c:pt>
                <c:pt idx="940">
                  <c:v>42226</c:v>
                </c:pt>
                <c:pt idx="941">
                  <c:v>42227</c:v>
                </c:pt>
                <c:pt idx="942">
                  <c:v>42228</c:v>
                </c:pt>
                <c:pt idx="943">
                  <c:v>42229</c:v>
                </c:pt>
                <c:pt idx="944">
                  <c:v>42230</c:v>
                </c:pt>
                <c:pt idx="945">
                  <c:v>42233</c:v>
                </c:pt>
                <c:pt idx="946">
                  <c:v>42234</c:v>
                </c:pt>
                <c:pt idx="947">
                  <c:v>42235</c:v>
                </c:pt>
                <c:pt idx="948">
                  <c:v>42236</c:v>
                </c:pt>
                <c:pt idx="949">
                  <c:v>42237</c:v>
                </c:pt>
                <c:pt idx="950">
                  <c:v>42240</c:v>
                </c:pt>
                <c:pt idx="951">
                  <c:v>42241</c:v>
                </c:pt>
                <c:pt idx="952">
                  <c:v>42242</c:v>
                </c:pt>
                <c:pt idx="953">
                  <c:v>42243</c:v>
                </c:pt>
                <c:pt idx="954">
                  <c:v>42244</c:v>
                </c:pt>
                <c:pt idx="955">
                  <c:v>42247</c:v>
                </c:pt>
                <c:pt idx="956">
                  <c:v>42248</c:v>
                </c:pt>
                <c:pt idx="957">
                  <c:v>42249</c:v>
                </c:pt>
                <c:pt idx="958">
                  <c:v>42250</c:v>
                </c:pt>
                <c:pt idx="959">
                  <c:v>42251</c:v>
                </c:pt>
                <c:pt idx="960">
                  <c:v>42254</c:v>
                </c:pt>
                <c:pt idx="961">
                  <c:v>42255</c:v>
                </c:pt>
                <c:pt idx="962">
                  <c:v>42256</c:v>
                </c:pt>
                <c:pt idx="963">
                  <c:v>42257</c:v>
                </c:pt>
                <c:pt idx="964">
                  <c:v>42258</c:v>
                </c:pt>
                <c:pt idx="965">
                  <c:v>42261</c:v>
                </c:pt>
                <c:pt idx="966">
                  <c:v>42262</c:v>
                </c:pt>
                <c:pt idx="967">
                  <c:v>42263</c:v>
                </c:pt>
                <c:pt idx="968">
                  <c:v>42264</c:v>
                </c:pt>
                <c:pt idx="969">
                  <c:v>42265</c:v>
                </c:pt>
                <c:pt idx="970">
                  <c:v>42268</c:v>
                </c:pt>
                <c:pt idx="971">
                  <c:v>42269</c:v>
                </c:pt>
                <c:pt idx="972">
                  <c:v>42270</c:v>
                </c:pt>
                <c:pt idx="973">
                  <c:v>42271</c:v>
                </c:pt>
                <c:pt idx="974">
                  <c:v>42272</c:v>
                </c:pt>
                <c:pt idx="975">
                  <c:v>42275</c:v>
                </c:pt>
                <c:pt idx="976">
                  <c:v>42276</c:v>
                </c:pt>
                <c:pt idx="977">
                  <c:v>42277</c:v>
                </c:pt>
                <c:pt idx="978">
                  <c:v>42278</c:v>
                </c:pt>
                <c:pt idx="979">
                  <c:v>42279</c:v>
                </c:pt>
                <c:pt idx="980">
                  <c:v>42282</c:v>
                </c:pt>
                <c:pt idx="981">
                  <c:v>42283</c:v>
                </c:pt>
                <c:pt idx="982">
                  <c:v>42284</c:v>
                </c:pt>
                <c:pt idx="983">
                  <c:v>42285</c:v>
                </c:pt>
                <c:pt idx="984">
                  <c:v>42286</c:v>
                </c:pt>
                <c:pt idx="985">
                  <c:v>42289</c:v>
                </c:pt>
                <c:pt idx="986">
                  <c:v>42290</c:v>
                </c:pt>
                <c:pt idx="987">
                  <c:v>42291</c:v>
                </c:pt>
                <c:pt idx="988">
                  <c:v>42292</c:v>
                </c:pt>
                <c:pt idx="989">
                  <c:v>42293</c:v>
                </c:pt>
                <c:pt idx="990">
                  <c:v>42296</c:v>
                </c:pt>
                <c:pt idx="991">
                  <c:v>42297</c:v>
                </c:pt>
                <c:pt idx="992">
                  <c:v>42298</c:v>
                </c:pt>
                <c:pt idx="993">
                  <c:v>42299</c:v>
                </c:pt>
                <c:pt idx="994">
                  <c:v>42300</c:v>
                </c:pt>
                <c:pt idx="995">
                  <c:v>42303</c:v>
                </c:pt>
                <c:pt idx="996">
                  <c:v>42304</c:v>
                </c:pt>
                <c:pt idx="997">
                  <c:v>42305</c:v>
                </c:pt>
                <c:pt idx="998">
                  <c:v>42306</c:v>
                </c:pt>
                <c:pt idx="999">
                  <c:v>42307</c:v>
                </c:pt>
                <c:pt idx="1000">
                  <c:v>42310</c:v>
                </c:pt>
                <c:pt idx="1001">
                  <c:v>42311</c:v>
                </c:pt>
                <c:pt idx="1002">
                  <c:v>42312</c:v>
                </c:pt>
                <c:pt idx="1003">
                  <c:v>42313</c:v>
                </c:pt>
                <c:pt idx="1004">
                  <c:v>42314</c:v>
                </c:pt>
                <c:pt idx="1005">
                  <c:v>42317</c:v>
                </c:pt>
                <c:pt idx="1006">
                  <c:v>42318</c:v>
                </c:pt>
                <c:pt idx="1007">
                  <c:v>42319</c:v>
                </c:pt>
                <c:pt idx="1008">
                  <c:v>42320</c:v>
                </c:pt>
                <c:pt idx="1009">
                  <c:v>42321</c:v>
                </c:pt>
                <c:pt idx="1010">
                  <c:v>42324</c:v>
                </c:pt>
                <c:pt idx="1011">
                  <c:v>42325</c:v>
                </c:pt>
                <c:pt idx="1012">
                  <c:v>42326</c:v>
                </c:pt>
                <c:pt idx="1013">
                  <c:v>42327</c:v>
                </c:pt>
                <c:pt idx="1014">
                  <c:v>42328</c:v>
                </c:pt>
                <c:pt idx="1015">
                  <c:v>42331</c:v>
                </c:pt>
                <c:pt idx="1016">
                  <c:v>42332</c:v>
                </c:pt>
              </c:numCache>
            </c:numRef>
          </c:cat>
          <c:val>
            <c:numRef>
              <c:f>[alco.xlsm]cds!$B$1578:$B$5000</c:f>
              <c:numCache>
                <c:formatCode>0.00</c:formatCode>
                <c:ptCount val="3423"/>
                <c:pt idx="0">
                  <c:v>278.1499</c:v>
                </c:pt>
                <c:pt idx="1">
                  <c:v>278.1499</c:v>
                </c:pt>
                <c:pt idx="2">
                  <c:v>275.87990000000002</c:v>
                </c:pt>
                <c:pt idx="3">
                  <c:v>279.38990000000001</c:v>
                </c:pt>
                <c:pt idx="4">
                  <c:v>279.42990000000003</c:v>
                </c:pt>
                <c:pt idx="5">
                  <c:v>279.49</c:v>
                </c:pt>
                <c:pt idx="6">
                  <c:v>276.5</c:v>
                </c:pt>
                <c:pt idx="7">
                  <c:v>276.5</c:v>
                </c:pt>
                <c:pt idx="8">
                  <c:v>272.09990000000005</c:v>
                </c:pt>
                <c:pt idx="9">
                  <c:v>274.60990000000004</c:v>
                </c:pt>
                <c:pt idx="10">
                  <c:v>274.61990000000003</c:v>
                </c:pt>
                <c:pt idx="11">
                  <c:v>274.61990000000003</c:v>
                </c:pt>
                <c:pt idx="12">
                  <c:v>274.65990000000005</c:v>
                </c:pt>
                <c:pt idx="13">
                  <c:v>272.26980000000003</c:v>
                </c:pt>
                <c:pt idx="14">
                  <c:v>272.22000000000003</c:v>
                </c:pt>
                <c:pt idx="15">
                  <c:v>266.46000000000004</c:v>
                </c:pt>
                <c:pt idx="16">
                  <c:v>266.46000000000004</c:v>
                </c:pt>
                <c:pt idx="17">
                  <c:v>265.91990000000004</c:v>
                </c:pt>
                <c:pt idx="18">
                  <c:v>263.5</c:v>
                </c:pt>
                <c:pt idx="19">
                  <c:v>262.09990000000005</c:v>
                </c:pt>
                <c:pt idx="20">
                  <c:v>264.03980000000001</c:v>
                </c:pt>
                <c:pt idx="21">
                  <c:v>263.0498</c:v>
                </c:pt>
                <c:pt idx="22">
                  <c:v>261.67990000000003</c:v>
                </c:pt>
                <c:pt idx="23">
                  <c:v>260.74</c:v>
                </c:pt>
                <c:pt idx="24">
                  <c:v>258.40989999999999</c:v>
                </c:pt>
                <c:pt idx="25">
                  <c:v>258.40989999999999</c:v>
                </c:pt>
                <c:pt idx="26">
                  <c:v>256.31980000000004</c:v>
                </c:pt>
                <c:pt idx="27">
                  <c:v>255.73000000000002</c:v>
                </c:pt>
                <c:pt idx="28">
                  <c:v>251.38000000000002</c:v>
                </c:pt>
                <c:pt idx="29">
                  <c:v>252.38000000000002</c:v>
                </c:pt>
                <c:pt idx="30">
                  <c:v>252.38000000000002</c:v>
                </c:pt>
                <c:pt idx="31">
                  <c:v>253.87000000000003</c:v>
                </c:pt>
                <c:pt idx="32" formatCode="General">
                  <c:v>256.34990000000005</c:v>
                </c:pt>
                <c:pt idx="33" formatCode="General">
                  <c:v>258.78980000000001</c:v>
                </c:pt>
                <c:pt idx="34" formatCode="General">
                  <c:v>258.86990000000003</c:v>
                </c:pt>
                <c:pt idx="35" formatCode="General">
                  <c:v>258.75980000000004</c:v>
                </c:pt>
                <c:pt idx="36" formatCode="General">
                  <c:v>258.82980000000003</c:v>
                </c:pt>
                <c:pt idx="37" formatCode="General">
                  <c:v>260.96000000000004</c:v>
                </c:pt>
                <c:pt idx="38" formatCode="General">
                  <c:v>257.53980000000001</c:v>
                </c:pt>
                <c:pt idx="39" formatCode="General">
                  <c:v>256.03980000000001</c:v>
                </c:pt>
                <c:pt idx="40" formatCode="General">
                  <c:v>253.09000000000003</c:v>
                </c:pt>
                <c:pt idx="41" formatCode="General">
                  <c:v>250.74</c:v>
                </c:pt>
                <c:pt idx="42" formatCode="General">
                  <c:v>250.75000000000003</c:v>
                </c:pt>
                <c:pt idx="43" formatCode="General">
                  <c:v>240.11</c:v>
                </c:pt>
                <c:pt idx="44" formatCode="General">
                  <c:v>240.06000000000003</c:v>
                </c:pt>
                <c:pt idx="45" formatCode="General">
                  <c:v>214.02</c:v>
                </c:pt>
                <c:pt idx="46" formatCode="General">
                  <c:v>233.27</c:v>
                </c:pt>
                <c:pt idx="47" formatCode="General">
                  <c:v>233.29000000000002</c:v>
                </c:pt>
                <c:pt idx="48" formatCode="General">
                  <c:v>231.86</c:v>
                </c:pt>
                <c:pt idx="49" formatCode="General">
                  <c:v>228.68</c:v>
                </c:pt>
                <c:pt idx="50" formatCode="General">
                  <c:v>230.14000000000001</c:v>
                </c:pt>
                <c:pt idx="51" formatCode="General">
                  <c:v>227.73000000000002</c:v>
                </c:pt>
                <c:pt idx="52" formatCode="General">
                  <c:v>223.78000000000003</c:v>
                </c:pt>
                <c:pt idx="53" formatCode="General">
                  <c:v>223.78100000000001</c:v>
                </c:pt>
                <c:pt idx="54" formatCode="General">
                  <c:v>223.78000000000003</c:v>
                </c:pt>
                <c:pt idx="55" formatCode="General">
                  <c:v>219.8</c:v>
                </c:pt>
                <c:pt idx="56" formatCode="General">
                  <c:v>219.20000000000002</c:v>
                </c:pt>
                <c:pt idx="57" formatCode="General">
                  <c:v>219.18</c:v>
                </c:pt>
                <c:pt idx="58" formatCode="General">
                  <c:v>210.50000000000003</c:v>
                </c:pt>
                <c:pt idx="59" formatCode="General">
                  <c:v>209.52</c:v>
                </c:pt>
                <c:pt idx="60" formatCode="General">
                  <c:v>209.54000000000002</c:v>
                </c:pt>
                <c:pt idx="61" formatCode="General">
                  <c:v>208.25000000000003</c:v>
                </c:pt>
                <c:pt idx="62" formatCode="General">
                  <c:v>205.83</c:v>
                </c:pt>
                <c:pt idx="63" formatCode="General">
                  <c:v>203.35000000000002</c:v>
                </c:pt>
                <c:pt idx="64" formatCode="General">
                  <c:v>200.89000000000001</c:v>
                </c:pt>
                <c:pt idx="65" formatCode="General">
                  <c:v>200.9</c:v>
                </c:pt>
                <c:pt idx="66" formatCode="General">
                  <c:v>200.91000000000003</c:v>
                </c:pt>
                <c:pt idx="67" formatCode="General">
                  <c:v>200.98000000000002</c:v>
                </c:pt>
                <c:pt idx="68" formatCode="General">
                  <c:v>201.49</c:v>
                </c:pt>
                <c:pt idx="69" formatCode="General">
                  <c:v>201.49</c:v>
                </c:pt>
                <c:pt idx="70" formatCode="General">
                  <c:v>201.61</c:v>
                </c:pt>
                <c:pt idx="71" formatCode="General">
                  <c:v>205.38000000000002</c:v>
                </c:pt>
                <c:pt idx="72" formatCode="General">
                  <c:v>211.04000000000002</c:v>
                </c:pt>
                <c:pt idx="73" formatCode="General">
                  <c:v>211.55</c:v>
                </c:pt>
                <c:pt idx="74" formatCode="General">
                  <c:v>215.96</c:v>
                </c:pt>
                <c:pt idx="75" formatCode="General">
                  <c:v>218.44300000000001</c:v>
                </c:pt>
                <c:pt idx="76" formatCode="General">
                  <c:v>223.23000000000002</c:v>
                </c:pt>
                <c:pt idx="77" formatCode="General">
                  <c:v>223.25500000000002</c:v>
                </c:pt>
                <c:pt idx="78" formatCode="General">
                  <c:v>224.74</c:v>
                </c:pt>
                <c:pt idx="79" formatCode="General">
                  <c:v>225.70000000000002</c:v>
                </c:pt>
                <c:pt idx="80" formatCode="General">
                  <c:v>230.33500000000001</c:v>
                </c:pt>
                <c:pt idx="81" formatCode="General">
                  <c:v>228.87</c:v>
                </c:pt>
                <c:pt idx="82" formatCode="General">
                  <c:v>228.88000000000002</c:v>
                </c:pt>
                <c:pt idx="83" formatCode="General">
                  <c:v>228.91000000000003</c:v>
                </c:pt>
                <c:pt idx="84" formatCode="General">
                  <c:v>228.92000000000002</c:v>
                </c:pt>
                <c:pt idx="85" formatCode="General">
                  <c:v>233.24</c:v>
                </c:pt>
                <c:pt idx="86" formatCode="General">
                  <c:v>230.99</c:v>
                </c:pt>
                <c:pt idx="87" formatCode="General">
                  <c:v>231.02</c:v>
                </c:pt>
                <c:pt idx="88" formatCode="General">
                  <c:v>231.01000000000002</c:v>
                </c:pt>
                <c:pt idx="89" formatCode="General">
                  <c:v>231.03000000000003</c:v>
                </c:pt>
                <c:pt idx="90" formatCode="General">
                  <c:v>231.05</c:v>
                </c:pt>
                <c:pt idx="91" formatCode="General">
                  <c:v>231.05</c:v>
                </c:pt>
                <c:pt idx="92" formatCode="General">
                  <c:v>218.10000000000002</c:v>
                </c:pt>
                <c:pt idx="93" formatCode="General">
                  <c:v>218.10000000000002</c:v>
                </c:pt>
                <c:pt idx="94" formatCode="General">
                  <c:v>232.48000000000002</c:v>
                </c:pt>
                <c:pt idx="95" formatCode="General">
                  <c:v>230.77</c:v>
                </c:pt>
                <c:pt idx="96" formatCode="General">
                  <c:v>239.82000000000002</c:v>
                </c:pt>
                <c:pt idx="97" formatCode="General">
                  <c:v>239.82000000000002</c:v>
                </c:pt>
                <c:pt idx="98" formatCode="General">
                  <c:v>248.87000000000003</c:v>
                </c:pt>
                <c:pt idx="99" formatCode="General">
                  <c:v>248.87000000000003</c:v>
                </c:pt>
                <c:pt idx="100" formatCode="General">
                  <c:v>259.81980000000004</c:v>
                </c:pt>
                <c:pt idx="101" formatCode="General">
                  <c:v>248.87000000000003</c:v>
                </c:pt>
                <c:pt idx="102" formatCode="General">
                  <c:v>248.87000000000003</c:v>
                </c:pt>
                <c:pt idx="103" formatCode="General">
                  <c:v>261.34990000000005</c:v>
                </c:pt>
                <c:pt idx="104" formatCode="General">
                  <c:v>253.40000000000003</c:v>
                </c:pt>
                <c:pt idx="105" formatCode="General">
                  <c:v>253.40000000000003</c:v>
                </c:pt>
                <c:pt idx="106" formatCode="General">
                  <c:v>253.40000000000003</c:v>
                </c:pt>
                <c:pt idx="107" formatCode="General">
                  <c:v>250.68</c:v>
                </c:pt>
                <c:pt idx="108" formatCode="General">
                  <c:v>248.87000000000003</c:v>
                </c:pt>
                <c:pt idx="109" formatCode="General">
                  <c:v>253.40000000000003</c:v>
                </c:pt>
                <c:pt idx="110" formatCode="General">
                  <c:v>253.40000000000003</c:v>
                </c:pt>
                <c:pt idx="111" formatCode="General">
                  <c:v>253.40000000000003</c:v>
                </c:pt>
                <c:pt idx="112" formatCode="General">
                  <c:v>258.1499</c:v>
                </c:pt>
                <c:pt idx="113" formatCode="General">
                  <c:v>258.22000000000003</c:v>
                </c:pt>
                <c:pt idx="114" formatCode="General">
                  <c:v>258.25980000000004</c:v>
                </c:pt>
                <c:pt idx="115" formatCode="General">
                  <c:v>255.88000000000002</c:v>
                </c:pt>
                <c:pt idx="116" formatCode="General">
                  <c:v>254.90000000000003</c:v>
                </c:pt>
                <c:pt idx="117" formatCode="General">
                  <c:v>250.36</c:v>
                </c:pt>
                <c:pt idx="118" formatCode="General">
                  <c:v>250.38000000000002</c:v>
                </c:pt>
                <c:pt idx="119" formatCode="General">
                  <c:v>251.74</c:v>
                </c:pt>
                <c:pt idx="120" formatCode="General">
                  <c:v>250.35000000000002</c:v>
                </c:pt>
                <c:pt idx="121" formatCode="General">
                  <c:v>250.37000000000003</c:v>
                </c:pt>
                <c:pt idx="122" formatCode="General">
                  <c:v>246.85000000000002</c:v>
                </c:pt>
                <c:pt idx="123" formatCode="General">
                  <c:v>242.36</c:v>
                </c:pt>
                <c:pt idx="124" formatCode="General">
                  <c:v>219.91500000000002</c:v>
                </c:pt>
                <c:pt idx="125" formatCode="General">
                  <c:v>240.95000000000002</c:v>
                </c:pt>
                <c:pt idx="126" formatCode="General">
                  <c:v>240.95000000000002</c:v>
                </c:pt>
                <c:pt idx="127" formatCode="General">
                  <c:v>240.96</c:v>
                </c:pt>
                <c:pt idx="128" formatCode="General">
                  <c:v>243.24</c:v>
                </c:pt>
                <c:pt idx="129" formatCode="General">
                  <c:v>242.28000000000003</c:v>
                </c:pt>
                <c:pt idx="130" formatCode="General">
                  <c:v>235.34000000000003</c:v>
                </c:pt>
                <c:pt idx="131" formatCode="General">
                  <c:v>235.33</c:v>
                </c:pt>
                <c:pt idx="132" formatCode="General">
                  <c:v>215.39000000000001</c:v>
                </c:pt>
                <c:pt idx="133" formatCode="General">
                  <c:v>215.39000000000001</c:v>
                </c:pt>
                <c:pt idx="134" formatCode="General">
                  <c:v>232.92000000000002</c:v>
                </c:pt>
                <c:pt idx="135" formatCode="General">
                  <c:v>228.04000000000002</c:v>
                </c:pt>
                <c:pt idx="136" formatCode="General">
                  <c:v>223.16000000000003</c:v>
                </c:pt>
                <c:pt idx="137" formatCode="General">
                  <c:v>220.72000000000003</c:v>
                </c:pt>
                <c:pt idx="138" formatCode="General">
                  <c:v>220.75000000000003</c:v>
                </c:pt>
                <c:pt idx="139" formatCode="General">
                  <c:v>218.34000000000003</c:v>
                </c:pt>
                <c:pt idx="140" formatCode="General">
                  <c:v>209.32000000000002</c:v>
                </c:pt>
                <c:pt idx="141" formatCode="General">
                  <c:v>209.32000000000002</c:v>
                </c:pt>
                <c:pt idx="142" formatCode="General">
                  <c:v>203.8</c:v>
                </c:pt>
                <c:pt idx="143" formatCode="General">
                  <c:v>203.84</c:v>
                </c:pt>
                <c:pt idx="144" formatCode="General">
                  <c:v>203.86</c:v>
                </c:pt>
                <c:pt idx="145" formatCode="General">
                  <c:v>207.51000000000002</c:v>
                </c:pt>
                <c:pt idx="146" formatCode="General">
                  <c:v>206.05</c:v>
                </c:pt>
                <c:pt idx="147" formatCode="General">
                  <c:v>206.07000000000002</c:v>
                </c:pt>
                <c:pt idx="148" formatCode="General">
                  <c:v>206.09</c:v>
                </c:pt>
                <c:pt idx="149" formatCode="General">
                  <c:v>206.11</c:v>
                </c:pt>
                <c:pt idx="150" formatCode="General">
                  <c:v>204.34</c:v>
                </c:pt>
                <c:pt idx="151" formatCode="General">
                  <c:v>200.29000000000002</c:v>
                </c:pt>
                <c:pt idx="152" formatCode="General">
                  <c:v>200.32000000000002</c:v>
                </c:pt>
                <c:pt idx="153" formatCode="General">
                  <c:v>200.34</c:v>
                </c:pt>
                <c:pt idx="154" formatCode="General">
                  <c:v>196.52</c:v>
                </c:pt>
                <c:pt idx="155" formatCode="General">
                  <c:v>187.33</c:v>
                </c:pt>
                <c:pt idx="156" formatCode="General">
                  <c:v>162.9</c:v>
                </c:pt>
                <c:pt idx="157" formatCode="General">
                  <c:v>162.9</c:v>
                </c:pt>
                <c:pt idx="158" formatCode="General">
                  <c:v>162.9</c:v>
                </c:pt>
                <c:pt idx="159" formatCode="General">
                  <c:v>162.9</c:v>
                </c:pt>
                <c:pt idx="160" formatCode="General">
                  <c:v>178.07000000000002</c:v>
                </c:pt>
                <c:pt idx="161" formatCode="General">
                  <c:v>175.19000000000003</c:v>
                </c:pt>
                <c:pt idx="162" formatCode="General">
                  <c:v>173.26000000000002</c:v>
                </c:pt>
                <c:pt idx="163" formatCode="General">
                  <c:v>173.25</c:v>
                </c:pt>
                <c:pt idx="164" formatCode="General">
                  <c:v>168.36</c:v>
                </c:pt>
                <c:pt idx="165" formatCode="General">
                  <c:v>168.41000000000003</c:v>
                </c:pt>
                <c:pt idx="166" formatCode="General">
                  <c:v>168.43</c:v>
                </c:pt>
                <c:pt idx="167" formatCode="General">
                  <c:v>166.11</c:v>
                </c:pt>
                <c:pt idx="168" formatCode="General">
                  <c:v>166.15</c:v>
                </c:pt>
                <c:pt idx="169" formatCode="General">
                  <c:v>166.16000000000003</c:v>
                </c:pt>
                <c:pt idx="170" formatCode="General">
                  <c:v>166.17000000000002</c:v>
                </c:pt>
                <c:pt idx="171" formatCode="General">
                  <c:v>166.20000000000002</c:v>
                </c:pt>
                <c:pt idx="172" formatCode="General">
                  <c:v>166.21</c:v>
                </c:pt>
                <c:pt idx="173" formatCode="General">
                  <c:v>166.21</c:v>
                </c:pt>
                <c:pt idx="174" formatCode="General">
                  <c:v>166.22000000000003</c:v>
                </c:pt>
                <c:pt idx="175" formatCode="General">
                  <c:v>166.25</c:v>
                </c:pt>
                <c:pt idx="176" formatCode="General">
                  <c:v>160.80000000000001</c:v>
                </c:pt>
                <c:pt idx="177" formatCode="General">
                  <c:v>160.82000000000002</c:v>
                </c:pt>
                <c:pt idx="178" formatCode="General">
                  <c:v>160.83000000000001</c:v>
                </c:pt>
                <c:pt idx="179" formatCode="General">
                  <c:v>160.82000000000002</c:v>
                </c:pt>
                <c:pt idx="180" formatCode="General">
                  <c:v>152.88000000000002</c:v>
                </c:pt>
                <c:pt idx="181" formatCode="General">
                  <c:v>157.44000000000003</c:v>
                </c:pt>
                <c:pt idx="182" formatCode="General">
                  <c:v>152.88000000000002</c:v>
                </c:pt>
                <c:pt idx="183" formatCode="General">
                  <c:v>152.88000000000002</c:v>
                </c:pt>
                <c:pt idx="184" formatCode="General">
                  <c:v>131.95000000000002</c:v>
                </c:pt>
                <c:pt idx="185" formatCode="General">
                  <c:v>131.95000000000002</c:v>
                </c:pt>
                <c:pt idx="186" formatCode="General">
                  <c:v>127.4</c:v>
                </c:pt>
                <c:pt idx="187" formatCode="General">
                  <c:v>127.4</c:v>
                </c:pt>
                <c:pt idx="188" formatCode="General">
                  <c:v>127.4</c:v>
                </c:pt>
                <c:pt idx="189" formatCode="General">
                  <c:v>139.06</c:v>
                </c:pt>
                <c:pt idx="190" formatCode="General">
                  <c:v>137.60000000000002</c:v>
                </c:pt>
                <c:pt idx="191" formatCode="General">
                  <c:v>137.61000000000001</c:v>
                </c:pt>
                <c:pt idx="192" formatCode="General">
                  <c:v>137.62</c:v>
                </c:pt>
                <c:pt idx="193" formatCode="General">
                  <c:v>137.61000000000001</c:v>
                </c:pt>
                <c:pt idx="194" formatCode="General">
                  <c:v>137.63600000000002</c:v>
                </c:pt>
                <c:pt idx="195" formatCode="General">
                  <c:v>137.67500000000001</c:v>
                </c:pt>
                <c:pt idx="196" formatCode="General">
                  <c:v>136.69400000000002</c:v>
                </c:pt>
                <c:pt idx="197" formatCode="General">
                  <c:v>118.30000000000001</c:v>
                </c:pt>
                <c:pt idx="198" formatCode="General">
                  <c:v>118.30000000000001</c:v>
                </c:pt>
                <c:pt idx="199" formatCode="General">
                  <c:v>116.48</c:v>
                </c:pt>
                <c:pt idx="200" formatCode="General">
                  <c:v>116.48</c:v>
                </c:pt>
                <c:pt idx="201" formatCode="General">
                  <c:v>116.48</c:v>
                </c:pt>
                <c:pt idx="202" formatCode="General">
                  <c:v>116.48</c:v>
                </c:pt>
                <c:pt idx="203" formatCode="General">
                  <c:v>116.48</c:v>
                </c:pt>
                <c:pt idx="204" formatCode="General">
                  <c:v>104.65</c:v>
                </c:pt>
                <c:pt idx="205" formatCode="General">
                  <c:v>104.65</c:v>
                </c:pt>
                <c:pt idx="206" formatCode="General">
                  <c:v>104.65</c:v>
                </c:pt>
                <c:pt idx="207" formatCode="General">
                  <c:v>104.65</c:v>
                </c:pt>
                <c:pt idx="208" formatCode="General">
                  <c:v>109.2</c:v>
                </c:pt>
                <c:pt idx="209" formatCode="General">
                  <c:v>109.2</c:v>
                </c:pt>
                <c:pt idx="210" formatCode="General">
                  <c:v>109.2</c:v>
                </c:pt>
                <c:pt idx="211" formatCode="General">
                  <c:v>109.2</c:v>
                </c:pt>
                <c:pt idx="212" formatCode="General">
                  <c:v>105.56</c:v>
                </c:pt>
                <c:pt idx="213" formatCode="General">
                  <c:v>104.65</c:v>
                </c:pt>
                <c:pt idx="214" formatCode="General">
                  <c:v>104.65</c:v>
                </c:pt>
                <c:pt idx="215" formatCode="General">
                  <c:v>111.56</c:v>
                </c:pt>
                <c:pt idx="216" formatCode="General">
                  <c:v>111.57000000000001</c:v>
                </c:pt>
                <c:pt idx="217" formatCode="General">
                  <c:v>111.58300000000001</c:v>
                </c:pt>
                <c:pt idx="218" formatCode="General">
                  <c:v>111.58000000000001</c:v>
                </c:pt>
                <c:pt idx="219" formatCode="General">
                  <c:v>111.59</c:v>
                </c:pt>
                <c:pt idx="220" formatCode="General">
                  <c:v>111.62500000000001</c:v>
                </c:pt>
                <c:pt idx="221" formatCode="General">
                  <c:v>111.63000000000001</c:v>
                </c:pt>
                <c:pt idx="222" formatCode="General">
                  <c:v>111.64000000000001</c:v>
                </c:pt>
                <c:pt idx="223" formatCode="General">
                  <c:v>109.18</c:v>
                </c:pt>
                <c:pt idx="224" formatCode="General">
                  <c:v>109.19000000000001</c:v>
                </c:pt>
                <c:pt idx="225" formatCode="General">
                  <c:v>109.21000000000001</c:v>
                </c:pt>
                <c:pt idx="226" formatCode="General">
                  <c:v>106.21000000000001</c:v>
                </c:pt>
                <c:pt idx="227" formatCode="General">
                  <c:v>105.91000000000001</c:v>
                </c:pt>
                <c:pt idx="228" formatCode="General">
                  <c:v>105.929</c:v>
                </c:pt>
                <c:pt idx="229" formatCode="General">
                  <c:v>106.43900000000001</c:v>
                </c:pt>
                <c:pt idx="230" formatCode="General">
                  <c:v>106.49000000000001</c:v>
                </c:pt>
                <c:pt idx="231" formatCode="General">
                  <c:v>106.51200000000001</c:v>
                </c:pt>
                <c:pt idx="232" formatCode="General">
                  <c:v>106.04</c:v>
                </c:pt>
                <c:pt idx="233" formatCode="General">
                  <c:v>106.06</c:v>
                </c:pt>
                <c:pt idx="234" formatCode="General">
                  <c:v>106.07900000000001</c:v>
                </c:pt>
                <c:pt idx="235" formatCode="General">
                  <c:v>108.41000000000001</c:v>
                </c:pt>
                <c:pt idx="236" formatCode="General">
                  <c:v>99.319990000000004</c:v>
                </c:pt>
                <c:pt idx="237" formatCode="General">
                  <c:v>99.34799000000001</c:v>
                </c:pt>
                <c:pt idx="238" formatCode="General">
                  <c:v>98.364000000000004</c:v>
                </c:pt>
                <c:pt idx="239" formatCode="General">
                  <c:v>93.12</c:v>
                </c:pt>
                <c:pt idx="240" formatCode="General">
                  <c:v>92.773990000000012</c:v>
                </c:pt>
                <c:pt idx="241" formatCode="General">
                  <c:v>93.250000000000014</c:v>
                </c:pt>
                <c:pt idx="242" formatCode="General">
                  <c:v>93.269990000000007</c:v>
                </c:pt>
                <c:pt idx="243" formatCode="General">
                  <c:v>93.28</c:v>
                </c:pt>
                <c:pt idx="244" formatCode="General">
                  <c:v>93.302990000000008</c:v>
                </c:pt>
                <c:pt idx="245" formatCode="General">
                  <c:v>93.368000000000009</c:v>
                </c:pt>
                <c:pt idx="246" formatCode="General">
                  <c:v>93.39</c:v>
                </c:pt>
                <c:pt idx="247" formatCode="General">
                  <c:v>93.411000000000001</c:v>
                </c:pt>
                <c:pt idx="248" formatCode="General">
                  <c:v>93.433000000000007</c:v>
                </c:pt>
                <c:pt idx="249" formatCode="General">
                  <c:v>93.454990000000009</c:v>
                </c:pt>
                <c:pt idx="250" formatCode="General">
                  <c:v>93.519990000000007</c:v>
                </c:pt>
                <c:pt idx="251" formatCode="General">
                  <c:v>93.541990000000013</c:v>
                </c:pt>
                <c:pt idx="252" formatCode="General">
                  <c:v>93.562990000000013</c:v>
                </c:pt>
                <c:pt idx="253" formatCode="General">
                  <c:v>92.023990000000012</c:v>
                </c:pt>
                <c:pt idx="254" formatCode="General">
                  <c:v>92.039990000000003</c:v>
                </c:pt>
                <c:pt idx="255" formatCode="General">
                  <c:v>90.300990000000013</c:v>
                </c:pt>
                <c:pt idx="256" formatCode="General">
                  <c:v>90.319990000000004</c:v>
                </c:pt>
                <c:pt idx="257" formatCode="General">
                  <c:v>90.349990000000005</c:v>
                </c:pt>
                <c:pt idx="258" formatCode="General">
                  <c:v>90.37</c:v>
                </c:pt>
                <c:pt idx="259" formatCode="General">
                  <c:v>90.39</c:v>
                </c:pt>
                <c:pt idx="260" formatCode="General">
                  <c:v>90.46799</c:v>
                </c:pt>
                <c:pt idx="261" formatCode="General">
                  <c:v>90.489990000000006</c:v>
                </c:pt>
                <c:pt idx="262" formatCode="General">
                  <c:v>90.515000000000001</c:v>
                </c:pt>
                <c:pt idx="263" formatCode="General">
                  <c:v>90.539990000000003</c:v>
                </c:pt>
                <c:pt idx="264" formatCode="General">
                  <c:v>89.081990000000005</c:v>
                </c:pt>
                <c:pt idx="265" formatCode="General">
                  <c:v>88.504990000000006</c:v>
                </c:pt>
                <c:pt idx="266" formatCode="General">
                  <c:v>88.528990000000007</c:v>
                </c:pt>
                <c:pt idx="267" formatCode="General">
                  <c:v>86.582990000000009</c:v>
                </c:pt>
                <c:pt idx="268" formatCode="General">
                  <c:v>87.101990000000001</c:v>
                </c:pt>
                <c:pt idx="269" formatCode="General">
                  <c:v>87.129000000000005</c:v>
                </c:pt>
                <c:pt idx="270" formatCode="General">
                  <c:v>87.2</c:v>
                </c:pt>
                <c:pt idx="271" formatCode="General">
                  <c:v>87.23</c:v>
                </c:pt>
                <c:pt idx="272" formatCode="General">
                  <c:v>87.250000000000014</c:v>
                </c:pt>
                <c:pt idx="273" formatCode="General">
                  <c:v>87.28</c:v>
                </c:pt>
                <c:pt idx="274" formatCode="General">
                  <c:v>87.31</c:v>
                </c:pt>
                <c:pt idx="275" formatCode="General">
                  <c:v>83.71999000000001</c:v>
                </c:pt>
                <c:pt idx="276" formatCode="General">
                  <c:v>86.53</c:v>
                </c:pt>
                <c:pt idx="277" formatCode="General">
                  <c:v>86.56</c:v>
                </c:pt>
                <c:pt idx="278" formatCode="General">
                  <c:v>86.579990000000009</c:v>
                </c:pt>
                <c:pt idx="279" formatCode="General">
                  <c:v>86.60999000000001</c:v>
                </c:pt>
                <c:pt idx="280" formatCode="General">
                  <c:v>86.691990000000004</c:v>
                </c:pt>
                <c:pt idx="281" formatCode="General">
                  <c:v>86.717000000000013</c:v>
                </c:pt>
                <c:pt idx="282" formatCode="General">
                  <c:v>88.22099</c:v>
                </c:pt>
                <c:pt idx="283" formatCode="General">
                  <c:v>88.702990000000014</c:v>
                </c:pt>
                <c:pt idx="284" formatCode="General">
                  <c:v>88.726990000000001</c:v>
                </c:pt>
                <c:pt idx="285" formatCode="General">
                  <c:v>89.787990000000008</c:v>
                </c:pt>
                <c:pt idx="286" formatCode="General">
                  <c:v>87.349000000000004</c:v>
                </c:pt>
                <c:pt idx="287" formatCode="General">
                  <c:v>87.375000000000014</c:v>
                </c:pt>
                <c:pt idx="288" formatCode="General">
                  <c:v>87.323000000000008</c:v>
                </c:pt>
                <c:pt idx="289" formatCode="General">
                  <c:v>87.323000000000008</c:v>
                </c:pt>
                <c:pt idx="290" formatCode="General">
                  <c:v>85.147990000000007</c:v>
                </c:pt>
                <c:pt idx="291" formatCode="General">
                  <c:v>85.172990000000013</c:v>
                </c:pt>
                <c:pt idx="292" formatCode="General">
                  <c:v>85.196990000000014</c:v>
                </c:pt>
                <c:pt idx="293" formatCode="General">
                  <c:v>85.22099</c:v>
                </c:pt>
                <c:pt idx="294" formatCode="General">
                  <c:v>85.245000000000005</c:v>
                </c:pt>
                <c:pt idx="295" formatCode="General">
                  <c:v>85.319990000000004</c:v>
                </c:pt>
                <c:pt idx="296" formatCode="General">
                  <c:v>85.34</c:v>
                </c:pt>
                <c:pt idx="297" formatCode="General">
                  <c:v>85.368000000000009</c:v>
                </c:pt>
                <c:pt idx="298" formatCode="General">
                  <c:v>85.390990000000002</c:v>
                </c:pt>
                <c:pt idx="299" formatCode="General">
                  <c:v>85.907990000000012</c:v>
                </c:pt>
                <c:pt idx="300" formatCode="General">
                  <c:v>85.98199000000001</c:v>
                </c:pt>
                <c:pt idx="301" formatCode="General">
                  <c:v>86.004990000000006</c:v>
                </c:pt>
                <c:pt idx="302" formatCode="General">
                  <c:v>86.032000000000011</c:v>
                </c:pt>
                <c:pt idx="303" formatCode="General">
                  <c:v>86.056000000000012</c:v>
                </c:pt>
                <c:pt idx="304" formatCode="General">
                  <c:v>86.078990000000005</c:v>
                </c:pt>
                <c:pt idx="305" formatCode="General">
                  <c:v>86.150990000000007</c:v>
                </c:pt>
                <c:pt idx="306" formatCode="General">
                  <c:v>86.174990000000008</c:v>
                </c:pt>
                <c:pt idx="307" formatCode="General">
                  <c:v>86.198990000000009</c:v>
                </c:pt>
                <c:pt idx="308" formatCode="General">
                  <c:v>86.22299000000001</c:v>
                </c:pt>
                <c:pt idx="309" formatCode="General">
                  <c:v>86.22299000000001</c:v>
                </c:pt>
                <c:pt idx="310" formatCode="General">
                  <c:v>86.31898000000001</c:v>
                </c:pt>
                <c:pt idx="311" formatCode="General">
                  <c:v>86.34299</c:v>
                </c:pt>
                <c:pt idx="312" formatCode="General">
                  <c:v>86.366000000000014</c:v>
                </c:pt>
                <c:pt idx="313" formatCode="General">
                  <c:v>86.39</c:v>
                </c:pt>
                <c:pt idx="314" formatCode="General">
                  <c:v>86.413990000000013</c:v>
                </c:pt>
                <c:pt idx="315" formatCode="General">
                  <c:v>86.48499000000001</c:v>
                </c:pt>
                <c:pt idx="316" formatCode="General">
                  <c:v>86.508990000000011</c:v>
                </c:pt>
                <c:pt idx="317" formatCode="General">
                  <c:v>86.196990000000014</c:v>
                </c:pt>
                <c:pt idx="318" formatCode="General">
                  <c:v>86.224990000000005</c:v>
                </c:pt>
                <c:pt idx="319" formatCode="General">
                  <c:v>86.25</c:v>
                </c:pt>
                <c:pt idx="320" formatCode="General">
                  <c:v>86.330990000000014</c:v>
                </c:pt>
                <c:pt idx="321" formatCode="General">
                  <c:v>86.355000000000004</c:v>
                </c:pt>
                <c:pt idx="322" formatCode="General">
                  <c:v>86.38300000000001</c:v>
                </c:pt>
                <c:pt idx="323" formatCode="General">
                  <c:v>88.873990000000006</c:v>
                </c:pt>
                <c:pt idx="324" formatCode="General">
                  <c:v>91.175990000000013</c:v>
                </c:pt>
                <c:pt idx="325" formatCode="General">
                  <c:v>91.254990000000006</c:v>
                </c:pt>
                <c:pt idx="326" formatCode="General">
                  <c:v>91.28</c:v>
                </c:pt>
                <c:pt idx="327" formatCode="General">
                  <c:v>91.306990000000013</c:v>
                </c:pt>
                <c:pt idx="328" formatCode="General">
                  <c:v>91.331990000000005</c:v>
                </c:pt>
                <c:pt idx="329" formatCode="General">
                  <c:v>91.358990000000006</c:v>
                </c:pt>
                <c:pt idx="330" formatCode="General">
                  <c:v>90.942990000000009</c:v>
                </c:pt>
                <c:pt idx="331" formatCode="General">
                  <c:v>90.942990000000009</c:v>
                </c:pt>
                <c:pt idx="332" formatCode="General">
                  <c:v>90.995000000000005</c:v>
                </c:pt>
                <c:pt idx="333" formatCode="General">
                  <c:v>90.034990000000008</c:v>
                </c:pt>
                <c:pt idx="334" formatCode="General">
                  <c:v>87.786000000000001</c:v>
                </c:pt>
                <c:pt idx="335" formatCode="General">
                  <c:v>87.862990000000011</c:v>
                </c:pt>
                <c:pt idx="336" formatCode="General">
                  <c:v>87.887990000000002</c:v>
                </c:pt>
                <c:pt idx="337" formatCode="General">
                  <c:v>88.37</c:v>
                </c:pt>
                <c:pt idx="338" formatCode="General">
                  <c:v>87.901990000000012</c:v>
                </c:pt>
                <c:pt idx="339" formatCode="General">
                  <c:v>87.433000000000007</c:v>
                </c:pt>
                <c:pt idx="340" formatCode="General">
                  <c:v>87.01700000000001</c:v>
                </c:pt>
                <c:pt idx="341" formatCode="General">
                  <c:v>86.588000000000008</c:v>
                </c:pt>
                <c:pt idx="342" formatCode="General">
                  <c:v>84.793000000000006</c:v>
                </c:pt>
                <c:pt idx="343" formatCode="General">
                  <c:v>84.325000000000003</c:v>
                </c:pt>
                <c:pt idx="344" formatCode="General">
                  <c:v>83.857990000000001</c:v>
                </c:pt>
                <c:pt idx="345" formatCode="General">
                  <c:v>83.933990000000009</c:v>
                </c:pt>
                <c:pt idx="346" formatCode="General">
                  <c:v>83.959000000000003</c:v>
                </c:pt>
                <c:pt idx="347" formatCode="General">
                  <c:v>83.983990000000006</c:v>
                </c:pt>
                <c:pt idx="348" formatCode="General">
                  <c:v>84.008990000000011</c:v>
                </c:pt>
                <c:pt idx="349" formatCode="General">
                  <c:v>84.034000000000006</c:v>
                </c:pt>
                <c:pt idx="350" formatCode="General">
                  <c:v>84.110990000000001</c:v>
                </c:pt>
                <c:pt idx="351" formatCode="General">
                  <c:v>84.135990000000007</c:v>
                </c:pt>
                <c:pt idx="352" formatCode="General">
                  <c:v>84.161000000000001</c:v>
                </c:pt>
                <c:pt idx="353" formatCode="General">
                  <c:v>84.185990000000004</c:v>
                </c:pt>
                <c:pt idx="354" formatCode="General">
                  <c:v>84.209990000000005</c:v>
                </c:pt>
                <c:pt idx="355" formatCode="General">
                  <c:v>84.284990000000008</c:v>
                </c:pt>
                <c:pt idx="356" formatCode="General">
                  <c:v>84.31</c:v>
                </c:pt>
                <c:pt idx="357" formatCode="General">
                  <c:v>84.334990000000005</c:v>
                </c:pt>
                <c:pt idx="358" formatCode="General">
                  <c:v>84.358990000000006</c:v>
                </c:pt>
                <c:pt idx="359" formatCode="General">
                  <c:v>84.383990000000011</c:v>
                </c:pt>
                <c:pt idx="360" formatCode="General">
                  <c:v>81.899990000000003</c:v>
                </c:pt>
                <c:pt idx="361" formatCode="General">
                  <c:v>81.899990000000003</c:v>
                </c:pt>
                <c:pt idx="362" formatCode="General">
                  <c:v>86.327000000000012</c:v>
                </c:pt>
                <c:pt idx="363" formatCode="General">
                  <c:v>87.002990000000011</c:v>
                </c:pt>
                <c:pt idx="364" formatCode="General">
                  <c:v>84.726990000000001</c:v>
                </c:pt>
                <c:pt idx="365" formatCode="General">
                  <c:v>84.728000000000009</c:v>
                </c:pt>
                <c:pt idx="366" formatCode="General">
                  <c:v>77.349990000000005</c:v>
                </c:pt>
                <c:pt idx="367" formatCode="General">
                  <c:v>77.349990000000005</c:v>
                </c:pt>
                <c:pt idx="368" formatCode="General">
                  <c:v>77.349990000000005</c:v>
                </c:pt>
                <c:pt idx="369" formatCode="General">
                  <c:v>77.349990000000005</c:v>
                </c:pt>
                <c:pt idx="370" formatCode="General">
                  <c:v>77.349990000000005</c:v>
                </c:pt>
                <c:pt idx="371" formatCode="General">
                  <c:v>77.349990000000005</c:v>
                </c:pt>
                <c:pt idx="372" formatCode="General">
                  <c:v>79.685990000000004</c:v>
                </c:pt>
                <c:pt idx="373" formatCode="General">
                  <c:v>79.685000000000002</c:v>
                </c:pt>
                <c:pt idx="374" formatCode="General">
                  <c:v>79.685990000000004</c:v>
                </c:pt>
                <c:pt idx="375" formatCode="General">
                  <c:v>80.140990000000002</c:v>
                </c:pt>
                <c:pt idx="376" formatCode="General">
                  <c:v>80.140990000000002</c:v>
                </c:pt>
                <c:pt idx="377" formatCode="General">
                  <c:v>80.14</c:v>
                </c:pt>
                <c:pt idx="378" formatCode="General">
                  <c:v>80.59</c:v>
                </c:pt>
                <c:pt idx="379" formatCode="General">
                  <c:v>79.679990000000004</c:v>
                </c:pt>
                <c:pt idx="380" formatCode="General">
                  <c:v>79.679990000000004</c:v>
                </c:pt>
                <c:pt idx="381" formatCode="General">
                  <c:v>79.679990000000004</c:v>
                </c:pt>
                <c:pt idx="382" formatCode="General">
                  <c:v>79.23</c:v>
                </c:pt>
                <c:pt idx="383" formatCode="General">
                  <c:v>86.95</c:v>
                </c:pt>
                <c:pt idx="384" formatCode="General">
                  <c:v>86.95</c:v>
                </c:pt>
                <c:pt idx="385" formatCode="General">
                  <c:v>95.129990000000006</c:v>
                </c:pt>
                <c:pt idx="386" formatCode="General">
                  <c:v>96.03</c:v>
                </c:pt>
                <c:pt idx="387" formatCode="General">
                  <c:v>96.03</c:v>
                </c:pt>
                <c:pt idx="388" formatCode="General">
                  <c:v>95.129990000000006</c:v>
                </c:pt>
                <c:pt idx="389" formatCode="General">
                  <c:v>95.129990000000006</c:v>
                </c:pt>
                <c:pt idx="390" formatCode="General">
                  <c:v>93.769990000000007</c:v>
                </c:pt>
                <c:pt idx="391" formatCode="General">
                  <c:v>93.769990000000007</c:v>
                </c:pt>
                <c:pt idx="392" formatCode="General">
                  <c:v>94.67</c:v>
                </c:pt>
                <c:pt idx="393" formatCode="General">
                  <c:v>94.67</c:v>
                </c:pt>
                <c:pt idx="394" formatCode="General">
                  <c:v>94.67</c:v>
                </c:pt>
                <c:pt idx="395" formatCode="General">
                  <c:v>94.224720000000005</c:v>
                </c:pt>
                <c:pt idx="396" formatCode="General">
                  <c:v>93.769990000000007</c:v>
                </c:pt>
                <c:pt idx="397" formatCode="General">
                  <c:v>93.769990000000007</c:v>
                </c:pt>
                <c:pt idx="398" formatCode="General">
                  <c:v>93.769990000000007</c:v>
                </c:pt>
                <c:pt idx="399" formatCode="General">
                  <c:v>89.67</c:v>
                </c:pt>
                <c:pt idx="400" formatCode="General">
                  <c:v>88.769990000000007</c:v>
                </c:pt>
                <c:pt idx="401" formatCode="General">
                  <c:v>88.31</c:v>
                </c:pt>
                <c:pt idx="402" formatCode="General">
                  <c:v>88.31</c:v>
                </c:pt>
                <c:pt idx="403" formatCode="General">
                  <c:v>88.31</c:v>
                </c:pt>
                <c:pt idx="404" formatCode="General">
                  <c:v>88.31</c:v>
                </c:pt>
                <c:pt idx="405" formatCode="General">
                  <c:v>87.85999000000001</c:v>
                </c:pt>
                <c:pt idx="406" formatCode="General">
                  <c:v>87.85999000000001</c:v>
                </c:pt>
                <c:pt idx="407" formatCode="General">
                  <c:v>87.85999000000001</c:v>
                </c:pt>
                <c:pt idx="408" formatCode="General">
                  <c:v>87.85999000000001</c:v>
                </c:pt>
                <c:pt idx="409" formatCode="General">
                  <c:v>87.85999000000001</c:v>
                </c:pt>
                <c:pt idx="410" formatCode="General">
                  <c:v>87.85999000000001</c:v>
                </c:pt>
                <c:pt idx="411" formatCode="General">
                  <c:v>85.59</c:v>
                </c:pt>
                <c:pt idx="412" formatCode="General">
                  <c:v>85.81</c:v>
                </c:pt>
                <c:pt idx="413" formatCode="General">
                  <c:v>85.81</c:v>
                </c:pt>
                <c:pt idx="414" formatCode="General">
                  <c:v>85.81</c:v>
                </c:pt>
                <c:pt idx="415" formatCode="General">
                  <c:v>85.81</c:v>
                </c:pt>
                <c:pt idx="416" formatCode="General">
                  <c:v>85.81</c:v>
                </c:pt>
                <c:pt idx="417" formatCode="General">
                  <c:v>85.129990000000006</c:v>
                </c:pt>
                <c:pt idx="418" formatCode="General">
                  <c:v>85.129990000000006</c:v>
                </c:pt>
                <c:pt idx="419" formatCode="General">
                  <c:v>85.129990000000006</c:v>
                </c:pt>
                <c:pt idx="420" formatCode="General">
                  <c:v>85.129990000000006</c:v>
                </c:pt>
                <c:pt idx="421" formatCode="General">
                  <c:v>85.129990000000006</c:v>
                </c:pt>
                <c:pt idx="422" formatCode="General">
                  <c:v>85.129990000000006</c:v>
                </c:pt>
                <c:pt idx="423" formatCode="General">
                  <c:v>85.129990000000006</c:v>
                </c:pt>
                <c:pt idx="424" formatCode="General">
                  <c:v>85.129990000000006</c:v>
                </c:pt>
                <c:pt idx="425" formatCode="General">
                  <c:v>85.129990000000006</c:v>
                </c:pt>
                <c:pt idx="426" formatCode="General">
                  <c:v>85.129990000000006</c:v>
                </c:pt>
                <c:pt idx="427" formatCode="General">
                  <c:v>85.129990000000006</c:v>
                </c:pt>
                <c:pt idx="428" formatCode="General">
                  <c:v>85.129990000000006</c:v>
                </c:pt>
                <c:pt idx="429" formatCode="General">
                  <c:v>85.129990000000006</c:v>
                </c:pt>
                <c:pt idx="430" formatCode="General">
                  <c:v>85.129990000000006</c:v>
                </c:pt>
                <c:pt idx="431" formatCode="General">
                  <c:v>84.679990000000004</c:v>
                </c:pt>
                <c:pt idx="432" formatCode="General">
                  <c:v>84.679990000000004</c:v>
                </c:pt>
                <c:pt idx="433" formatCode="General">
                  <c:v>83.31</c:v>
                </c:pt>
                <c:pt idx="434" formatCode="General">
                  <c:v>83.31</c:v>
                </c:pt>
                <c:pt idx="435" formatCode="General">
                  <c:v>82.85999000000001</c:v>
                </c:pt>
                <c:pt idx="436" formatCode="General">
                  <c:v>82.85999000000001</c:v>
                </c:pt>
                <c:pt idx="437" formatCode="General">
                  <c:v>82.85999000000001</c:v>
                </c:pt>
                <c:pt idx="438" formatCode="General">
                  <c:v>82.85999000000001</c:v>
                </c:pt>
                <c:pt idx="439" formatCode="General">
                  <c:v>81.95</c:v>
                </c:pt>
                <c:pt idx="440" formatCode="General">
                  <c:v>81.95</c:v>
                </c:pt>
                <c:pt idx="441" formatCode="General">
                  <c:v>80.579990000000009</c:v>
                </c:pt>
                <c:pt idx="442" formatCode="General">
                  <c:v>79.679990000000004</c:v>
                </c:pt>
                <c:pt idx="443" formatCode="General">
                  <c:v>79.23</c:v>
                </c:pt>
                <c:pt idx="444">
                  <c:v>79.23</c:v>
                </c:pt>
                <c:pt idx="445">
                  <c:v>78.789990000000003</c:v>
                </c:pt>
                <c:pt idx="446">
                  <c:v>78.769990000000007</c:v>
                </c:pt>
                <c:pt idx="447">
                  <c:v>78.769990000000007</c:v>
                </c:pt>
                <c:pt idx="448">
                  <c:v>76.49915</c:v>
                </c:pt>
                <c:pt idx="449">
                  <c:v>78.78</c:v>
                </c:pt>
                <c:pt idx="450" formatCode="General">
                  <c:v>78.78</c:v>
                </c:pt>
                <c:pt idx="451" formatCode="General">
                  <c:v>78.78</c:v>
                </c:pt>
                <c:pt idx="452" formatCode="General">
                  <c:v>78.78</c:v>
                </c:pt>
                <c:pt idx="453" formatCode="General">
                  <c:v>78.78</c:v>
                </c:pt>
                <c:pt idx="454" formatCode="General">
                  <c:v>78.78</c:v>
                </c:pt>
                <c:pt idx="455" formatCode="General">
                  <c:v>78.78</c:v>
                </c:pt>
                <c:pt idx="456" formatCode="General">
                  <c:v>78.78</c:v>
                </c:pt>
                <c:pt idx="457" formatCode="General">
                  <c:v>78.789990000000003</c:v>
                </c:pt>
                <c:pt idx="458" formatCode="General">
                  <c:v>78.78</c:v>
                </c:pt>
                <c:pt idx="459" formatCode="General">
                  <c:v>78.78</c:v>
                </c:pt>
                <c:pt idx="460" formatCode="General">
                  <c:v>78.78</c:v>
                </c:pt>
                <c:pt idx="461" formatCode="General">
                  <c:v>78.78</c:v>
                </c:pt>
                <c:pt idx="462" formatCode="General">
                  <c:v>78.78</c:v>
                </c:pt>
                <c:pt idx="463" formatCode="General">
                  <c:v>78.78</c:v>
                </c:pt>
                <c:pt idx="464" formatCode="General">
                  <c:v>78.329990000000009</c:v>
                </c:pt>
                <c:pt idx="465" formatCode="General">
                  <c:v>78.329990000000009</c:v>
                </c:pt>
                <c:pt idx="466" formatCode="General">
                  <c:v>78.319990000000004</c:v>
                </c:pt>
                <c:pt idx="467" formatCode="General">
                  <c:v>78.319990000000004</c:v>
                </c:pt>
                <c:pt idx="468" formatCode="General">
                  <c:v>77.879990000000006</c:v>
                </c:pt>
                <c:pt idx="469" formatCode="General">
                  <c:v>77.87</c:v>
                </c:pt>
                <c:pt idx="470" formatCode="General">
                  <c:v>77.87</c:v>
                </c:pt>
                <c:pt idx="471" formatCode="General">
                  <c:v>77.879990000000006</c:v>
                </c:pt>
                <c:pt idx="472" formatCode="General">
                  <c:v>77.42</c:v>
                </c:pt>
                <c:pt idx="473" formatCode="General">
                  <c:v>77.409990000000008</c:v>
                </c:pt>
                <c:pt idx="474" formatCode="General">
                  <c:v>77.409990000000008</c:v>
                </c:pt>
                <c:pt idx="475" formatCode="General">
                  <c:v>77.409990000000008</c:v>
                </c:pt>
                <c:pt idx="476" formatCode="General">
                  <c:v>77.409990000000008</c:v>
                </c:pt>
                <c:pt idx="477" formatCode="General">
                  <c:v>77.42</c:v>
                </c:pt>
                <c:pt idx="478" formatCode="General">
                  <c:v>77.409990000000008</c:v>
                </c:pt>
                <c:pt idx="479" formatCode="General">
                  <c:v>77.409990000000008</c:v>
                </c:pt>
                <c:pt idx="480" formatCode="General">
                  <c:v>77.409990000000008</c:v>
                </c:pt>
                <c:pt idx="481" formatCode="General">
                  <c:v>77.409990000000008</c:v>
                </c:pt>
                <c:pt idx="482" formatCode="General">
                  <c:v>77.42</c:v>
                </c:pt>
                <c:pt idx="483" formatCode="General">
                  <c:v>77.42</c:v>
                </c:pt>
                <c:pt idx="484" formatCode="General">
                  <c:v>77.399990000000003</c:v>
                </c:pt>
                <c:pt idx="485" formatCode="General">
                  <c:v>77.409990000000008</c:v>
                </c:pt>
                <c:pt idx="486" formatCode="General">
                  <c:v>77.87</c:v>
                </c:pt>
                <c:pt idx="487" formatCode="General">
                  <c:v>77.87</c:v>
                </c:pt>
                <c:pt idx="488" formatCode="General">
                  <c:v>77.87</c:v>
                </c:pt>
                <c:pt idx="489" formatCode="General">
                  <c:v>77.409990000000008</c:v>
                </c:pt>
                <c:pt idx="490" formatCode="General">
                  <c:v>77.409990000000008</c:v>
                </c:pt>
                <c:pt idx="491" formatCode="General">
                  <c:v>77.409990000000008</c:v>
                </c:pt>
                <c:pt idx="492" formatCode="General">
                  <c:v>77.409990000000008</c:v>
                </c:pt>
                <c:pt idx="493" formatCode="General">
                  <c:v>77.409990000000008</c:v>
                </c:pt>
                <c:pt idx="494" formatCode="General">
                  <c:v>77.409990000000008</c:v>
                </c:pt>
                <c:pt idx="495" formatCode="General">
                  <c:v>77.409990000000008</c:v>
                </c:pt>
                <c:pt idx="496" formatCode="General">
                  <c:v>77.409990000000008</c:v>
                </c:pt>
                <c:pt idx="497" formatCode="General">
                  <c:v>77.399990000000003</c:v>
                </c:pt>
                <c:pt idx="498" formatCode="General">
                  <c:v>77.409990000000008</c:v>
                </c:pt>
                <c:pt idx="499" formatCode="General">
                  <c:v>77.399990000000003</c:v>
                </c:pt>
                <c:pt idx="500" formatCode="General">
                  <c:v>77.399990000000003</c:v>
                </c:pt>
                <c:pt idx="501" formatCode="General">
                  <c:v>77.409990000000008</c:v>
                </c:pt>
                <c:pt idx="502" formatCode="General">
                  <c:v>77.399990000000003</c:v>
                </c:pt>
                <c:pt idx="503" formatCode="General">
                  <c:v>77.399990000000003</c:v>
                </c:pt>
                <c:pt idx="504" formatCode="General">
                  <c:v>77.409990000000008</c:v>
                </c:pt>
                <c:pt idx="505" formatCode="General">
                  <c:v>77.409990000000008</c:v>
                </c:pt>
                <c:pt idx="506" formatCode="General">
                  <c:v>77.409990000000008</c:v>
                </c:pt>
                <c:pt idx="507" formatCode="General">
                  <c:v>77.399990000000003</c:v>
                </c:pt>
                <c:pt idx="508" formatCode="General">
                  <c:v>76.489990000000006</c:v>
                </c:pt>
                <c:pt idx="509" formatCode="General">
                  <c:v>76.5</c:v>
                </c:pt>
                <c:pt idx="510" formatCode="General">
                  <c:v>76.5</c:v>
                </c:pt>
                <c:pt idx="511" formatCode="General">
                  <c:v>76.5</c:v>
                </c:pt>
                <c:pt idx="512" formatCode="General">
                  <c:v>76.489990000000006</c:v>
                </c:pt>
                <c:pt idx="513" formatCode="General">
                  <c:v>76.48</c:v>
                </c:pt>
                <c:pt idx="514" formatCode="General">
                  <c:v>76.5</c:v>
                </c:pt>
                <c:pt idx="515" formatCode="General">
                  <c:v>76.5</c:v>
                </c:pt>
                <c:pt idx="516" formatCode="General">
                  <c:v>76.509990000000002</c:v>
                </c:pt>
                <c:pt idx="517" formatCode="General">
                  <c:v>76.519990000000007</c:v>
                </c:pt>
                <c:pt idx="518" formatCode="General">
                  <c:v>76.439990000000009</c:v>
                </c:pt>
                <c:pt idx="519" formatCode="General">
                  <c:v>76.509990000000002</c:v>
                </c:pt>
                <c:pt idx="520" formatCode="General">
                  <c:v>76.509990000000002</c:v>
                </c:pt>
                <c:pt idx="521" formatCode="General">
                  <c:v>76.5</c:v>
                </c:pt>
                <c:pt idx="522" formatCode="General">
                  <c:v>76.509990000000002</c:v>
                </c:pt>
                <c:pt idx="523" formatCode="General">
                  <c:v>76.509990000000002</c:v>
                </c:pt>
                <c:pt idx="524" formatCode="General">
                  <c:v>76.5</c:v>
                </c:pt>
                <c:pt idx="525" formatCode="General">
                  <c:v>76.509990000000002</c:v>
                </c:pt>
                <c:pt idx="526" formatCode="General">
                  <c:v>76.049990000000008</c:v>
                </c:pt>
                <c:pt idx="527" formatCode="General">
                  <c:v>76.039990000000003</c:v>
                </c:pt>
                <c:pt idx="528" formatCode="General">
                  <c:v>76.049990000000008</c:v>
                </c:pt>
                <c:pt idx="529" formatCode="General">
                  <c:v>76.06</c:v>
                </c:pt>
                <c:pt idx="530" formatCode="General">
                  <c:v>76.049990000000008</c:v>
                </c:pt>
                <c:pt idx="531" formatCode="General">
                  <c:v>76.039990000000003</c:v>
                </c:pt>
                <c:pt idx="532" formatCode="General">
                  <c:v>76.039990000000003</c:v>
                </c:pt>
                <c:pt idx="533" formatCode="General">
                  <c:v>76.049990000000008</c:v>
                </c:pt>
                <c:pt idx="534" formatCode="General">
                  <c:v>76.049990000000008</c:v>
                </c:pt>
                <c:pt idx="535" formatCode="General">
                  <c:v>76.049990000000008</c:v>
                </c:pt>
                <c:pt idx="536" formatCode="General">
                  <c:v>76.049990000000008</c:v>
                </c:pt>
                <c:pt idx="537" formatCode="General">
                  <c:v>75.129990000000006</c:v>
                </c:pt>
                <c:pt idx="538" formatCode="General">
                  <c:v>75.149990000000003</c:v>
                </c:pt>
                <c:pt idx="539" formatCode="General">
                  <c:v>75.149990000000003</c:v>
                </c:pt>
                <c:pt idx="540" formatCode="General">
                  <c:v>75.14</c:v>
                </c:pt>
                <c:pt idx="541" formatCode="General">
                  <c:v>75.53</c:v>
                </c:pt>
                <c:pt idx="542" formatCode="General">
                  <c:v>75.14</c:v>
                </c:pt>
                <c:pt idx="543" formatCode="General">
                  <c:v>75.129990000000006</c:v>
                </c:pt>
                <c:pt idx="544" formatCode="General">
                  <c:v>75.14</c:v>
                </c:pt>
                <c:pt idx="545" formatCode="General">
                  <c:v>75.14</c:v>
                </c:pt>
                <c:pt idx="546" formatCode="General">
                  <c:v>75.129990000000006</c:v>
                </c:pt>
                <c:pt idx="547" formatCode="General">
                  <c:v>75.14</c:v>
                </c:pt>
                <c:pt idx="548" formatCode="General">
                  <c:v>75.129990000000006</c:v>
                </c:pt>
                <c:pt idx="549" formatCode="General">
                  <c:v>75.149990000000003</c:v>
                </c:pt>
                <c:pt idx="550" formatCode="General">
                  <c:v>75.14</c:v>
                </c:pt>
                <c:pt idx="551" formatCode="General">
                  <c:v>75.129990000000006</c:v>
                </c:pt>
                <c:pt idx="552" formatCode="General">
                  <c:v>75.129990000000006</c:v>
                </c:pt>
                <c:pt idx="553" formatCode="General">
                  <c:v>75.14</c:v>
                </c:pt>
                <c:pt idx="554" formatCode="General">
                  <c:v>75.129990000000006</c:v>
                </c:pt>
                <c:pt idx="555" formatCode="General">
                  <c:v>75.129990000000006</c:v>
                </c:pt>
                <c:pt idx="556" formatCode="General">
                  <c:v>75.14</c:v>
                </c:pt>
                <c:pt idx="557" formatCode="General">
                  <c:v>75.14</c:v>
                </c:pt>
                <c:pt idx="558" formatCode="General">
                  <c:v>75.129990000000006</c:v>
                </c:pt>
                <c:pt idx="559" formatCode="General">
                  <c:v>75.14</c:v>
                </c:pt>
                <c:pt idx="560" formatCode="General">
                  <c:v>75.129990000000006</c:v>
                </c:pt>
                <c:pt idx="561" formatCode="General">
                  <c:v>75.14</c:v>
                </c:pt>
                <c:pt idx="562" formatCode="General">
                  <c:v>74.679990000000004</c:v>
                </c:pt>
                <c:pt idx="563" formatCode="General">
                  <c:v>73.769990000000007</c:v>
                </c:pt>
                <c:pt idx="564" formatCode="General">
                  <c:v>72.399990000000003</c:v>
                </c:pt>
                <c:pt idx="565" formatCode="General">
                  <c:v>72.409990000000008</c:v>
                </c:pt>
                <c:pt idx="566" formatCode="General">
                  <c:v>72.399990000000003</c:v>
                </c:pt>
                <c:pt idx="567" formatCode="General">
                  <c:v>72.409990000000008</c:v>
                </c:pt>
                <c:pt idx="568" formatCode="General">
                  <c:v>72.399990000000003</c:v>
                </c:pt>
                <c:pt idx="569" formatCode="General">
                  <c:v>72.39</c:v>
                </c:pt>
                <c:pt idx="570" formatCode="General">
                  <c:v>72.409990000000008</c:v>
                </c:pt>
                <c:pt idx="571" formatCode="General">
                  <c:v>72.399990000000003</c:v>
                </c:pt>
                <c:pt idx="572" formatCode="General">
                  <c:v>72.409990000000008</c:v>
                </c:pt>
                <c:pt idx="573" formatCode="General">
                  <c:v>72.409990000000008</c:v>
                </c:pt>
                <c:pt idx="574" formatCode="General">
                  <c:v>72.399990000000003</c:v>
                </c:pt>
                <c:pt idx="575" formatCode="General">
                  <c:v>72.399990000000003</c:v>
                </c:pt>
                <c:pt idx="576" formatCode="General">
                  <c:v>72.409990000000008</c:v>
                </c:pt>
                <c:pt idx="577" formatCode="General">
                  <c:v>72.399990000000003</c:v>
                </c:pt>
                <c:pt idx="578" formatCode="General">
                  <c:v>71.489990000000006</c:v>
                </c:pt>
                <c:pt idx="579" formatCode="General">
                  <c:v>71.5</c:v>
                </c:pt>
                <c:pt idx="580" formatCode="General">
                  <c:v>71.489990000000006</c:v>
                </c:pt>
                <c:pt idx="581" formatCode="General">
                  <c:v>71.5</c:v>
                </c:pt>
                <c:pt idx="582" formatCode="General">
                  <c:v>68.78</c:v>
                </c:pt>
                <c:pt idx="583" formatCode="General">
                  <c:v>67.39</c:v>
                </c:pt>
                <c:pt idx="584" formatCode="General">
                  <c:v>64.659990000000008</c:v>
                </c:pt>
                <c:pt idx="585" formatCode="General">
                  <c:v>64.67</c:v>
                </c:pt>
                <c:pt idx="586" formatCode="General">
                  <c:v>64.659990000000008</c:v>
                </c:pt>
                <c:pt idx="587" formatCode="General">
                  <c:v>68.31</c:v>
                </c:pt>
                <c:pt idx="588" formatCode="General">
                  <c:v>59.649990000000003</c:v>
                </c:pt>
                <c:pt idx="589" formatCode="General">
                  <c:v>57.859990000000003</c:v>
                </c:pt>
                <c:pt idx="590" formatCode="General">
                  <c:v>57.84</c:v>
                </c:pt>
                <c:pt idx="591" formatCode="General">
                  <c:v>57.819990000000004</c:v>
                </c:pt>
                <c:pt idx="592" formatCode="General">
                  <c:v>57.81</c:v>
                </c:pt>
                <c:pt idx="593" formatCode="General">
                  <c:v>57.829990000000002</c:v>
                </c:pt>
                <c:pt idx="594" formatCode="General">
                  <c:v>57.819990000000004</c:v>
                </c:pt>
                <c:pt idx="595" formatCode="General">
                  <c:v>57.81</c:v>
                </c:pt>
                <c:pt idx="596" formatCode="General">
                  <c:v>57.819990000000004</c:v>
                </c:pt>
                <c:pt idx="597" formatCode="General">
                  <c:v>57.81</c:v>
                </c:pt>
                <c:pt idx="598" formatCode="General">
                  <c:v>53.730000000000004</c:v>
                </c:pt>
                <c:pt idx="599" formatCode="General">
                  <c:v>57.829990000000002</c:v>
                </c:pt>
                <c:pt idx="600" formatCode="General">
                  <c:v>57.829990000000002</c:v>
                </c:pt>
                <c:pt idx="601" formatCode="General">
                  <c:v>57.81</c:v>
                </c:pt>
                <c:pt idx="602" formatCode="General">
                  <c:v>56.469990000000003</c:v>
                </c:pt>
                <c:pt idx="603" formatCode="General">
                  <c:v>56.439990000000002</c:v>
                </c:pt>
                <c:pt idx="604" formatCode="General">
                  <c:v>56.459990000000005</c:v>
                </c:pt>
                <c:pt idx="605" formatCode="General">
                  <c:v>54.17</c:v>
                </c:pt>
                <c:pt idx="606" formatCode="General">
                  <c:v>54.179990000000004</c:v>
                </c:pt>
                <c:pt idx="607" formatCode="General">
                  <c:v>51.909990000000008</c:v>
                </c:pt>
                <c:pt idx="608" formatCode="General">
                  <c:v>51.890000000000008</c:v>
                </c:pt>
                <c:pt idx="609" formatCode="General">
                  <c:v>51.429990000000004</c:v>
                </c:pt>
                <c:pt idx="610" formatCode="General">
                  <c:v>51.439990000000002</c:v>
                </c:pt>
                <c:pt idx="611" formatCode="General">
                  <c:v>51.439990000000002</c:v>
                </c:pt>
                <c:pt idx="612" formatCode="General">
                  <c:v>51.439990000000002</c:v>
                </c:pt>
                <c:pt idx="613" formatCode="General">
                  <c:v>50.049990000000001</c:v>
                </c:pt>
                <c:pt idx="614" formatCode="General">
                  <c:v>51.439990000000002</c:v>
                </c:pt>
                <c:pt idx="615" formatCode="General">
                  <c:v>50.049990000000001</c:v>
                </c:pt>
                <c:pt idx="616" formatCode="General">
                  <c:v>50.049990000000001</c:v>
                </c:pt>
                <c:pt idx="617" formatCode="General">
                  <c:v>45.500000000000007</c:v>
                </c:pt>
                <c:pt idx="618" formatCode="General">
                  <c:v>45.500000000000007</c:v>
                </c:pt>
                <c:pt idx="619" formatCode="General">
                  <c:v>45.500000000000007</c:v>
                </c:pt>
                <c:pt idx="620" formatCode="General">
                  <c:v>45.500000000000007</c:v>
                </c:pt>
                <c:pt idx="621" formatCode="General">
                  <c:v>45.500000000000007</c:v>
                </c:pt>
                <c:pt idx="622" formatCode="General">
                  <c:v>45.500000000000007</c:v>
                </c:pt>
                <c:pt idx="623" formatCode="General">
                  <c:v>45.500000000000007</c:v>
                </c:pt>
                <c:pt idx="624" formatCode="General">
                  <c:v>46.409990000000001</c:v>
                </c:pt>
                <c:pt idx="625" formatCode="General">
                  <c:v>46.409990000000001</c:v>
                </c:pt>
                <c:pt idx="626" formatCode="General">
                  <c:v>46.409990000000001</c:v>
                </c:pt>
                <c:pt idx="627" formatCode="General">
                  <c:v>46.409990000000001</c:v>
                </c:pt>
                <c:pt idx="628" formatCode="General">
                  <c:v>46.409990000000001</c:v>
                </c:pt>
                <c:pt idx="629" formatCode="General">
                  <c:v>46.409990000000001</c:v>
                </c:pt>
                <c:pt idx="630" formatCode="General">
                  <c:v>46.409990000000001</c:v>
                </c:pt>
                <c:pt idx="631" formatCode="General">
                  <c:v>46.409990000000001</c:v>
                </c:pt>
                <c:pt idx="632" formatCode="General">
                  <c:v>46.409990000000001</c:v>
                </c:pt>
                <c:pt idx="633" formatCode="General">
                  <c:v>46.409990000000001</c:v>
                </c:pt>
                <c:pt idx="634" formatCode="General">
                  <c:v>46.409990000000001</c:v>
                </c:pt>
                <c:pt idx="635" formatCode="General">
                  <c:v>46.409990000000001</c:v>
                </c:pt>
                <c:pt idx="636" formatCode="General">
                  <c:v>46.409990000000001</c:v>
                </c:pt>
                <c:pt idx="637" formatCode="General">
                  <c:v>46.409990000000001</c:v>
                </c:pt>
                <c:pt idx="638" formatCode="General">
                  <c:v>46.409990000000001</c:v>
                </c:pt>
                <c:pt idx="639" formatCode="General">
                  <c:v>46.409990000000001</c:v>
                </c:pt>
                <c:pt idx="640" formatCode="General">
                  <c:v>46.409990000000001</c:v>
                </c:pt>
                <c:pt idx="641" formatCode="General">
                  <c:v>43.629990000000006</c:v>
                </c:pt>
                <c:pt idx="642" formatCode="General">
                  <c:v>43.659990000000001</c:v>
                </c:pt>
                <c:pt idx="643" formatCode="General">
                  <c:v>40.899990000000003</c:v>
                </c:pt>
                <c:pt idx="644" formatCode="General">
                  <c:v>41.81</c:v>
                </c:pt>
                <c:pt idx="645" formatCode="General">
                  <c:v>40.929990000000004</c:v>
                </c:pt>
                <c:pt idx="646" formatCode="General">
                  <c:v>40.929990000000004</c:v>
                </c:pt>
                <c:pt idx="647" formatCode="General">
                  <c:v>40.950000000000003</c:v>
                </c:pt>
                <c:pt idx="648" formatCode="General">
                  <c:v>40.950000000000003</c:v>
                </c:pt>
                <c:pt idx="649" formatCode="General">
                  <c:v>40.929990000000004</c:v>
                </c:pt>
                <c:pt idx="650" formatCode="General">
                  <c:v>40.929990000000004</c:v>
                </c:pt>
                <c:pt idx="651" formatCode="General">
                  <c:v>39.76999</c:v>
                </c:pt>
                <c:pt idx="652" formatCode="General">
                  <c:v>40.909990000000001</c:v>
                </c:pt>
                <c:pt idx="653" formatCode="General">
                  <c:v>40.899990000000003</c:v>
                </c:pt>
                <c:pt idx="654" formatCode="General">
                  <c:v>40.92</c:v>
                </c:pt>
                <c:pt idx="655" formatCode="General">
                  <c:v>40.92</c:v>
                </c:pt>
                <c:pt idx="656" formatCode="General">
                  <c:v>40.939990000000002</c:v>
                </c:pt>
                <c:pt idx="657" formatCode="General">
                  <c:v>40.899990000000003</c:v>
                </c:pt>
                <c:pt idx="658" formatCode="General">
                  <c:v>40.939990000000002</c:v>
                </c:pt>
                <c:pt idx="659" formatCode="General">
                  <c:v>40.959990000000005</c:v>
                </c:pt>
                <c:pt idx="660" formatCode="General">
                  <c:v>40.929990000000004</c:v>
                </c:pt>
                <c:pt idx="661" formatCode="General">
                  <c:v>40.92</c:v>
                </c:pt>
                <c:pt idx="662" formatCode="General">
                  <c:v>40.929990000000004</c:v>
                </c:pt>
                <c:pt idx="663" formatCode="General">
                  <c:v>40.950000000000003</c:v>
                </c:pt>
                <c:pt idx="664" formatCode="General">
                  <c:v>40.92</c:v>
                </c:pt>
                <c:pt idx="665" formatCode="General">
                  <c:v>40.929990000000004</c:v>
                </c:pt>
                <c:pt idx="666" formatCode="General">
                  <c:v>40.939990000000002</c:v>
                </c:pt>
                <c:pt idx="667" formatCode="General">
                  <c:v>40.939990000000002</c:v>
                </c:pt>
                <c:pt idx="668" formatCode="General">
                  <c:v>40.909990000000001</c:v>
                </c:pt>
                <c:pt idx="669" formatCode="General">
                  <c:v>40.950000000000003</c:v>
                </c:pt>
                <c:pt idx="670" formatCode="General">
                  <c:v>41.34</c:v>
                </c:pt>
                <c:pt idx="671" formatCode="General">
                  <c:v>41.34</c:v>
                </c:pt>
                <c:pt idx="672" formatCode="General">
                  <c:v>41.34</c:v>
                </c:pt>
                <c:pt idx="673" formatCode="General">
                  <c:v>41.349990000000005</c:v>
                </c:pt>
                <c:pt idx="674" formatCode="General">
                  <c:v>41.39</c:v>
                </c:pt>
                <c:pt idx="675" formatCode="General">
                  <c:v>41.39</c:v>
                </c:pt>
                <c:pt idx="676" formatCode="General">
                  <c:v>41.329990000000002</c:v>
                </c:pt>
                <c:pt idx="677" formatCode="General">
                  <c:v>41.349990000000005</c:v>
                </c:pt>
                <c:pt idx="678" formatCode="General">
                  <c:v>41.349990000000005</c:v>
                </c:pt>
                <c:pt idx="679" formatCode="General">
                  <c:v>41.759990000000002</c:v>
                </c:pt>
                <c:pt idx="680" formatCode="General">
                  <c:v>41.349990000000005</c:v>
                </c:pt>
                <c:pt idx="681" formatCode="General">
                  <c:v>41.349990000000005</c:v>
                </c:pt>
                <c:pt idx="682" formatCode="General">
                  <c:v>41.359990000000003</c:v>
                </c:pt>
                <c:pt idx="683" formatCode="General">
                  <c:v>41.349990000000005</c:v>
                </c:pt>
                <c:pt idx="684" formatCode="General">
                  <c:v>41.359990000000003</c:v>
                </c:pt>
                <c:pt idx="685" formatCode="General">
                  <c:v>41.319990000000004</c:v>
                </c:pt>
                <c:pt idx="686" formatCode="General">
                  <c:v>41.34</c:v>
                </c:pt>
                <c:pt idx="687" formatCode="General">
                  <c:v>41.329990000000002</c:v>
                </c:pt>
                <c:pt idx="688" formatCode="General">
                  <c:v>41.349990000000005</c:v>
                </c:pt>
                <c:pt idx="689" formatCode="General">
                  <c:v>41.329990000000002</c:v>
                </c:pt>
                <c:pt idx="690" formatCode="General">
                  <c:v>43.159990000000001</c:v>
                </c:pt>
                <c:pt idx="691" formatCode="General">
                  <c:v>43.17</c:v>
                </c:pt>
                <c:pt idx="692" formatCode="General">
                  <c:v>43.17</c:v>
                </c:pt>
                <c:pt idx="693" formatCode="General">
                  <c:v>43.209990000000005</c:v>
                </c:pt>
                <c:pt idx="694" formatCode="General">
                  <c:v>43.209990000000005</c:v>
                </c:pt>
                <c:pt idx="695" formatCode="General">
                  <c:v>43.209990000000005</c:v>
                </c:pt>
                <c:pt idx="696" formatCode="General">
                  <c:v>43.189990000000002</c:v>
                </c:pt>
                <c:pt idx="697" formatCode="General">
                  <c:v>43.209990000000005</c:v>
                </c:pt>
                <c:pt idx="698" formatCode="General">
                  <c:v>43.189990000000002</c:v>
                </c:pt>
                <c:pt idx="699" formatCode="General">
                  <c:v>43.230000000000004</c:v>
                </c:pt>
                <c:pt idx="700" formatCode="General">
                  <c:v>43.2</c:v>
                </c:pt>
                <c:pt idx="701" formatCode="General">
                  <c:v>43.179990000000004</c:v>
                </c:pt>
                <c:pt idx="702" formatCode="General">
                  <c:v>43.2</c:v>
                </c:pt>
                <c:pt idx="703" formatCode="General">
                  <c:v>43.219990000000003</c:v>
                </c:pt>
                <c:pt idx="704" formatCode="General">
                  <c:v>40.899990000000003</c:v>
                </c:pt>
                <c:pt idx="705" formatCode="General">
                  <c:v>43.219990000000003</c:v>
                </c:pt>
                <c:pt idx="706" formatCode="General">
                  <c:v>43.209990000000005</c:v>
                </c:pt>
                <c:pt idx="707" formatCode="General">
                  <c:v>45.03</c:v>
                </c:pt>
                <c:pt idx="708" formatCode="General">
                  <c:v>45.019990000000007</c:v>
                </c:pt>
                <c:pt idx="709" formatCode="General">
                  <c:v>45.03</c:v>
                </c:pt>
                <c:pt idx="710" formatCode="General">
                  <c:v>44.269990000000007</c:v>
                </c:pt>
                <c:pt idx="711" formatCode="General">
                  <c:v>44.269990000000007</c:v>
                </c:pt>
                <c:pt idx="712" formatCode="General">
                  <c:v>44.269990000000007</c:v>
                </c:pt>
                <c:pt idx="713" formatCode="General">
                  <c:v>44.269990000000007</c:v>
                </c:pt>
                <c:pt idx="714" formatCode="General">
                  <c:v>44.259990000000002</c:v>
                </c:pt>
                <c:pt idx="715" formatCode="General">
                  <c:v>45.179990000000004</c:v>
                </c:pt>
                <c:pt idx="716" formatCode="General">
                  <c:v>45.17</c:v>
                </c:pt>
                <c:pt idx="717" formatCode="General">
                  <c:v>45.179990000000004</c:v>
                </c:pt>
                <c:pt idx="718" formatCode="General">
                  <c:v>45.629990000000006</c:v>
                </c:pt>
                <c:pt idx="719" formatCode="General">
                  <c:v>45.64</c:v>
                </c:pt>
                <c:pt idx="720" formatCode="General">
                  <c:v>45.629990000000006</c:v>
                </c:pt>
                <c:pt idx="721" formatCode="General">
                  <c:v>47.329990000000002</c:v>
                </c:pt>
                <c:pt idx="722" formatCode="General">
                  <c:v>45.64</c:v>
                </c:pt>
                <c:pt idx="723" formatCode="General">
                  <c:v>45.629990000000006</c:v>
                </c:pt>
                <c:pt idx="724" formatCode="General">
                  <c:v>45.64</c:v>
                </c:pt>
                <c:pt idx="725" formatCode="General">
                  <c:v>45.620000000000005</c:v>
                </c:pt>
                <c:pt idx="726" formatCode="General">
                  <c:v>45.67</c:v>
                </c:pt>
                <c:pt idx="727" formatCode="General">
                  <c:v>45.709990000000005</c:v>
                </c:pt>
                <c:pt idx="728" formatCode="General">
                  <c:v>45.629990000000006</c:v>
                </c:pt>
                <c:pt idx="729" formatCode="General">
                  <c:v>45.620000000000005</c:v>
                </c:pt>
                <c:pt idx="730" formatCode="General">
                  <c:v>47.019990000000007</c:v>
                </c:pt>
                <c:pt idx="731" formatCode="General">
                  <c:v>47.000000000000007</c:v>
                </c:pt>
                <c:pt idx="732" formatCode="General">
                  <c:v>46.989990000000006</c:v>
                </c:pt>
                <c:pt idx="733" formatCode="General">
                  <c:v>46.969990000000003</c:v>
                </c:pt>
                <c:pt idx="734" formatCode="General">
                  <c:v>47.000000000000007</c:v>
                </c:pt>
                <c:pt idx="735" formatCode="General">
                  <c:v>47.45</c:v>
                </c:pt>
                <c:pt idx="736" formatCode="General">
                  <c:v>47.459990000000005</c:v>
                </c:pt>
                <c:pt idx="737" formatCode="General">
                  <c:v>46.870000000000005</c:v>
                </c:pt>
                <c:pt idx="738" formatCode="General">
                  <c:v>46.859990000000003</c:v>
                </c:pt>
                <c:pt idx="739" formatCode="General">
                  <c:v>46.849990000000005</c:v>
                </c:pt>
                <c:pt idx="740" formatCode="General">
                  <c:v>46.849990000000005</c:v>
                </c:pt>
                <c:pt idx="741" formatCode="General">
                  <c:v>46.859990000000003</c:v>
                </c:pt>
                <c:pt idx="742" formatCode="General">
                  <c:v>46.849990000000005</c:v>
                </c:pt>
                <c:pt idx="743" formatCode="General">
                  <c:v>46.849990000000005</c:v>
                </c:pt>
                <c:pt idx="744" formatCode="General">
                  <c:v>46.859990000000003</c:v>
                </c:pt>
                <c:pt idx="745" formatCode="General">
                  <c:v>46.849990000000005</c:v>
                </c:pt>
                <c:pt idx="746" formatCode="General">
                  <c:v>46.849990000000005</c:v>
                </c:pt>
                <c:pt idx="747" formatCode="General">
                  <c:v>46.849990000000005</c:v>
                </c:pt>
                <c:pt idx="748" formatCode="General">
                  <c:v>46.849990000000005</c:v>
                </c:pt>
                <c:pt idx="749" formatCode="General">
                  <c:v>46.849990000000005</c:v>
                </c:pt>
                <c:pt idx="750" formatCode="General">
                  <c:v>46.849990000000005</c:v>
                </c:pt>
                <c:pt idx="751" formatCode="General">
                  <c:v>46.849990000000005</c:v>
                </c:pt>
                <c:pt idx="752" formatCode="General">
                  <c:v>46.849990000000005</c:v>
                </c:pt>
                <c:pt idx="753" formatCode="General">
                  <c:v>46.849990000000005</c:v>
                </c:pt>
                <c:pt idx="754" formatCode="General">
                  <c:v>46.849990000000005</c:v>
                </c:pt>
                <c:pt idx="755" formatCode="General">
                  <c:v>46.84</c:v>
                </c:pt>
                <c:pt idx="756" formatCode="General">
                  <c:v>46.84</c:v>
                </c:pt>
                <c:pt idx="757" formatCode="General">
                  <c:v>46.84</c:v>
                </c:pt>
                <c:pt idx="758" formatCode="General">
                  <c:v>46.84</c:v>
                </c:pt>
                <c:pt idx="759" formatCode="General">
                  <c:v>46.84</c:v>
                </c:pt>
                <c:pt idx="760" formatCode="General">
                  <c:v>46.829990000000002</c:v>
                </c:pt>
                <c:pt idx="761" formatCode="General">
                  <c:v>46.84</c:v>
                </c:pt>
                <c:pt idx="762" formatCode="General">
                  <c:v>46.84</c:v>
                </c:pt>
                <c:pt idx="763" formatCode="General">
                  <c:v>46.84</c:v>
                </c:pt>
                <c:pt idx="764" formatCode="General">
                  <c:v>46.84</c:v>
                </c:pt>
                <c:pt idx="765" formatCode="General">
                  <c:v>47.730000000000004</c:v>
                </c:pt>
                <c:pt idx="766" formatCode="General">
                  <c:v>47.750000000000007</c:v>
                </c:pt>
                <c:pt idx="767" formatCode="General">
                  <c:v>47.750000000000007</c:v>
                </c:pt>
                <c:pt idx="768" formatCode="General">
                  <c:v>47.750000000000007</c:v>
                </c:pt>
                <c:pt idx="769" formatCode="General">
                  <c:v>48.679990000000004</c:v>
                </c:pt>
                <c:pt idx="770" formatCode="General">
                  <c:v>48.659990000000001</c:v>
                </c:pt>
                <c:pt idx="771" formatCode="General">
                  <c:v>49.59</c:v>
                </c:pt>
                <c:pt idx="772" formatCode="General">
                  <c:v>51.849990000000005</c:v>
                </c:pt>
                <c:pt idx="773" formatCode="General">
                  <c:v>51.399990000000003</c:v>
                </c:pt>
                <c:pt idx="774" formatCode="General">
                  <c:v>51.399990000000003</c:v>
                </c:pt>
                <c:pt idx="775" formatCode="General">
                  <c:v>51.409990000000008</c:v>
                </c:pt>
                <c:pt idx="776" formatCode="General">
                  <c:v>51.409990000000008</c:v>
                </c:pt>
                <c:pt idx="777" formatCode="General">
                  <c:v>51.409990000000008</c:v>
                </c:pt>
                <c:pt idx="778" formatCode="General">
                  <c:v>51.409990000000008</c:v>
                </c:pt>
                <c:pt idx="779" formatCode="General">
                  <c:v>51.409990000000008</c:v>
                </c:pt>
                <c:pt idx="780" formatCode="General">
                  <c:v>51.399990000000003</c:v>
                </c:pt>
                <c:pt idx="781" formatCode="General">
                  <c:v>51.859990000000003</c:v>
                </c:pt>
                <c:pt idx="782" formatCode="General">
                  <c:v>51.859990000000003</c:v>
                </c:pt>
                <c:pt idx="783" formatCode="General">
                  <c:v>51.859990000000003</c:v>
                </c:pt>
                <c:pt idx="784" formatCode="General">
                  <c:v>52.750000000000007</c:v>
                </c:pt>
                <c:pt idx="785" formatCode="General">
                  <c:v>52.769990000000007</c:v>
                </c:pt>
                <c:pt idx="786" formatCode="General">
                  <c:v>52.739990000000006</c:v>
                </c:pt>
                <c:pt idx="787" formatCode="General">
                  <c:v>52.769990000000007</c:v>
                </c:pt>
                <c:pt idx="788" formatCode="General">
                  <c:v>52.759990000000002</c:v>
                </c:pt>
                <c:pt idx="789" formatCode="General">
                  <c:v>52.769990000000007</c:v>
                </c:pt>
                <c:pt idx="790" formatCode="General">
                  <c:v>52.769990000000007</c:v>
                </c:pt>
                <c:pt idx="791" formatCode="General">
                  <c:v>52.769990000000007</c:v>
                </c:pt>
                <c:pt idx="792" formatCode="General">
                  <c:v>51.870000000000005</c:v>
                </c:pt>
                <c:pt idx="793" formatCode="General">
                  <c:v>51.390000000000008</c:v>
                </c:pt>
                <c:pt idx="794" formatCode="General">
                  <c:v>50.03</c:v>
                </c:pt>
                <c:pt idx="795" formatCode="General">
                  <c:v>50.039990000000003</c:v>
                </c:pt>
                <c:pt idx="796" formatCode="General">
                  <c:v>50.039990000000003</c:v>
                </c:pt>
                <c:pt idx="797" formatCode="General">
                  <c:v>50.039990000000003</c:v>
                </c:pt>
                <c:pt idx="798" formatCode="General">
                  <c:v>49.569990000000004</c:v>
                </c:pt>
                <c:pt idx="799" formatCode="General">
                  <c:v>48.259990000000002</c:v>
                </c:pt>
                <c:pt idx="800" formatCode="General">
                  <c:v>48.209990000000005</c:v>
                </c:pt>
                <c:pt idx="801" formatCode="General">
                  <c:v>46.399990000000003</c:v>
                </c:pt>
                <c:pt idx="802" formatCode="General">
                  <c:v>46.398470000000003</c:v>
                </c:pt>
                <c:pt idx="803" formatCode="General">
                  <c:v>46.400340000000007</c:v>
                </c:pt>
                <c:pt idx="804" formatCode="General">
                  <c:v>46.849990000000005</c:v>
                </c:pt>
                <c:pt idx="805" formatCode="General">
                  <c:v>46.849990000000005</c:v>
                </c:pt>
                <c:pt idx="806" formatCode="General">
                  <c:v>46.399990000000003</c:v>
                </c:pt>
                <c:pt idx="807" formatCode="General">
                  <c:v>46.399990000000003</c:v>
                </c:pt>
                <c:pt idx="808" formatCode="General">
                  <c:v>46.39</c:v>
                </c:pt>
                <c:pt idx="809" formatCode="General">
                  <c:v>46.399990000000003</c:v>
                </c:pt>
                <c:pt idx="810" formatCode="General">
                  <c:v>46.399990000000003</c:v>
                </c:pt>
                <c:pt idx="811" formatCode="General">
                  <c:v>45.489990000000006</c:v>
                </c:pt>
                <c:pt idx="812" formatCode="General">
                  <c:v>45.489990000000006</c:v>
                </c:pt>
                <c:pt idx="813" formatCode="General">
                  <c:v>45.489990000000006</c:v>
                </c:pt>
                <c:pt idx="814" formatCode="General">
                  <c:v>45.489990000000006</c:v>
                </c:pt>
                <c:pt idx="815" formatCode="General">
                  <c:v>45.500000000000007</c:v>
                </c:pt>
                <c:pt idx="816" formatCode="General">
                  <c:v>43.219990000000003</c:v>
                </c:pt>
                <c:pt idx="817" formatCode="General">
                  <c:v>43.209990000000005</c:v>
                </c:pt>
                <c:pt idx="818" formatCode="General">
                  <c:v>43.219990000000003</c:v>
                </c:pt>
                <c:pt idx="819" formatCode="General">
                  <c:v>43.209990000000005</c:v>
                </c:pt>
                <c:pt idx="820" formatCode="General">
                  <c:v>43.219990000000003</c:v>
                </c:pt>
                <c:pt idx="821" formatCode="General">
                  <c:v>43.219990000000003</c:v>
                </c:pt>
                <c:pt idx="822" formatCode="General">
                  <c:v>43.67</c:v>
                </c:pt>
                <c:pt idx="823" formatCode="General">
                  <c:v>43.219990000000003</c:v>
                </c:pt>
                <c:pt idx="824" formatCode="General">
                  <c:v>43.219990000000003</c:v>
                </c:pt>
                <c:pt idx="825" formatCode="General">
                  <c:v>43.209990000000005</c:v>
                </c:pt>
                <c:pt idx="826" formatCode="General">
                  <c:v>43.209990000000005</c:v>
                </c:pt>
                <c:pt idx="827" formatCode="General">
                  <c:v>43.2</c:v>
                </c:pt>
                <c:pt idx="828" formatCode="General">
                  <c:v>43.2</c:v>
                </c:pt>
                <c:pt idx="829" formatCode="General">
                  <c:v>43.209990000000005</c:v>
                </c:pt>
                <c:pt idx="830" formatCode="General">
                  <c:v>42.759990000000002</c:v>
                </c:pt>
                <c:pt idx="831" formatCode="General">
                  <c:v>41.84</c:v>
                </c:pt>
                <c:pt idx="832" formatCode="General">
                  <c:v>41.84</c:v>
                </c:pt>
                <c:pt idx="833" formatCode="General">
                  <c:v>41.379990000000006</c:v>
                </c:pt>
                <c:pt idx="834" formatCode="General">
                  <c:v>42.26999</c:v>
                </c:pt>
                <c:pt idx="835" formatCode="General">
                  <c:v>42.299990000000001</c:v>
                </c:pt>
                <c:pt idx="836" formatCode="General">
                  <c:v>42.289990000000003</c:v>
                </c:pt>
                <c:pt idx="837" formatCode="General">
                  <c:v>42.299990000000001</c:v>
                </c:pt>
                <c:pt idx="838" formatCode="General">
                  <c:v>42.259990000000002</c:v>
                </c:pt>
                <c:pt idx="839" formatCode="General">
                  <c:v>42.319990000000004</c:v>
                </c:pt>
                <c:pt idx="840" formatCode="General">
                  <c:v>42.289990000000003</c:v>
                </c:pt>
                <c:pt idx="841" formatCode="General">
                  <c:v>42.31</c:v>
                </c:pt>
                <c:pt idx="842" formatCode="General">
                  <c:v>41.859990000000003</c:v>
                </c:pt>
                <c:pt idx="843" formatCode="General">
                  <c:v>41.859990000000003</c:v>
                </c:pt>
                <c:pt idx="844" formatCode="General">
                  <c:v>41.859990000000003</c:v>
                </c:pt>
                <c:pt idx="845" formatCode="General">
                  <c:v>41.870000000000005</c:v>
                </c:pt>
                <c:pt idx="846" formatCode="General">
                  <c:v>42.319990000000004</c:v>
                </c:pt>
                <c:pt idx="847" formatCode="General">
                  <c:v>42.319990000000004</c:v>
                </c:pt>
                <c:pt idx="848" formatCode="General">
                  <c:v>42.319990000000004</c:v>
                </c:pt>
                <c:pt idx="849" formatCode="General">
                  <c:v>42.319990000000004</c:v>
                </c:pt>
                <c:pt idx="850" formatCode="General">
                  <c:v>42.319990000000004</c:v>
                </c:pt>
                <c:pt idx="851" formatCode="General">
                  <c:v>42.319990000000004</c:v>
                </c:pt>
                <c:pt idx="852" formatCode="General">
                  <c:v>42.319990000000004</c:v>
                </c:pt>
                <c:pt idx="853" formatCode="General">
                  <c:v>42.319990000000004</c:v>
                </c:pt>
                <c:pt idx="854" formatCode="General">
                  <c:v>42.319990000000004</c:v>
                </c:pt>
                <c:pt idx="855" formatCode="General">
                  <c:v>42.319990000000004</c:v>
                </c:pt>
                <c:pt idx="856" formatCode="General">
                  <c:v>42.31</c:v>
                </c:pt>
                <c:pt idx="857" formatCode="General">
                  <c:v>42.319990000000004</c:v>
                </c:pt>
                <c:pt idx="858" formatCode="General">
                  <c:v>42.319990000000004</c:v>
                </c:pt>
                <c:pt idx="859" formatCode="General">
                  <c:v>42.31</c:v>
                </c:pt>
                <c:pt idx="860" formatCode="General">
                  <c:v>42.329990000000002</c:v>
                </c:pt>
                <c:pt idx="861" formatCode="General">
                  <c:v>42.319990000000004</c:v>
                </c:pt>
                <c:pt idx="862" formatCode="General">
                  <c:v>42.319990000000004</c:v>
                </c:pt>
                <c:pt idx="863" formatCode="General">
                  <c:v>42.329990000000002</c:v>
                </c:pt>
                <c:pt idx="864" formatCode="General">
                  <c:v>42.329990000000002</c:v>
                </c:pt>
                <c:pt idx="865" formatCode="General">
                  <c:v>42.319990000000004</c:v>
                </c:pt>
                <c:pt idx="866" formatCode="General">
                  <c:v>42.319990000000004</c:v>
                </c:pt>
                <c:pt idx="867" formatCode="General">
                  <c:v>42.329990000000002</c:v>
                </c:pt>
                <c:pt idx="868" formatCode="General">
                  <c:v>42.329990000000002</c:v>
                </c:pt>
                <c:pt idx="869" formatCode="General">
                  <c:v>42.319990000000004</c:v>
                </c:pt>
                <c:pt idx="870" formatCode="General">
                  <c:v>42.329990000000002</c:v>
                </c:pt>
                <c:pt idx="871" formatCode="General">
                  <c:v>42.329990000000002</c:v>
                </c:pt>
                <c:pt idx="872" formatCode="General">
                  <c:v>42.329990000000002</c:v>
                </c:pt>
                <c:pt idx="873" formatCode="General">
                  <c:v>42.329990000000002</c:v>
                </c:pt>
                <c:pt idx="874" formatCode="General">
                  <c:v>42.329990000000002</c:v>
                </c:pt>
                <c:pt idx="875" formatCode="General">
                  <c:v>42.319990000000004</c:v>
                </c:pt>
                <c:pt idx="876" formatCode="General">
                  <c:v>42.319990000000004</c:v>
                </c:pt>
                <c:pt idx="877" formatCode="General">
                  <c:v>42.319990000000004</c:v>
                </c:pt>
                <c:pt idx="878" formatCode="General">
                  <c:v>42.319990000000004</c:v>
                </c:pt>
                <c:pt idx="879" formatCode="General">
                  <c:v>42.31</c:v>
                </c:pt>
                <c:pt idx="880" formatCode="General">
                  <c:v>42.319990000000004</c:v>
                </c:pt>
                <c:pt idx="881" formatCode="General">
                  <c:v>42.319990000000004</c:v>
                </c:pt>
                <c:pt idx="882" formatCode="General">
                  <c:v>42.319990000000004</c:v>
                </c:pt>
                <c:pt idx="883" formatCode="General">
                  <c:v>42.319990000000004</c:v>
                </c:pt>
                <c:pt idx="884" formatCode="General">
                  <c:v>42.319990000000004</c:v>
                </c:pt>
                <c:pt idx="885" formatCode="General">
                  <c:v>42.299990000000001</c:v>
                </c:pt>
                <c:pt idx="886" formatCode="General">
                  <c:v>42.299990000000001</c:v>
                </c:pt>
                <c:pt idx="887" formatCode="General">
                  <c:v>42.31</c:v>
                </c:pt>
                <c:pt idx="888" formatCode="General">
                  <c:v>42.31</c:v>
                </c:pt>
                <c:pt idx="889" formatCode="General">
                  <c:v>42.31</c:v>
                </c:pt>
                <c:pt idx="890" formatCode="General">
                  <c:v>42.299990000000001</c:v>
                </c:pt>
                <c:pt idx="891" formatCode="General">
                  <c:v>42.31</c:v>
                </c:pt>
                <c:pt idx="892" formatCode="General">
                  <c:v>42.31</c:v>
                </c:pt>
                <c:pt idx="893" formatCode="General">
                  <c:v>42.31</c:v>
                </c:pt>
                <c:pt idx="894" formatCode="General">
                  <c:v>42.31</c:v>
                </c:pt>
                <c:pt idx="895" formatCode="General">
                  <c:v>42.67</c:v>
                </c:pt>
                <c:pt idx="896" formatCode="General">
                  <c:v>42.67</c:v>
                </c:pt>
                <c:pt idx="897" formatCode="General">
                  <c:v>42.67</c:v>
                </c:pt>
                <c:pt idx="898" formatCode="General">
                  <c:v>42.67</c:v>
                </c:pt>
                <c:pt idx="899" formatCode="General">
                  <c:v>42.67</c:v>
                </c:pt>
                <c:pt idx="900" formatCode="General">
                  <c:v>42.67</c:v>
                </c:pt>
                <c:pt idx="901" formatCode="General">
                  <c:v>43.14</c:v>
                </c:pt>
                <c:pt idx="902" formatCode="General">
                  <c:v>43.129990000000006</c:v>
                </c:pt>
                <c:pt idx="903" formatCode="General">
                  <c:v>43.120000000000005</c:v>
                </c:pt>
                <c:pt idx="904" formatCode="General">
                  <c:v>43.149990000000003</c:v>
                </c:pt>
                <c:pt idx="905" formatCode="General">
                  <c:v>43.109990000000003</c:v>
                </c:pt>
                <c:pt idx="906" formatCode="General">
                  <c:v>43.14</c:v>
                </c:pt>
                <c:pt idx="907" formatCode="General">
                  <c:v>43.14</c:v>
                </c:pt>
                <c:pt idx="908" formatCode="General">
                  <c:v>43.120000000000005</c:v>
                </c:pt>
                <c:pt idx="909" formatCode="General">
                  <c:v>43.149990000000003</c:v>
                </c:pt>
                <c:pt idx="910" formatCode="General">
                  <c:v>43.189990000000002</c:v>
                </c:pt>
                <c:pt idx="911" formatCode="General">
                  <c:v>45.039990000000003</c:v>
                </c:pt>
                <c:pt idx="912" formatCode="General">
                  <c:v>45.03</c:v>
                </c:pt>
                <c:pt idx="913" formatCode="General">
                  <c:v>45.079990000000002</c:v>
                </c:pt>
                <c:pt idx="914" formatCode="General">
                  <c:v>45.049990000000001</c:v>
                </c:pt>
                <c:pt idx="915" formatCode="General">
                  <c:v>45.069990000000004</c:v>
                </c:pt>
                <c:pt idx="916" formatCode="General">
                  <c:v>45.09</c:v>
                </c:pt>
                <c:pt idx="917" formatCode="General">
                  <c:v>45.06</c:v>
                </c:pt>
                <c:pt idx="918" formatCode="General">
                  <c:v>45.03</c:v>
                </c:pt>
                <c:pt idx="919" formatCode="General">
                  <c:v>45.019990000000007</c:v>
                </c:pt>
                <c:pt idx="920" formatCode="General">
                  <c:v>45.03</c:v>
                </c:pt>
                <c:pt idx="921" formatCode="General">
                  <c:v>45.069990000000004</c:v>
                </c:pt>
                <c:pt idx="922" formatCode="General">
                  <c:v>45.039990000000003</c:v>
                </c:pt>
                <c:pt idx="923" formatCode="General">
                  <c:v>45.03</c:v>
                </c:pt>
                <c:pt idx="924" formatCode="General">
                  <c:v>45.03</c:v>
                </c:pt>
                <c:pt idx="925" formatCode="General">
                  <c:v>45.019990000000007</c:v>
                </c:pt>
                <c:pt idx="926" formatCode="General">
                  <c:v>45.039990000000003</c:v>
                </c:pt>
                <c:pt idx="927" formatCode="General">
                  <c:v>45.06</c:v>
                </c:pt>
                <c:pt idx="928" formatCode="General">
                  <c:v>45.03</c:v>
                </c:pt>
                <c:pt idx="929" formatCode="General">
                  <c:v>45.06</c:v>
                </c:pt>
                <c:pt idx="930" formatCode="General">
                  <c:v>45.06</c:v>
                </c:pt>
                <c:pt idx="931" formatCode="General">
                  <c:v>46.439990000000002</c:v>
                </c:pt>
                <c:pt idx="932" formatCode="General">
                  <c:v>46.429990000000004</c:v>
                </c:pt>
                <c:pt idx="933" formatCode="General">
                  <c:v>46.429990000000004</c:v>
                </c:pt>
                <c:pt idx="934" formatCode="General">
                  <c:v>45.989990000000006</c:v>
                </c:pt>
                <c:pt idx="935" formatCode="General">
                  <c:v>45.95</c:v>
                </c:pt>
                <c:pt idx="936" formatCode="General">
                  <c:v>45.939990000000002</c:v>
                </c:pt>
                <c:pt idx="937" formatCode="General">
                  <c:v>45.929990000000004</c:v>
                </c:pt>
                <c:pt idx="938" formatCode="General">
                  <c:v>45.959990000000005</c:v>
                </c:pt>
                <c:pt idx="939" formatCode="General">
                  <c:v>45.95</c:v>
                </c:pt>
                <c:pt idx="940" formatCode="General">
                  <c:v>45.939990000000002</c:v>
                </c:pt>
                <c:pt idx="941" formatCode="General">
                  <c:v>45.939990000000002</c:v>
                </c:pt>
                <c:pt idx="942" formatCode="General">
                  <c:v>45.980000000000004</c:v>
                </c:pt>
                <c:pt idx="943" formatCode="General">
                  <c:v>45.929990000000004</c:v>
                </c:pt>
                <c:pt idx="944" formatCode="General">
                  <c:v>45.939990000000002</c:v>
                </c:pt>
                <c:pt idx="945" formatCode="General">
                  <c:v>45.959990000000005</c:v>
                </c:pt>
                <c:pt idx="946" formatCode="General">
                  <c:v>45.980000000000004</c:v>
                </c:pt>
                <c:pt idx="947" formatCode="General">
                  <c:v>45.95</c:v>
                </c:pt>
                <c:pt idx="948" formatCode="General">
                  <c:v>45.95</c:v>
                </c:pt>
                <c:pt idx="949" formatCode="General">
                  <c:v>45.969990000000003</c:v>
                </c:pt>
                <c:pt idx="950" formatCode="General">
                  <c:v>45.980000000000004</c:v>
                </c:pt>
                <c:pt idx="951" formatCode="General">
                  <c:v>45.829990000000002</c:v>
                </c:pt>
                <c:pt idx="952" formatCode="General">
                  <c:v>45.859990000000003</c:v>
                </c:pt>
                <c:pt idx="953" formatCode="General">
                  <c:v>45.84</c:v>
                </c:pt>
                <c:pt idx="954" formatCode="General">
                  <c:v>45.859990000000003</c:v>
                </c:pt>
                <c:pt idx="955" formatCode="General">
                  <c:v>45.870000000000005</c:v>
                </c:pt>
                <c:pt idx="956" formatCode="General">
                  <c:v>45.879990000000006</c:v>
                </c:pt>
                <c:pt idx="957" formatCode="General">
                  <c:v>45.849990000000005</c:v>
                </c:pt>
                <c:pt idx="958" formatCode="General">
                  <c:v>45.859990000000003</c:v>
                </c:pt>
                <c:pt idx="959" formatCode="General">
                  <c:v>45.859990000000003</c:v>
                </c:pt>
                <c:pt idx="960" formatCode="General">
                  <c:v>46.299990000000001</c:v>
                </c:pt>
                <c:pt idx="961" formatCode="General">
                  <c:v>46.299990000000001</c:v>
                </c:pt>
                <c:pt idx="962" formatCode="General">
                  <c:v>45.849990000000005</c:v>
                </c:pt>
                <c:pt idx="963" formatCode="General">
                  <c:v>45.849990000000005</c:v>
                </c:pt>
                <c:pt idx="964" formatCode="General">
                  <c:v>45.870000000000005</c:v>
                </c:pt>
                <c:pt idx="965" formatCode="General">
                  <c:v>45.859990000000003</c:v>
                </c:pt>
                <c:pt idx="966" formatCode="General">
                  <c:v>46.219990000000003</c:v>
                </c:pt>
                <c:pt idx="967" formatCode="General">
                  <c:v>45.859990000000003</c:v>
                </c:pt>
                <c:pt idx="968" formatCode="General">
                  <c:v>45.859990000000003</c:v>
                </c:pt>
                <c:pt idx="969" formatCode="General">
                  <c:v>45.859990000000003</c:v>
                </c:pt>
                <c:pt idx="970" formatCode="General">
                  <c:v>45.579990000000002</c:v>
                </c:pt>
                <c:pt idx="971" formatCode="General">
                  <c:v>45.629990000000006</c:v>
                </c:pt>
                <c:pt idx="972" formatCode="General">
                  <c:v>45.599990000000005</c:v>
                </c:pt>
                <c:pt idx="973" formatCode="General">
                  <c:v>45.629990000000006</c:v>
                </c:pt>
                <c:pt idx="974" formatCode="General">
                  <c:v>45.59</c:v>
                </c:pt>
                <c:pt idx="975" formatCode="General">
                  <c:v>45.599990000000005</c:v>
                </c:pt>
                <c:pt idx="976" formatCode="General">
                  <c:v>47.429990000000004</c:v>
                </c:pt>
                <c:pt idx="977" formatCode="General">
                  <c:v>45.679990000000004</c:v>
                </c:pt>
                <c:pt idx="978" formatCode="General">
                  <c:v>47.429990000000004</c:v>
                </c:pt>
                <c:pt idx="979" formatCode="General">
                  <c:v>47.429990000000004</c:v>
                </c:pt>
                <c:pt idx="980" formatCode="General">
                  <c:v>45.595750000000002</c:v>
                </c:pt>
                <c:pt idx="981" formatCode="General">
                  <c:v>44.679990000000004</c:v>
                </c:pt>
                <c:pt idx="982" formatCode="General">
                  <c:v>44.67</c:v>
                </c:pt>
                <c:pt idx="983" formatCode="General">
                  <c:v>44.67</c:v>
                </c:pt>
                <c:pt idx="984" formatCode="General">
                  <c:v>44.219990000000003</c:v>
                </c:pt>
                <c:pt idx="985" formatCode="General">
                  <c:v>44.219990000000003</c:v>
                </c:pt>
                <c:pt idx="986" formatCode="General">
                  <c:v>44.689990000000002</c:v>
                </c:pt>
                <c:pt idx="987" formatCode="General">
                  <c:v>44.709990000000005</c:v>
                </c:pt>
                <c:pt idx="988" formatCode="General">
                  <c:v>44.2</c:v>
                </c:pt>
                <c:pt idx="989" formatCode="General">
                  <c:v>43.759990000000002</c:v>
                </c:pt>
                <c:pt idx="990" formatCode="General">
                  <c:v>43.719990000000003</c:v>
                </c:pt>
                <c:pt idx="991" formatCode="General">
                  <c:v>44.159990000000001</c:v>
                </c:pt>
                <c:pt idx="992" formatCode="General">
                  <c:v>44.189990000000002</c:v>
                </c:pt>
                <c:pt idx="993" formatCode="General">
                  <c:v>44.189990000000002</c:v>
                </c:pt>
                <c:pt idx="994" formatCode="General">
                  <c:v>44.14</c:v>
                </c:pt>
                <c:pt idx="995" formatCode="General">
                  <c:v>45.09</c:v>
                </c:pt>
                <c:pt idx="996" formatCode="General">
                  <c:v>45.099990000000005</c:v>
                </c:pt>
                <c:pt idx="997" formatCode="General">
                  <c:v>45.069990000000004</c:v>
                </c:pt>
                <c:pt idx="998" formatCode="General">
                  <c:v>45.959990000000005</c:v>
                </c:pt>
                <c:pt idx="999" formatCode="General">
                  <c:v>45.989990000000006</c:v>
                </c:pt>
                <c:pt idx="1000" formatCode="General">
                  <c:v>45.969990000000003</c:v>
                </c:pt>
                <c:pt idx="1001" formatCode="General">
                  <c:v>45.959990000000005</c:v>
                </c:pt>
                <c:pt idx="1002" formatCode="General">
                  <c:v>45.969990000000003</c:v>
                </c:pt>
                <c:pt idx="1003" formatCode="General">
                  <c:v>45.989990000000006</c:v>
                </c:pt>
                <c:pt idx="1004" formatCode="General">
                  <c:v>45.929990000000004</c:v>
                </c:pt>
                <c:pt idx="1005" formatCode="General">
                  <c:v>45.969990000000003</c:v>
                </c:pt>
                <c:pt idx="1006" formatCode="General">
                  <c:v>45.932010000000005</c:v>
                </c:pt>
                <c:pt idx="1007" formatCode="General">
                  <c:v>45.989990000000006</c:v>
                </c:pt>
                <c:pt idx="1008" formatCode="General">
                  <c:v>45.980000000000004</c:v>
                </c:pt>
                <c:pt idx="1009" formatCode="General">
                  <c:v>46.000000000000007</c:v>
                </c:pt>
                <c:pt idx="1010" formatCode="General">
                  <c:v>45.539990000000003</c:v>
                </c:pt>
                <c:pt idx="1011" formatCode="General">
                  <c:v>46.42</c:v>
                </c:pt>
                <c:pt idx="1012" formatCode="General">
                  <c:v>46.429990000000004</c:v>
                </c:pt>
                <c:pt idx="1013" formatCode="General">
                  <c:v>46.45</c:v>
                </c:pt>
                <c:pt idx="1014" formatCode="General">
                  <c:v>46.209990000000005</c:v>
                </c:pt>
                <c:pt idx="1015" formatCode="General">
                  <c:v>46.2</c:v>
                </c:pt>
                <c:pt idx="1016" formatCode="General">
                  <c:v>46.209990000000005</c:v>
                </c:pt>
              </c:numCache>
            </c:numRef>
          </c:val>
          <c:smooth val="0"/>
        </c:ser>
        <c:ser>
          <c:idx val="3"/>
          <c:order val="5"/>
          <c:tx>
            <c:strRef>
              <c:f>[alco.xlsm]cds!$E$4</c:f>
              <c:strCache>
                <c:ptCount val="1"/>
                <c:pt idx="0">
                  <c:v>Csehország</c:v>
                </c:pt>
              </c:strCache>
            </c:strRef>
          </c:tx>
          <c:marker>
            <c:symbol val="none"/>
          </c:marker>
          <c:cat>
            <c:numRef>
              <c:f>[alco.xlsm]cds_west!$A$1578:$A$5000</c:f>
              <c:numCache>
                <c:formatCode>m/d/yyyy</c:formatCode>
                <c:ptCount val="3423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3</c:v>
                </c:pt>
                <c:pt idx="54">
                  <c:v>40984</c:v>
                </c:pt>
                <c:pt idx="55">
                  <c:v>40987</c:v>
                </c:pt>
                <c:pt idx="56">
                  <c:v>40988</c:v>
                </c:pt>
                <c:pt idx="57">
                  <c:v>40989</c:v>
                </c:pt>
                <c:pt idx="58">
                  <c:v>40990</c:v>
                </c:pt>
                <c:pt idx="59">
                  <c:v>40991</c:v>
                </c:pt>
                <c:pt idx="60">
                  <c:v>40994</c:v>
                </c:pt>
                <c:pt idx="61">
                  <c:v>40995</c:v>
                </c:pt>
                <c:pt idx="62">
                  <c:v>40996</c:v>
                </c:pt>
                <c:pt idx="63">
                  <c:v>40997</c:v>
                </c:pt>
                <c:pt idx="64">
                  <c:v>40998</c:v>
                </c:pt>
                <c:pt idx="65">
                  <c:v>41001</c:v>
                </c:pt>
                <c:pt idx="66">
                  <c:v>41002</c:v>
                </c:pt>
                <c:pt idx="67">
                  <c:v>41003</c:v>
                </c:pt>
                <c:pt idx="68">
                  <c:v>41004</c:v>
                </c:pt>
                <c:pt idx="69">
                  <c:v>41005</c:v>
                </c:pt>
                <c:pt idx="70">
                  <c:v>41008</c:v>
                </c:pt>
                <c:pt idx="71">
                  <c:v>41009</c:v>
                </c:pt>
                <c:pt idx="72">
                  <c:v>41010</c:v>
                </c:pt>
                <c:pt idx="73">
                  <c:v>41011</c:v>
                </c:pt>
                <c:pt idx="74">
                  <c:v>41012</c:v>
                </c:pt>
                <c:pt idx="75">
                  <c:v>41015</c:v>
                </c:pt>
                <c:pt idx="76">
                  <c:v>41016</c:v>
                </c:pt>
                <c:pt idx="77">
                  <c:v>41017</c:v>
                </c:pt>
                <c:pt idx="78">
                  <c:v>41018</c:v>
                </c:pt>
                <c:pt idx="79">
                  <c:v>41019</c:v>
                </c:pt>
                <c:pt idx="80">
                  <c:v>41022</c:v>
                </c:pt>
                <c:pt idx="81">
                  <c:v>41023</c:v>
                </c:pt>
                <c:pt idx="82">
                  <c:v>41024</c:v>
                </c:pt>
                <c:pt idx="83">
                  <c:v>41025</c:v>
                </c:pt>
                <c:pt idx="84">
                  <c:v>41026</c:v>
                </c:pt>
                <c:pt idx="85">
                  <c:v>41029</c:v>
                </c:pt>
                <c:pt idx="86">
                  <c:v>41030</c:v>
                </c:pt>
                <c:pt idx="87">
                  <c:v>41031</c:v>
                </c:pt>
                <c:pt idx="88">
                  <c:v>41032</c:v>
                </c:pt>
                <c:pt idx="89">
                  <c:v>41033</c:v>
                </c:pt>
                <c:pt idx="90">
                  <c:v>41036</c:v>
                </c:pt>
                <c:pt idx="91">
                  <c:v>41037</c:v>
                </c:pt>
                <c:pt idx="92">
                  <c:v>41038</c:v>
                </c:pt>
                <c:pt idx="93">
                  <c:v>41039</c:v>
                </c:pt>
                <c:pt idx="94">
                  <c:v>41040</c:v>
                </c:pt>
                <c:pt idx="95">
                  <c:v>41043</c:v>
                </c:pt>
                <c:pt idx="96">
                  <c:v>41044</c:v>
                </c:pt>
                <c:pt idx="97">
                  <c:v>41045</c:v>
                </c:pt>
                <c:pt idx="98">
                  <c:v>41046</c:v>
                </c:pt>
                <c:pt idx="99">
                  <c:v>41047</c:v>
                </c:pt>
                <c:pt idx="100">
                  <c:v>41050</c:v>
                </c:pt>
                <c:pt idx="101">
                  <c:v>41051</c:v>
                </c:pt>
                <c:pt idx="102">
                  <c:v>41052</c:v>
                </c:pt>
                <c:pt idx="103">
                  <c:v>41053</c:v>
                </c:pt>
                <c:pt idx="104">
                  <c:v>41054</c:v>
                </c:pt>
                <c:pt idx="105">
                  <c:v>41057</c:v>
                </c:pt>
                <c:pt idx="106">
                  <c:v>41058</c:v>
                </c:pt>
                <c:pt idx="107">
                  <c:v>41059</c:v>
                </c:pt>
                <c:pt idx="108">
                  <c:v>41060</c:v>
                </c:pt>
                <c:pt idx="109">
                  <c:v>41061</c:v>
                </c:pt>
                <c:pt idx="110">
                  <c:v>41064</c:v>
                </c:pt>
                <c:pt idx="111">
                  <c:v>41065</c:v>
                </c:pt>
                <c:pt idx="112">
                  <c:v>41066</c:v>
                </c:pt>
                <c:pt idx="113">
                  <c:v>41067</c:v>
                </c:pt>
                <c:pt idx="114">
                  <c:v>41068</c:v>
                </c:pt>
                <c:pt idx="115">
                  <c:v>41071</c:v>
                </c:pt>
                <c:pt idx="116">
                  <c:v>41072</c:v>
                </c:pt>
                <c:pt idx="117">
                  <c:v>41073</c:v>
                </c:pt>
                <c:pt idx="118">
                  <c:v>41074</c:v>
                </c:pt>
                <c:pt idx="119">
                  <c:v>41075</c:v>
                </c:pt>
                <c:pt idx="120">
                  <c:v>41078</c:v>
                </c:pt>
                <c:pt idx="121">
                  <c:v>41079</c:v>
                </c:pt>
                <c:pt idx="122">
                  <c:v>41080</c:v>
                </c:pt>
                <c:pt idx="123">
                  <c:v>41081</c:v>
                </c:pt>
                <c:pt idx="124">
                  <c:v>41082</c:v>
                </c:pt>
                <c:pt idx="125">
                  <c:v>41085</c:v>
                </c:pt>
                <c:pt idx="126">
                  <c:v>41086</c:v>
                </c:pt>
                <c:pt idx="127">
                  <c:v>41087</c:v>
                </c:pt>
                <c:pt idx="128">
                  <c:v>41088</c:v>
                </c:pt>
                <c:pt idx="129">
                  <c:v>41089</c:v>
                </c:pt>
                <c:pt idx="130">
                  <c:v>41092</c:v>
                </c:pt>
                <c:pt idx="131">
                  <c:v>41093</c:v>
                </c:pt>
                <c:pt idx="132">
                  <c:v>41094</c:v>
                </c:pt>
                <c:pt idx="133">
                  <c:v>41095</c:v>
                </c:pt>
                <c:pt idx="134">
                  <c:v>41096</c:v>
                </c:pt>
                <c:pt idx="135">
                  <c:v>41099</c:v>
                </c:pt>
                <c:pt idx="136">
                  <c:v>41100</c:v>
                </c:pt>
                <c:pt idx="137">
                  <c:v>41101</c:v>
                </c:pt>
                <c:pt idx="138">
                  <c:v>41102</c:v>
                </c:pt>
                <c:pt idx="139">
                  <c:v>41103</c:v>
                </c:pt>
                <c:pt idx="140">
                  <c:v>41106</c:v>
                </c:pt>
                <c:pt idx="141">
                  <c:v>41107</c:v>
                </c:pt>
                <c:pt idx="142">
                  <c:v>41108</c:v>
                </c:pt>
                <c:pt idx="143">
                  <c:v>41109</c:v>
                </c:pt>
                <c:pt idx="144">
                  <c:v>41110</c:v>
                </c:pt>
                <c:pt idx="145">
                  <c:v>41113</c:v>
                </c:pt>
                <c:pt idx="146">
                  <c:v>41114</c:v>
                </c:pt>
                <c:pt idx="147">
                  <c:v>41115</c:v>
                </c:pt>
                <c:pt idx="148">
                  <c:v>41116</c:v>
                </c:pt>
                <c:pt idx="149">
                  <c:v>41117</c:v>
                </c:pt>
                <c:pt idx="150">
                  <c:v>41120</c:v>
                </c:pt>
                <c:pt idx="151">
                  <c:v>41121</c:v>
                </c:pt>
                <c:pt idx="152">
                  <c:v>41122</c:v>
                </c:pt>
                <c:pt idx="153">
                  <c:v>41123</c:v>
                </c:pt>
                <c:pt idx="154">
                  <c:v>41124</c:v>
                </c:pt>
                <c:pt idx="155">
                  <c:v>41127</c:v>
                </c:pt>
                <c:pt idx="156">
                  <c:v>41128</c:v>
                </c:pt>
                <c:pt idx="157">
                  <c:v>41129</c:v>
                </c:pt>
                <c:pt idx="158">
                  <c:v>41130</c:v>
                </c:pt>
                <c:pt idx="159">
                  <c:v>41131</c:v>
                </c:pt>
                <c:pt idx="160">
                  <c:v>41134</c:v>
                </c:pt>
                <c:pt idx="161">
                  <c:v>41135</c:v>
                </c:pt>
                <c:pt idx="162">
                  <c:v>41136</c:v>
                </c:pt>
                <c:pt idx="163">
                  <c:v>41137</c:v>
                </c:pt>
                <c:pt idx="164">
                  <c:v>41138</c:v>
                </c:pt>
                <c:pt idx="165">
                  <c:v>41141</c:v>
                </c:pt>
                <c:pt idx="166">
                  <c:v>41142</c:v>
                </c:pt>
                <c:pt idx="167">
                  <c:v>41143</c:v>
                </c:pt>
                <c:pt idx="168">
                  <c:v>41144</c:v>
                </c:pt>
                <c:pt idx="169">
                  <c:v>41145</c:v>
                </c:pt>
                <c:pt idx="170">
                  <c:v>41148</c:v>
                </c:pt>
                <c:pt idx="171">
                  <c:v>41149</c:v>
                </c:pt>
                <c:pt idx="172">
                  <c:v>41150</c:v>
                </c:pt>
                <c:pt idx="173">
                  <c:v>41151</c:v>
                </c:pt>
                <c:pt idx="174">
                  <c:v>41152</c:v>
                </c:pt>
                <c:pt idx="175">
                  <c:v>41155</c:v>
                </c:pt>
                <c:pt idx="176">
                  <c:v>41156</c:v>
                </c:pt>
                <c:pt idx="177">
                  <c:v>41157</c:v>
                </c:pt>
                <c:pt idx="178">
                  <c:v>41158</c:v>
                </c:pt>
                <c:pt idx="179">
                  <c:v>41159</c:v>
                </c:pt>
                <c:pt idx="180">
                  <c:v>41162</c:v>
                </c:pt>
                <c:pt idx="181">
                  <c:v>41163</c:v>
                </c:pt>
                <c:pt idx="182">
                  <c:v>41164</c:v>
                </c:pt>
                <c:pt idx="183">
                  <c:v>41165</c:v>
                </c:pt>
                <c:pt idx="184">
                  <c:v>41166</c:v>
                </c:pt>
                <c:pt idx="185">
                  <c:v>41169</c:v>
                </c:pt>
                <c:pt idx="186">
                  <c:v>41170</c:v>
                </c:pt>
                <c:pt idx="187">
                  <c:v>41171</c:v>
                </c:pt>
                <c:pt idx="188">
                  <c:v>41172</c:v>
                </c:pt>
                <c:pt idx="189">
                  <c:v>41173</c:v>
                </c:pt>
                <c:pt idx="190">
                  <c:v>41176</c:v>
                </c:pt>
                <c:pt idx="191">
                  <c:v>41177</c:v>
                </c:pt>
                <c:pt idx="192">
                  <c:v>41178</c:v>
                </c:pt>
                <c:pt idx="193">
                  <c:v>41179</c:v>
                </c:pt>
                <c:pt idx="194">
                  <c:v>41180</c:v>
                </c:pt>
                <c:pt idx="195">
                  <c:v>41183</c:v>
                </c:pt>
                <c:pt idx="196">
                  <c:v>41184</c:v>
                </c:pt>
                <c:pt idx="197">
                  <c:v>41185</c:v>
                </c:pt>
                <c:pt idx="198">
                  <c:v>41186</c:v>
                </c:pt>
                <c:pt idx="199">
                  <c:v>41187</c:v>
                </c:pt>
                <c:pt idx="200">
                  <c:v>41190</c:v>
                </c:pt>
                <c:pt idx="201">
                  <c:v>41191</c:v>
                </c:pt>
                <c:pt idx="202">
                  <c:v>41192</c:v>
                </c:pt>
                <c:pt idx="203">
                  <c:v>41193</c:v>
                </c:pt>
                <c:pt idx="204">
                  <c:v>41194</c:v>
                </c:pt>
                <c:pt idx="205">
                  <c:v>41197</c:v>
                </c:pt>
                <c:pt idx="206">
                  <c:v>41198</c:v>
                </c:pt>
                <c:pt idx="207">
                  <c:v>41199</c:v>
                </c:pt>
                <c:pt idx="208">
                  <c:v>41200</c:v>
                </c:pt>
                <c:pt idx="209">
                  <c:v>41201</c:v>
                </c:pt>
                <c:pt idx="210">
                  <c:v>41204</c:v>
                </c:pt>
                <c:pt idx="211">
                  <c:v>41205</c:v>
                </c:pt>
                <c:pt idx="212">
                  <c:v>41206</c:v>
                </c:pt>
                <c:pt idx="213">
                  <c:v>41207</c:v>
                </c:pt>
                <c:pt idx="214">
                  <c:v>41208</c:v>
                </c:pt>
                <c:pt idx="215">
                  <c:v>41211</c:v>
                </c:pt>
                <c:pt idx="216">
                  <c:v>41212</c:v>
                </c:pt>
                <c:pt idx="217">
                  <c:v>41213</c:v>
                </c:pt>
                <c:pt idx="218">
                  <c:v>41214</c:v>
                </c:pt>
                <c:pt idx="219">
                  <c:v>41215</c:v>
                </c:pt>
                <c:pt idx="220">
                  <c:v>41218</c:v>
                </c:pt>
                <c:pt idx="221">
                  <c:v>41219</c:v>
                </c:pt>
                <c:pt idx="222">
                  <c:v>41220</c:v>
                </c:pt>
                <c:pt idx="223">
                  <c:v>41221</c:v>
                </c:pt>
                <c:pt idx="224">
                  <c:v>41222</c:v>
                </c:pt>
                <c:pt idx="225">
                  <c:v>41225</c:v>
                </c:pt>
                <c:pt idx="226">
                  <c:v>41226</c:v>
                </c:pt>
                <c:pt idx="227">
                  <c:v>41227</c:v>
                </c:pt>
                <c:pt idx="228">
                  <c:v>41228</c:v>
                </c:pt>
                <c:pt idx="229">
                  <c:v>41229</c:v>
                </c:pt>
                <c:pt idx="230">
                  <c:v>41232</c:v>
                </c:pt>
                <c:pt idx="231">
                  <c:v>41233</c:v>
                </c:pt>
                <c:pt idx="232">
                  <c:v>41234</c:v>
                </c:pt>
                <c:pt idx="233">
                  <c:v>41235</c:v>
                </c:pt>
                <c:pt idx="234">
                  <c:v>41236</c:v>
                </c:pt>
                <c:pt idx="235">
                  <c:v>41239</c:v>
                </c:pt>
                <c:pt idx="236">
                  <c:v>41240</c:v>
                </c:pt>
                <c:pt idx="237">
                  <c:v>41241</c:v>
                </c:pt>
                <c:pt idx="238">
                  <c:v>41242</c:v>
                </c:pt>
                <c:pt idx="239">
                  <c:v>41243</c:v>
                </c:pt>
                <c:pt idx="240">
                  <c:v>41246</c:v>
                </c:pt>
                <c:pt idx="241">
                  <c:v>41247</c:v>
                </c:pt>
                <c:pt idx="242">
                  <c:v>41248</c:v>
                </c:pt>
                <c:pt idx="243">
                  <c:v>41249</c:v>
                </c:pt>
                <c:pt idx="244">
                  <c:v>41250</c:v>
                </c:pt>
                <c:pt idx="245">
                  <c:v>41253</c:v>
                </c:pt>
                <c:pt idx="246">
                  <c:v>41254</c:v>
                </c:pt>
                <c:pt idx="247">
                  <c:v>41255</c:v>
                </c:pt>
                <c:pt idx="248">
                  <c:v>41256</c:v>
                </c:pt>
                <c:pt idx="249">
                  <c:v>41257</c:v>
                </c:pt>
                <c:pt idx="250">
                  <c:v>41260</c:v>
                </c:pt>
                <c:pt idx="251">
                  <c:v>41261</c:v>
                </c:pt>
                <c:pt idx="252">
                  <c:v>41262</c:v>
                </c:pt>
                <c:pt idx="253">
                  <c:v>41263</c:v>
                </c:pt>
                <c:pt idx="254">
                  <c:v>41264</c:v>
                </c:pt>
                <c:pt idx="255">
                  <c:v>41267</c:v>
                </c:pt>
                <c:pt idx="256">
                  <c:v>41268</c:v>
                </c:pt>
                <c:pt idx="257">
                  <c:v>41269</c:v>
                </c:pt>
                <c:pt idx="258">
                  <c:v>41270</c:v>
                </c:pt>
                <c:pt idx="259">
                  <c:v>41271</c:v>
                </c:pt>
                <c:pt idx="260">
                  <c:v>41274</c:v>
                </c:pt>
                <c:pt idx="261">
                  <c:v>41275</c:v>
                </c:pt>
                <c:pt idx="262">
                  <c:v>41276</c:v>
                </c:pt>
                <c:pt idx="263">
                  <c:v>41277</c:v>
                </c:pt>
                <c:pt idx="264">
                  <c:v>41278</c:v>
                </c:pt>
                <c:pt idx="265">
                  <c:v>41281</c:v>
                </c:pt>
                <c:pt idx="266">
                  <c:v>41282</c:v>
                </c:pt>
                <c:pt idx="267">
                  <c:v>41283</c:v>
                </c:pt>
                <c:pt idx="268">
                  <c:v>41284</c:v>
                </c:pt>
                <c:pt idx="269">
                  <c:v>41285</c:v>
                </c:pt>
                <c:pt idx="270">
                  <c:v>41288</c:v>
                </c:pt>
                <c:pt idx="271">
                  <c:v>41289</c:v>
                </c:pt>
                <c:pt idx="272">
                  <c:v>41290</c:v>
                </c:pt>
                <c:pt idx="273">
                  <c:v>41291</c:v>
                </c:pt>
                <c:pt idx="274">
                  <c:v>41292</c:v>
                </c:pt>
                <c:pt idx="275">
                  <c:v>41295</c:v>
                </c:pt>
                <c:pt idx="276">
                  <c:v>41296</c:v>
                </c:pt>
                <c:pt idx="277">
                  <c:v>41297</c:v>
                </c:pt>
                <c:pt idx="278">
                  <c:v>41298</c:v>
                </c:pt>
                <c:pt idx="279">
                  <c:v>41299</c:v>
                </c:pt>
                <c:pt idx="280">
                  <c:v>41302</c:v>
                </c:pt>
                <c:pt idx="281">
                  <c:v>41303</c:v>
                </c:pt>
                <c:pt idx="282">
                  <c:v>41304</c:v>
                </c:pt>
                <c:pt idx="283">
                  <c:v>41305</c:v>
                </c:pt>
                <c:pt idx="284">
                  <c:v>41306</c:v>
                </c:pt>
                <c:pt idx="285">
                  <c:v>41309</c:v>
                </c:pt>
                <c:pt idx="286">
                  <c:v>41310</c:v>
                </c:pt>
                <c:pt idx="287">
                  <c:v>41311</c:v>
                </c:pt>
                <c:pt idx="288">
                  <c:v>41312</c:v>
                </c:pt>
                <c:pt idx="289">
                  <c:v>41313</c:v>
                </c:pt>
                <c:pt idx="290">
                  <c:v>41316</c:v>
                </c:pt>
                <c:pt idx="291">
                  <c:v>41317</c:v>
                </c:pt>
                <c:pt idx="292">
                  <c:v>41318</c:v>
                </c:pt>
                <c:pt idx="293">
                  <c:v>41319</c:v>
                </c:pt>
                <c:pt idx="294">
                  <c:v>41320</c:v>
                </c:pt>
                <c:pt idx="295">
                  <c:v>41323</c:v>
                </c:pt>
                <c:pt idx="296">
                  <c:v>41324</c:v>
                </c:pt>
                <c:pt idx="297">
                  <c:v>41325</c:v>
                </c:pt>
                <c:pt idx="298">
                  <c:v>41326</c:v>
                </c:pt>
                <c:pt idx="299">
                  <c:v>41327</c:v>
                </c:pt>
                <c:pt idx="300">
                  <c:v>41330</c:v>
                </c:pt>
                <c:pt idx="301">
                  <c:v>41331</c:v>
                </c:pt>
                <c:pt idx="302">
                  <c:v>41332</c:v>
                </c:pt>
                <c:pt idx="303">
                  <c:v>41333</c:v>
                </c:pt>
                <c:pt idx="304">
                  <c:v>41334</c:v>
                </c:pt>
                <c:pt idx="305">
                  <c:v>41337</c:v>
                </c:pt>
                <c:pt idx="306">
                  <c:v>41338</c:v>
                </c:pt>
                <c:pt idx="307">
                  <c:v>41339</c:v>
                </c:pt>
                <c:pt idx="308">
                  <c:v>41340</c:v>
                </c:pt>
                <c:pt idx="309">
                  <c:v>41341</c:v>
                </c:pt>
                <c:pt idx="310">
                  <c:v>41344</c:v>
                </c:pt>
                <c:pt idx="311">
                  <c:v>41345</c:v>
                </c:pt>
                <c:pt idx="312">
                  <c:v>41346</c:v>
                </c:pt>
                <c:pt idx="313">
                  <c:v>41347</c:v>
                </c:pt>
                <c:pt idx="314">
                  <c:v>41348</c:v>
                </c:pt>
                <c:pt idx="315">
                  <c:v>41351</c:v>
                </c:pt>
                <c:pt idx="316">
                  <c:v>41352</c:v>
                </c:pt>
                <c:pt idx="317">
                  <c:v>41353</c:v>
                </c:pt>
                <c:pt idx="318">
                  <c:v>41354</c:v>
                </c:pt>
                <c:pt idx="319">
                  <c:v>41355</c:v>
                </c:pt>
                <c:pt idx="320">
                  <c:v>41358</c:v>
                </c:pt>
                <c:pt idx="321">
                  <c:v>41359</c:v>
                </c:pt>
                <c:pt idx="322">
                  <c:v>41360</c:v>
                </c:pt>
                <c:pt idx="323">
                  <c:v>41361</c:v>
                </c:pt>
                <c:pt idx="324">
                  <c:v>41362</c:v>
                </c:pt>
                <c:pt idx="325">
                  <c:v>41365</c:v>
                </c:pt>
                <c:pt idx="326">
                  <c:v>41366</c:v>
                </c:pt>
                <c:pt idx="327">
                  <c:v>41367</c:v>
                </c:pt>
                <c:pt idx="328">
                  <c:v>41368</c:v>
                </c:pt>
                <c:pt idx="329">
                  <c:v>41369</c:v>
                </c:pt>
                <c:pt idx="330">
                  <c:v>41372</c:v>
                </c:pt>
                <c:pt idx="331">
                  <c:v>41373</c:v>
                </c:pt>
                <c:pt idx="332">
                  <c:v>41374</c:v>
                </c:pt>
                <c:pt idx="333">
                  <c:v>41375</c:v>
                </c:pt>
                <c:pt idx="334">
                  <c:v>41376</c:v>
                </c:pt>
                <c:pt idx="335">
                  <c:v>41379</c:v>
                </c:pt>
                <c:pt idx="336">
                  <c:v>41380</c:v>
                </c:pt>
                <c:pt idx="337">
                  <c:v>41381</c:v>
                </c:pt>
                <c:pt idx="338">
                  <c:v>41382</c:v>
                </c:pt>
                <c:pt idx="339">
                  <c:v>41383</c:v>
                </c:pt>
                <c:pt idx="340">
                  <c:v>41386</c:v>
                </c:pt>
                <c:pt idx="341">
                  <c:v>41387</c:v>
                </c:pt>
                <c:pt idx="342">
                  <c:v>41388</c:v>
                </c:pt>
                <c:pt idx="343">
                  <c:v>41389</c:v>
                </c:pt>
                <c:pt idx="344">
                  <c:v>41390</c:v>
                </c:pt>
                <c:pt idx="345">
                  <c:v>41393</c:v>
                </c:pt>
                <c:pt idx="346">
                  <c:v>41394</c:v>
                </c:pt>
                <c:pt idx="347">
                  <c:v>41395</c:v>
                </c:pt>
                <c:pt idx="348">
                  <c:v>41396</c:v>
                </c:pt>
                <c:pt idx="349">
                  <c:v>41397</c:v>
                </c:pt>
                <c:pt idx="350">
                  <c:v>41400</c:v>
                </c:pt>
                <c:pt idx="351">
                  <c:v>41401</c:v>
                </c:pt>
                <c:pt idx="352">
                  <c:v>41402</c:v>
                </c:pt>
                <c:pt idx="353">
                  <c:v>41403</c:v>
                </c:pt>
                <c:pt idx="354">
                  <c:v>41404</c:v>
                </c:pt>
                <c:pt idx="355">
                  <c:v>41407</c:v>
                </c:pt>
                <c:pt idx="356">
                  <c:v>41408</c:v>
                </c:pt>
                <c:pt idx="357">
                  <c:v>41409</c:v>
                </c:pt>
                <c:pt idx="358">
                  <c:v>41410</c:v>
                </c:pt>
                <c:pt idx="359">
                  <c:v>41411</c:v>
                </c:pt>
                <c:pt idx="360">
                  <c:v>41414</c:v>
                </c:pt>
                <c:pt idx="361">
                  <c:v>41415</c:v>
                </c:pt>
                <c:pt idx="362">
                  <c:v>41416</c:v>
                </c:pt>
                <c:pt idx="363">
                  <c:v>41417</c:v>
                </c:pt>
                <c:pt idx="364">
                  <c:v>41418</c:v>
                </c:pt>
                <c:pt idx="365">
                  <c:v>41421</c:v>
                </c:pt>
                <c:pt idx="366">
                  <c:v>41422</c:v>
                </c:pt>
                <c:pt idx="367">
                  <c:v>41423</c:v>
                </c:pt>
                <c:pt idx="368">
                  <c:v>41424</c:v>
                </c:pt>
                <c:pt idx="369">
                  <c:v>41425</c:v>
                </c:pt>
                <c:pt idx="370">
                  <c:v>41428</c:v>
                </c:pt>
                <c:pt idx="371">
                  <c:v>41429</c:v>
                </c:pt>
                <c:pt idx="372">
                  <c:v>41430</c:v>
                </c:pt>
                <c:pt idx="373">
                  <c:v>41431</c:v>
                </c:pt>
                <c:pt idx="374">
                  <c:v>41432</c:v>
                </c:pt>
                <c:pt idx="375">
                  <c:v>41435</c:v>
                </c:pt>
                <c:pt idx="376">
                  <c:v>41436</c:v>
                </c:pt>
                <c:pt idx="377">
                  <c:v>41437</c:v>
                </c:pt>
                <c:pt idx="378">
                  <c:v>41438</c:v>
                </c:pt>
                <c:pt idx="379">
                  <c:v>41439</c:v>
                </c:pt>
                <c:pt idx="380">
                  <c:v>41442</c:v>
                </c:pt>
                <c:pt idx="381">
                  <c:v>41443</c:v>
                </c:pt>
                <c:pt idx="382">
                  <c:v>41444</c:v>
                </c:pt>
                <c:pt idx="383">
                  <c:v>41445</c:v>
                </c:pt>
                <c:pt idx="384">
                  <c:v>41446</c:v>
                </c:pt>
                <c:pt idx="385">
                  <c:v>41449</c:v>
                </c:pt>
                <c:pt idx="386">
                  <c:v>41450</c:v>
                </c:pt>
                <c:pt idx="387">
                  <c:v>41451</c:v>
                </c:pt>
                <c:pt idx="388">
                  <c:v>41452</c:v>
                </c:pt>
                <c:pt idx="389">
                  <c:v>41453</c:v>
                </c:pt>
                <c:pt idx="390">
                  <c:v>41456</c:v>
                </c:pt>
                <c:pt idx="391">
                  <c:v>41457</c:v>
                </c:pt>
                <c:pt idx="392">
                  <c:v>41458</c:v>
                </c:pt>
                <c:pt idx="393">
                  <c:v>41459</c:v>
                </c:pt>
                <c:pt idx="394">
                  <c:v>41460</c:v>
                </c:pt>
                <c:pt idx="395">
                  <c:v>41463</c:v>
                </c:pt>
                <c:pt idx="396">
                  <c:v>41464</c:v>
                </c:pt>
                <c:pt idx="397">
                  <c:v>41465</c:v>
                </c:pt>
                <c:pt idx="398">
                  <c:v>41466</c:v>
                </c:pt>
                <c:pt idx="399">
                  <c:v>41467</c:v>
                </c:pt>
                <c:pt idx="400">
                  <c:v>41470</c:v>
                </c:pt>
                <c:pt idx="401">
                  <c:v>41471</c:v>
                </c:pt>
                <c:pt idx="402">
                  <c:v>41472</c:v>
                </c:pt>
                <c:pt idx="403">
                  <c:v>41473</c:v>
                </c:pt>
                <c:pt idx="404">
                  <c:v>41474</c:v>
                </c:pt>
                <c:pt idx="405">
                  <c:v>41477</c:v>
                </c:pt>
                <c:pt idx="406">
                  <c:v>41478</c:v>
                </c:pt>
                <c:pt idx="407">
                  <c:v>41479</c:v>
                </c:pt>
                <c:pt idx="408">
                  <c:v>41480</c:v>
                </c:pt>
                <c:pt idx="409">
                  <c:v>41481</c:v>
                </c:pt>
                <c:pt idx="410">
                  <c:v>41484</c:v>
                </c:pt>
                <c:pt idx="411">
                  <c:v>41485</c:v>
                </c:pt>
                <c:pt idx="412">
                  <c:v>41486</c:v>
                </c:pt>
                <c:pt idx="413">
                  <c:v>41487</c:v>
                </c:pt>
                <c:pt idx="414">
                  <c:v>41488</c:v>
                </c:pt>
                <c:pt idx="415">
                  <c:v>41491</c:v>
                </c:pt>
                <c:pt idx="416">
                  <c:v>41492</c:v>
                </c:pt>
                <c:pt idx="417">
                  <c:v>41493</c:v>
                </c:pt>
                <c:pt idx="418">
                  <c:v>41494</c:v>
                </c:pt>
                <c:pt idx="419">
                  <c:v>41495</c:v>
                </c:pt>
                <c:pt idx="420">
                  <c:v>41498</c:v>
                </c:pt>
                <c:pt idx="421">
                  <c:v>41499</c:v>
                </c:pt>
                <c:pt idx="422">
                  <c:v>41500</c:v>
                </c:pt>
                <c:pt idx="423">
                  <c:v>41501</c:v>
                </c:pt>
                <c:pt idx="424">
                  <c:v>41502</c:v>
                </c:pt>
                <c:pt idx="425">
                  <c:v>41505</c:v>
                </c:pt>
                <c:pt idx="426">
                  <c:v>41506</c:v>
                </c:pt>
                <c:pt idx="427">
                  <c:v>41507</c:v>
                </c:pt>
                <c:pt idx="428">
                  <c:v>41508</c:v>
                </c:pt>
                <c:pt idx="429">
                  <c:v>41509</c:v>
                </c:pt>
                <c:pt idx="430">
                  <c:v>41512</c:v>
                </c:pt>
                <c:pt idx="431">
                  <c:v>41513</c:v>
                </c:pt>
                <c:pt idx="432">
                  <c:v>41514</c:v>
                </c:pt>
                <c:pt idx="433">
                  <c:v>41515</c:v>
                </c:pt>
                <c:pt idx="434">
                  <c:v>41516</c:v>
                </c:pt>
                <c:pt idx="435">
                  <c:v>41519</c:v>
                </c:pt>
                <c:pt idx="436">
                  <c:v>41520</c:v>
                </c:pt>
                <c:pt idx="437">
                  <c:v>41521</c:v>
                </c:pt>
                <c:pt idx="438">
                  <c:v>41522</c:v>
                </c:pt>
                <c:pt idx="439">
                  <c:v>41523</c:v>
                </c:pt>
                <c:pt idx="440">
                  <c:v>41526</c:v>
                </c:pt>
                <c:pt idx="441">
                  <c:v>41527</c:v>
                </c:pt>
                <c:pt idx="442">
                  <c:v>41528</c:v>
                </c:pt>
                <c:pt idx="443">
                  <c:v>41529</c:v>
                </c:pt>
                <c:pt idx="444">
                  <c:v>41530</c:v>
                </c:pt>
                <c:pt idx="445">
                  <c:v>41533</c:v>
                </c:pt>
                <c:pt idx="446">
                  <c:v>41534</c:v>
                </c:pt>
                <c:pt idx="447">
                  <c:v>41535</c:v>
                </c:pt>
                <c:pt idx="448">
                  <c:v>41536</c:v>
                </c:pt>
                <c:pt idx="449">
                  <c:v>41537</c:v>
                </c:pt>
                <c:pt idx="450">
                  <c:v>41540</c:v>
                </c:pt>
                <c:pt idx="451">
                  <c:v>41541</c:v>
                </c:pt>
                <c:pt idx="452">
                  <c:v>41542</c:v>
                </c:pt>
                <c:pt idx="453">
                  <c:v>41543</c:v>
                </c:pt>
                <c:pt idx="454">
                  <c:v>41544</c:v>
                </c:pt>
                <c:pt idx="455">
                  <c:v>41547</c:v>
                </c:pt>
                <c:pt idx="456">
                  <c:v>41548</c:v>
                </c:pt>
                <c:pt idx="457">
                  <c:v>41549</c:v>
                </c:pt>
                <c:pt idx="458">
                  <c:v>41550</c:v>
                </c:pt>
                <c:pt idx="459">
                  <c:v>41551</c:v>
                </c:pt>
                <c:pt idx="460">
                  <c:v>41554</c:v>
                </c:pt>
                <c:pt idx="461">
                  <c:v>41555</c:v>
                </c:pt>
                <c:pt idx="462">
                  <c:v>41556</c:v>
                </c:pt>
                <c:pt idx="463">
                  <c:v>41557</c:v>
                </c:pt>
                <c:pt idx="464">
                  <c:v>41558</c:v>
                </c:pt>
                <c:pt idx="465">
                  <c:v>41561</c:v>
                </c:pt>
                <c:pt idx="466">
                  <c:v>41562</c:v>
                </c:pt>
                <c:pt idx="467">
                  <c:v>41563</c:v>
                </c:pt>
                <c:pt idx="468">
                  <c:v>41564</c:v>
                </c:pt>
                <c:pt idx="469">
                  <c:v>41565</c:v>
                </c:pt>
                <c:pt idx="470">
                  <c:v>41568</c:v>
                </c:pt>
                <c:pt idx="471">
                  <c:v>41569</c:v>
                </c:pt>
                <c:pt idx="472">
                  <c:v>41570</c:v>
                </c:pt>
                <c:pt idx="473">
                  <c:v>41571</c:v>
                </c:pt>
                <c:pt idx="474">
                  <c:v>41572</c:v>
                </c:pt>
                <c:pt idx="475">
                  <c:v>41575</c:v>
                </c:pt>
                <c:pt idx="476">
                  <c:v>41576</c:v>
                </c:pt>
                <c:pt idx="477">
                  <c:v>41577</c:v>
                </c:pt>
                <c:pt idx="478">
                  <c:v>41578</c:v>
                </c:pt>
                <c:pt idx="479">
                  <c:v>41579</c:v>
                </c:pt>
                <c:pt idx="480">
                  <c:v>41582</c:v>
                </c:pt>
                <c:pt idx="481">
                  <c:v>41583</c:v>
                </c:pt>
                <c:pt idx="482">
                  <c:v>41584</c:v>
                </c:pt>
                <c:pt idx="483">
                  <c:v>41585</c:v>
                </c:pt>
                <c:pt idx="484">
                  <c:v>41586</c:v>
                </c:pt>
                <c:pt idx="485">
                  <c:v>41589</c:v>
                </c:pt>
                <c:pt idx="486">
                  <c:v>41590</c:v>
                </c:pt>
                <c:pt idx="487">
                  <c:v>41591</c:v>
                </c:pt>
                <c:pt idx="488">
                  <c:v>41592</c:v>
                </c:pt>
                <c:pt idx="489">
                  <c:v>41593</c:v>
                </c:pt>
                <c:pt idx="490">
                  <c:v>41596</c:v>
                </c:pt>
                <c:pt idx="491">
                  <c:v>41597</c:v>
                </c:pt>
                <c:pt idx="492">
                  <c:v>41598</c:v>
                </c:pt>
                <c:pt idx="493">
                  <c:v>41599</c:v>
                </c:pt>
                <c:pt idx="494">
                  <c:v>41600</c:v>
                </c:pt>
                <c:pt idx="495">
                  <c:v>41603</c:v>
                </c:pt>
                <c:pt idx="496">
                  <c:v>41604</c:v>
                </c:pt>
                <c:pt idx="497">
                  <c:v>41605</c:v>
                </c:pt>
                <c:pt idx="498">
                  <c:v>41606</c:v>
                </c:pt>
                <c:pt idx="499">
                  <c:v>41607</c:v>
                </c:pt>
                <c:pt idx="500">
                  <c:v>41610</c:v>
                </c:pt>
                <c:pt idx="501">
                  <c:v>41611</c:v>
                </c:pt>
                <c:pt idx="502">
                  <c:v>41612</c:v>
                </c:pt>
                <c:pt idx="503">
                  <c:v>41613</c:v>
                </c:pt>
                <c:pt idx="504">
                  <c:v>41614</c:v>
                </c:pt>
                <c:pt idx="505">
                  <c:v>41617</c:v>
                </c:pt>
                <c:pt idx="506">
                  <c:v>41618</c:v>
                </c:pt>
                <c:pt idx="507">
                  <c:v>41619</c:v>
                </c:pt>
                <c:pt idx="508">
                  <c:v>41620</c:v>
                </c:pt>
                <c:pt idx="509">
                  <c:v>41621</c:v>
                </c:pt>
                <c:pt idx="510">
                  <c:v>41624</c:v>
                </c:pt>
                <c:pt idx="511">
                  <c:v>41625</c:v>
                </c:pt>
                <c:pt idx="512">
                  <c:v>41626</c:v>
                </c:pt>
                <c:pt idx="513">
                  <c:v>41627</c:v>
                </c:pt>
                <c:pt idx="514">
                  <c:v>41628</c:v>
                </c:pt>
                <c:pt idx="515">
                  <c:v>41631</c:v>
                </c:pt>
                <c:pt idx="516">
                  <c:v>41632</c:v>
                </c:pt>
                <c:pt idx="517">
                  <c:v>41633</c:v>
                </c:pt>
                <c:pt idx="518">
                  <c:v>41634</c:v>
                </c:pt>
                <c:pt idx="519">
                  <c:v>41635</c:v>
                </c:pt>
                <c:pt idx="520">
                  <c:v>41638</c:v>
                </c:pt>
                <c:pt idx="521">
                  <c:v>41639</c:v>
                </c:pt>
                <c:pt idx="522">
                  <c:v>41640</c:v>
                </c:pt>
                <c:pt idx="523">
                  <c:v>41641</c:v>
                </c:pt>
                <c:pt idx="524">
                  <c:v>41642</c:v>
                </c:pt>
                <c:pt idx="525">
                  <c:v>41645</c:v>
                </c:pt>
                <c:pt idx="526">
                  <c:v>41646</c:v>
                </c:pt>
                <c:pt idx="527">
                  <c:v>41647</c:v>
                </c:pt>
                <c:pt idx="528">
                  <c:v>41648</c:v>
                </c:pt>
                <c:pt idx="529">
                  <c:v>41649</c:v>
                </c:pt>
                <c:pt idx="530">
                  <c:v>41652</c:v>
                </c:pt>
                <c:pt idx="531">
                  <c:v>41653</c:v>
                </c:pt>
                <c:pt idx="532">
                  <c:v>41654</c:v>
                </c:pt>
                <c:pt idx="533">
                  <c:v>41655</c:v>
                </c:pt>
                <c:pt idx="534">
                  <c:v>41656</c:v>
                </c:pt>
                <c:pt idx="535">
                  <c:v>41659</c:v>
                </c:pt>
                <c:pt idx="536">
                  <c:v>41660</c:v>
                </c:pt>
                <c:pt idx="537">
                  <c:v>41661</c:v>
                </c:pt>
                <c:pt idx="538">
                  <c:v>41662</c:v>
                </c:pt>
                <c:pt idx="539">
                  <c:v>41663</c:v>
                </c:pt>
                <c:pt idx="540">
                  <c:v>41666</c:v>
                </c:pt>
                <c:pt idx="541">
                  <c:v>41667</c:v>
                </c:pt>
                <c:pt idx="542">
                  <c:v>41668</c:v>
                </c:pt>
                <c:pt idx="543">
                  <c:v>41669</c:v>
                </c:pt>
                <c:pt idx="544">
                  <c:v>41670</c:v>
                </c:pt>
                <c:pt idx="545">
                  <c:v>41673</c:v>
                </c:pt>
                <c:pt idx="546">
                  <c:v>41674</c:v>
                </c:pt>
                <c:pt idx="547">
                  <c:v>41675</c:v>
                </c:pt>
                <c:pt idx="548">
                  <c:v>41676</c:v>
                </c:pt>
                <c:pt idx="549">
                  <c:v>41677</c:v>
                </c:pt>
                <c:pt idx="550">
                  <c:v>41680</c:v>
                </c:pt>
                <c:pt idx="551">
                  <c:v>41681</c:v>
                </c:pt>
                <c:pt idx="552">
                  <c:v>41682</c:v>
                </c:pt>
                <c:pt idx="553">
                  <c:v>41683</c:v>
                </c:pt>
                <c:pt idx="554">
                  <c:v>41684</c:v>
                </c:pt>
                <c:pt idx="555">
                  <c:v>41687</c:v>
                </c:pt>
                <c:pt idx="556">
                  <c:v>41688</c:v>
                </c:pt>
                <c:pt idx="557">
                  <c:v>41689</c:v>
                </c:pt>
                <c:pt idx="558">
                  <c:v>41690</c:v>
                </c:pt>
                <c:pt idx="559">
                  <c:v>41691</c:v>
                </c:pt>
                <c:pt idx="560">
                  <c:v>41694</c:v>
                </c:pt>
                <c:pt idx="561">
                  <c:v>41695</c:v>
                </c:pt>
                <c:pt idx="562">
                  <c:v>41696</c:v>
                </c:pt>
                <c:pt idx="563">
                  <c:v>41697</c:v>
                </c:pt>
                <c:pt idx="564">
                  <c:v>41698</c:v>
                </c:pt>
                <c:pt idx="565">
                  <c:v>41701</c:v>
                </c:pt>
                <c:pt idx="566">
                  <c:v>41702</c:v>
                </c:pt>
                <c:pt idx="567">
                  <c:v>41703</c:v>
                </c:pt>
                <c:pt idx="568">
                  <c:v>41704</c:v>
                </c:pt>
                <c:pt idx="569">
                  <c:v>41705</c:v>
                </c:pt>
                <c:pt idx="570">
                  <c:v>41708</c:v>
                </c:pt>
                <c:pt idx="571">
                  <c:v>41709</c:v>
                </c:pt>
                <c:pt idx="572">
                  <c:v>41710</c:v>
                </c:pt>
                <c:pt idx="573">
                  <c:v>41711</c:v>
                </c:pt>
                <c:pt idx="574">
                  <c:v>41712</c:v>
                </c:pt>
                <c:pt idx="575">
                  <c:v>41715</c:v>
                </c:pt>
                <c:pt idx="576">
                  <c:v>41716</c:v>
                </c:pt>
                <c:pt idx="577">
                  <c:v>41717</c:v>
                </c:pt>
                <c:pt idx="578">
                  <c:v>41718</c:v>
                </c:pt>
                <c:pt idx="579">
                  <c:v>41719</c:v>
                </c:pt>
                <c:pt idx="580">
                  <c:v>41722</c:v>
                </c:pt>
                <c:pt idx="581">
                  <c:v>41723</c:v>
                </c:pt>
                <c:pt idx="582">
                  <c:v>41724</c:v>
                </c:pt>
                <c:pt idx="583">
                  <c:v>41725</c:v>
                </c:pt>
                <c:pt idx="584">
                  <c:v>41726</c:v>
                </c:pt>
                <c:pt idx="585">
                  <c:v>41729</c:v>
                </c:pt>
                <c:pt idx="586">
                  <c:v>41730</c:v>
                </c:pt>
                <c:pt idx="587">
                  <c:v>41731</c:v>
                </c:pt>
                <c:pt idx="588">
                  <c:v>41732</c:v>
                </c:pt>
                <c:pt idx="589">
                  <c:v>41733</c:v>
                </c:pt>
                <c:pt idx="590">
                  <c:v>41736</c:v>
                </c:pt>
                <c:pt idx="591">
                  <c:v>41737</c:v>
                </c:pt>
                <c:pt idx="592">
                  <c:v>41738</c:v>
                </c:pt>
                <c:pt idx="593">
                  <c:v>41739</c:v>
                </c:pt>
                <c:pt idx="594">
                  <c:v>41740</c:v>
                </c:pt>
                <c:pt idx="595">
                  <c:v>41743</c:v>
                </c:pt>
                <c:pt idx="596">
                  <c:v>41744</c:v>
                </c:pt>
                <c:pt idx="597">
                  <c:v>41745</c:v>
                </c:pt>
                <c:pt idx="598">
                  <c:v>41746</c:v>
                </c:pt>
                <c:pt idx="599">
                  <c:v>41747</c:v>
                </c:pt>
                <c:pt idx="600">
                  <c:v>41750</c:v>
                </c:pt>
                <c:pt idx="601">
                  <c:v>41751</c:v>
                </c:pt>
                <c:pt idx="602">
                  <c:v>41752</c:v>
                </c:pt>
                <c:pt idx="603">
                  <c:v>41753</c:v>
                </c:pt>
                <c:pt idx="604">
                  <c:v>41754</c:v>
                </c:pt>
                <c:pt idx="605">
                  <c:v>41757</c:v>
                </c:pt>
                <c:pt idx="606">
                  <c:v>41758</c:v>
                </c:pt>
                <c:pt idx="607">
                  <c:v>41759</c:v>
                </c:pt>
                <c:pt idx="608">
                  <c:v>41760</c:v>
                </c:pt>
                <c:pt idx="609">
                  <c:v>41761</c:v>
                </c:pt>
                <c:pt idx="610">
                  <c:v>41764</c:v>
                </c:pt>
                <c:pt idx="611">
                  <c:v>41765</c:v>
                </c:pt>
                <c:pt idx="612">
                  <c:v>41766</c:v>
                </c:pt>
                <c:pt idx="613">
                  <c:v>41767</c:v>
                </c:pt>
                <c:pt idx="614">
                  <c:v>41768</c:v>
                </c:pt>
                <c:pt idx="615">
                  <c:v>41771</c:v>
                </c:pt>
                <c:pt idx="616">
                  <c:v>41772</c:v>
                </c:pt>
                <c:pt idx="617">
                  <c:v>41773</c:v>
                </c:pt>
                <c:pt idx="618">
                  <c:v>41774</c:v>
                </c:pt>
                <c:pt idx="619">
                  <c:v>41775</c:v>
                </c:pt>
                <c:pt idx="620">
                  <c:v>41778</c:v>
                </c:pt>
                <c:pt idx="621">
                  <c:v>41779</c:v>
                </c:pt>
                <c:pt idx="622">
                  <c:v>41780</c:v>
                </c:pt>
                <c:pt idx="623">
                  <c:v>41781</c:v>
                </c:pt>
                <c:pt idx="624">
                  <c:v>41782</c:v>
                </c:pt>
                <c:pt idx="625">
                  <c:v>41785</c:v>
                </c:pt>
                <c:pt idx="626">
                  <c:v>41786</c:v>
                </c:pt>
                <c:pt idx="627">
                  <c:v>41787</c:v>
                </c:pt>
                <c:pt idx="628">
                  <c:v>41788</c:v>
                </c:pt>
                <c:pt idx="629">
                  <c:v>41789</c:v>
                </c:pt>
                <c:pt idx="630">
                  <c:v>41792</c:v>
                </c:pt>
                <c:pt idx="631">
                  <c:v>41793</c:v>
                </c:pt>
                <c:pt idx="632">
                  <c:v>41794</c:v>
                </c:pt>
                <c:pt idx="633">
                  <c:v>41795</c:v>
                </c:pt>
                <c:pt idx="634">
                  <c:v>41796</c:v>
                </c:pt>
                <c:pt idx="635">
                  <c:v>41799</c:v>
                </c:pt>
                <c:pt idx="636">
                  <c:v>41800</c:v>
                </c:pt>
                <c:pt idx="637">
                  <c:v>41801</c:v>
                </c:pt>
                <c:pt idx="638">
                  <c:v>41802</c:v>
                </c:pt>
                <c:pt idx="639">
                  <c:v>41803</c:v>
                </c:pt>
                <c:pt idx="640">
                  <c:v>41806</c:v>
                </c:pt>
                <c:pt idx="641">
                  <c:v>41807</c:v>
                </c:pt>
                <c:pt idx="642">
                  <c:v>41808</c:v>
                </c:pt>
                <c:pt idx="643">
                  <c:v>41809</c:v>
                </c:pt>
                <c:pt idx="644">
                  <c:v>41810</c:v>
                </c:pt>
                <c:pt idx="645">
                  <c:v>41813</c:v>
                </c:pt>
                <c:pt idx="646">
                  <c:v>41814</c:v>
                </c:pt>
                <c:pt idx="647">
                  <c:v>41815</c:v>
                </c:pt>
                <c:pt idx="648">
                  <c:v>41816</c:v>
                </c:pt>
                <c:pt idx="649">
                  <c:v>41817</c:v>
                </c:pt>
                <c:pt idx="650">
                  <c:v>41820</c:v>
                </c:pt>
                <c:pt idx="651">
                  <c:v>41821</c:v>
                </c:pt>
                <c:pt idx="652">
                  <c:v>41822</c:v>
                </c:pt>
                <c:pt idx="653">
                  <c:v>41823</c:v>
                </c:pt>
                <c:pt idx="654">
                  <c:v>41824</c:v>
                </c:pt>
                <c:pt idx="655">
                  <c:v>41827</c:v>
                </c:pt>
                <c:pt idx="656">
                  <c:v>41828</c:v>
                </c:pt>
                <c:pt idx="657">
                  <c:v>41829</c:v>
                </c:pt>
                <c:pt idx="658">
                  <c:v>41830</c:v>
                </c:pt>
                <c:pt idx="659">
                  <c:v>41831</c:v>
                </c:pt>
                <c:pt idx="660">
                  <c:v>41834</c:v>
                </c:pt>
                <c:pt idx="661">
                  <c:v>41835</c:v>
                </c:pt>
                <c:pt idx="662">
                  <c:v>41836</c:v>
                </c:pt>
                <c:pt idx="663">
                  <c:v>41837</c:v>
                </c:pt>
                <c:pt idx="664">
                  <c:v>41838</c:v>
                </c:pt>
                <c:pt idx="665">
                  <c:v>41841</c:v>
                </c:pt>
                <c:pt idx="666">
                  <c:v>41842</c:v>
                </c:pt>
                <c:pt idx="667">
                  <c:v>41843</c:v>
                </c:pt>
                <c:pt idx="668">
                  <c:v>41844</c:v>
                </c:pt>
                <c:pt idx="669">
                  <c:v>41845</c:v>
                </c:pt>
                <c:pt idx="670">
                  <c:v>41848</c:v>
                </c:pt>
                <c:pt idx="671">
                  <c:v>41849</c:v>
                </c:pt>
                <c:pt idx="672">
                  <c:v>41850</c:v>
                </c:pt>
                <c:pt idx="673">
                  <c:v>41851</c:v>
                </c:pt>
                <c:pt idx="674">
                  <c:v>41852</c:v>
                </c:pt>
                <c:pt idx="675">
                  <c:v>41855</c:v>
                </c:pt>
                <c:pt idx="676">
                  <c:v>41856</c:v>
                </c:pt>
                <c:pt idx="677">
                  <c:v>41857</c:v>
                </c:pt>
                <c:pt idx="678">
                  <c:v>41858</c:v>
                </c:pt>
                <c:pt idx="679">
                  <c:v>41859</c:v>
                </c:pt>
                <c:pt idx="680">
                  <c:v>41862</c:v>
                </c:pt>
                <c:pt idx="681">
                  <c:v>41863</c:v>
                </c:pt>
                <c:pt idx="682">
                  <c:v>41864</c:v>
                </c:pt>
                <c:pt idx="683">
                  <c:v>41865</c:v>
                </c:pt>
                <c:pt idx="684">
                  <c:v>41866</c:v>
                </c:pt>
                <c:pt idx="685">
                  <c:v>41869</c:v>
                </c:pt>
                <c:pt idx="686">
                  <c:v>41870</c:v>
                </c:pt>
                <c:pt idx="687">
                  <c:v>41871</c:v>
                </c:pt>
                <c:pt idx="688">
                  <c:v>41872</c:v>
                </c:pt>
                <c:pt idx="689">
                  <c:v>41873</c:v>
                </c:pt>
                <c:pt idx="690">
                  <c:v>41876</c:v>
                </c:pt>
                <c:pt idx="691">
                  <c:v>41877</c:v>
                </c:pt>
                <c:pt idx="692">
                  <c:v>41878</c:v>
                </c:pt>
                <c:pt idx="693">
                  <c:v>41879</c:v>
                </c:pt>
                <c:pt idx="694">
                  <c:v>41880</c:v>
                </c:pt>
                <c:pt idx="695">
                  <c:v>41883</c:v>
                </c:pt>
                <c:pt idx="696">
                  <c:v>41884</c:v>
                </c:pt>
                <c:pt idx="697">
                  <c:v>41885</c:v>
                </c:pt>
                <c:pt idx="698">
                  <c:v>41886</c:v>
                </c:pt>
                <c:pt idx="699">
                  <c:v>41887</c:v>
                </c:pt>
                <c:pt idx="700">
                  <c:v>41890</c:v>
                </c:pt>
                <c:pt idx="701">
                  <c:v>41891</c:v>
                </c:pt>
                <c:pt idx="702">
                  <c:v>41892</c:v>
                </c:pt>
                <c:pt idx="703">
                  <c:v>41893</c:v>
                </c:pt>
                <c:pt idx="704">
                  <c:v>41894</c:v>
                </c:pt>
                <c:pt idx="705">
                  <c:v>41897</c:v>
                </c:pt>
                <c:pt idx="706">
                  <c:v>41898</c:v>
                </c:pt>
                <c:pt idx="707">
                  <c:v>41899</c:v>
                </c:pt>
                <c:pt idx="708">
                  <c:v>41900</c:v>
                </c:pt>
                <c:pt idx="709">
                  <c:v>41901</c:v>
                </c:pt>
                <c:pt idx="710">
                  <c:v>41904</c:v>
                </c:pt>
                <c:pt idx="711">
                  <c:v>41905</c:v>
                </c:pt>
                <c:pt idx="712">
                  <c:v>41906</c:v>
                </c:pt>
                <c:pt idx="713">
                  <c:v>41907</c:v>
                </c:pt>
                <c:pt idx="714">
                  <c:v>41908</c:v>
                </c:pt>
                <c:pt idx="715">
                  <c:v>41911</c:v>
                </c:pt>
                <c:pt idx="716">
                  <c:v>41912</c:v>
                </c:pt>
                <c:pt idx="717">
                  <c:v>41913</c:v>
                </c:pt>
                <c:pt idx="718">
                  <c:v>41914</c:v>
                </c:pt>
                <c:pt idx="719">
                  <c:v>41915</c:v>
                </c:pt>
                <c:pt idx="720">
                  <c:v>41918</c:v>
                </c:pt>
                <c:pt idx="721">
                  <c:v>41919</c:v>
                </c:pt>
                <c:pt idx="722">
                  <c:v>41920</c:v>
                </c:pt>
                <c:pt idx="723">
                  <c:v>41921</c:v>
                </c:pt>
                <c:pt idx="724">
                  <c:v>41922</c:v>
                </c:pt>
                <c:pt idx="725">
                  <c:v>41925</c:v>
                </c:pt>
                <c:pt idx="726">
                  <c:v>41926</c:v>
                </c:pt>
                <c:pt idx="727">
                  <c:v>41927</c:v>
                </c:pt>
                <c:pt idx="728">
                  <c:v>41928</c:v>
                </c:pt>
                <c:pt idx="729">
                  <c:v>41929</c:v>
                </c:pt>
                <c:pt idx="730">
                  <c:v>41932</c:v>
                </c:pt>
                <c:pt idx="731">
                  <c:v>41933</c:v>
                </c:pt>
                <c:pt idx="732">
                  <c:v>41934</c:v>
                </c:pt>
                <c:pt idx="733">
                  <c:v>41935</c:v>
                </c:pt>
                <c:pt idx="734">
                  <c:v>41936</c:v>
                </c:pt>
                <c:pt idx="735">
                  <c:v>41939</c:v>
                </c:pt>
                <c:pt idx="736">
                  <c:v>41940</c:v>
                </c:pt>
                <c:pt idx="737">
                  <c:v>41941</c:v>
                </c:pt>
                <c:pt idx="738">
                  <c:v>41942</c:v>
                </c:pt>
                <c:pt idx="739">
                  <c:v>41943</c:v>
                </c:pt>
                <c:pt idx="740">
                  <c:v>41946</c:v>
                </c:pt>
                <c:pt idx="741">
                  <c:v>41947</c:v>
                </c:pt>
                <c:pt idx="742">
                  <c:v>41948</c:v>
                </c:pt>
                <c:pt idx="743">
                  <c:v>41949</c:v>
                </c:pt>
                <c:pt idx="744">
                  <c:v>41950</c:v>
                </c:pt>
                <c:pt idx="745">
                  <c:v>41953</c:v>
                </c:pt>
                <c:pt idx="746">
                  <c:v>41954</c:v>
                </c:pt>
                <c:pt idx="747">
                  <c:v>41955</c:v>
                </c:pt>
                <c:pt idx="748">
                  <c:v>41956</c:v>
                </c:pt>
                <c:pt idx="749">
                  <c:v>41957</c:v>
                </c:pt>
                <c:pt idx="750">
                  <c:v>41960</c:v>
                </c:pt>
                <c:pt idx="751">
                  <c:v>41961</c:v>
                </c:pt>
                <c:pt idx="752">
                  <c:v>41962</c:v>
                </c:pt>
                <c:pt idx="753">
                  <c:v>41963</c:v>
                </c:pt>
                <c:pt idx="754">
                  <c:v>41964</c:v>
                </c:pt>
                <c:pt idx="755">
                  <c:v>41967</c:v>
                </c:pt>
                <c:pt idx="756">
                  <c:v>41968</c:v>
                </c:pt>
                <c:pt idx="757">
                  <c:v>41969</c:v>
                </c:pt>
                <c:pt idx="758">
                  <c:v>41970</c:v>
                </c:pt>
                <c:pt idx="759">
                  <c:v>41971</c:v>
                </c:pt>
                <c:pt idx="760">
                  <c:v>41974</c:v>
                </c:pt>
                <c:pt idx="761">
                  <c:v>41975</c:v>
                </c:pt>
                <c:pt idx="762">
                  <c:v>41976</c:v>
                </c:pt>
                <c:pt idx="763">
                  <c:v>41977</c:v>
                </c:pt>
                <c:pt idx="764">
                  <c:v>41978</c:v>
                </c:pt>
                <c:pt idx="765">
                  <c:v>41981</c:v>
                </c:pt>
                <c:pt idx="766">
                  <c:v>41982</c:v>
                </c:pt>
                <c:pt idx="767">
                  <c:v>41983</c:v>
                </c:pt>
                <c:pt idx="768">
                  <c:v>41984</c:v>
                </c:pt>
                <c:pt idx="769">
                  <c:v>41985</c:v>
                </c:pt>
                <c:pt idx="770">
                  <c:v>41988</c:v>
                </c:pt>
                <c:pt idx="771">
                  <c:v>41989</c:v>
                </c:pt>
                <c:pt idx="772">
                  <c:v>41990</c:v>
                </c:pt>
                <c:pt idx="773">
                  <c:v>41991</c:v>
                </c:pt>
                <c:pt idx="774">
                  <c:v>41992</c:v>
                </c:pt>
                <c:pt idx="775">
                  <c:v>41995</c:v>
                </c:pt>
                <c:pt idx="776">
                  <c:v>41996</c:v>
                </c:pt>
                <c:pt idx="777">
                  <c:v>41997</c:v>
                </c:pt>
                <c:pt idx="778">
                  <c:v>41998</c:v>
                </c:pt>
                <c:pt idx="779">
                  <c:v>41999</c:v>
                </c:pt>
                <c:pt idx="780">
                  <c:v>42002</c:v>
                </c:pt>
                <c:pt idx="781">
                  <c:v>42003</c:v>
                </c:pt>
                <c:pt idx="782">
                  <c:v>42004</c:v>
                </c:pt>
                <c:pt idx="783">
                  <c:v>42005</c:v>
                </c:pt>
                <c:pt idx="784">
                  <c:v>42006</c:v>
                </c:pt>
                <c:pt idx="785">
                  <c:v>42009</c:v>
                </c:pt>
                <c:pt idx="786">
                  <c:v>42010</c:v>
                </c:pt>
                <c:pt idx="787">
                  <c:v>42011</c:v>
                </c:pt>
                <c:pt idx="788">
                  <c:v>42012</c:v>
                </c:pt>
                <c:pt idx="789">
                  <c:v>42013</c:v>
                </c:pt>
                <c:pt idx="790">
                  <c:v>42016</c:v>
                </c:pt>
                <c:pt idx="791">
                  <c:v>42017</c:v>
                </c:pt>
                <c:pt idx="792">
                  <c:v>42018</c:v>
                </c:pt>
                <c:pt idx="793">
                  <c:v>42019</c:v>
                </c:pt>
                <c:pt idx="794">
                  <c:v>42020</c:v>
                </c:pt>
                <c:pt idx="795">
                  <c:v>42023</c:v>
                </c:pt>
                <c:pt idx="796">
                  <c:v>42024</c:v>
                </c:pt>
                <c:pt idx="797">
                  <c:v>42025</c:v>
                </c:pt>
                <c:pt idx="798">
                  <c:v>42026</c:v>
                </c:pt>
                <c:pt idx="799">
                  <c:v>42027</c:v>
                </c:pt>
                <c:pt idx="800">
                  <c:v>42030</c:v>
                </c:pt>
                <c:pt idx="801">
                  <c:v>42031</c:v>
                </c:pt>
                <c:pt idx="802">
                  <c:v>42032</c:v>
                </c:pt>
                <c:pt idx="803">
                  <c:v>42033</c:v>
                </c:pt>
                <c:pt idx="804">
                  <c:v>42034</c:v>
                </c:pt>
                <c:pt idx="805">
                  <c:v>42037</c:v>
                </c:pt>
                <c:pt idx="806">
                  <c:v>42038</c:v>
                </c:pt>
                <c:pt idx="807">
                  <c:v>42039</c:v>
                </c:pt>
                <c:pt idx="808">
                  <c:v>42040</c:v>
                </c:pt>
                <c:pt idx="809">
                  <c:v>42041</c:v>
                </c:pt>
                <c:pt idx="810">
                  <c:v>42044</c:v>
                </c:pt>
                <c:pt idx="811">
                  <c:v>42045</c:v>
                </c:pt>
                <c:pt idx="812">
                  <c:v>42046</c:v>
                </c:pt>
                <c:pt idx="813">
                  <c:v>42047</c:v>
                </c:pt>
                <c:pt idx="814">
                  <c:v>42048</c:v>
                </c:pt>
                <c:pt idx="815">
                  <c:v>42051</c:v>
                </c:pt>
                <c:pt idx="816">
                  <c:v>42052</c:v>
                </c:pt>
                <c:pt idx="817">
                  <c:v>42053</c:v>
                </c:pt>
                <c:pt idx="818">
                  <c:v>42054</c:v>
                </c:pt>
                <c:pt idx="819">
                  <c:v>42055</c:v>
                </c:pt>
                <c:pt idx="820">
                  <c:v>42058</c:v>
                </c:pt>
                <c:pt idx="821">
                  <c:v>42059</c:v>
                </c:pt>
                <c:pt idx="822">
                  <c:v>42060</c:v>
                </c:pt>
                <c:pt idx="823">
                  <c:v>42061</c:v>
                </c:pt>
                <c:pt idx="824">
                  <c:v>42062</c:v>
                </c:pt>
                <c:pt idx="825">
                  <c:v>42065</c:v>
                </c:pt>
                <c:pt idx="826">
                  <c:v>42066</c:v>
                </c:pt>
                <c:pt idx="827">
                  <c:v>42067</c:v>
                </c:pt>
                <c:pt idx="828">
                  <c:v>42068</c:v>
                </c:pt>
                <c:pt idx="829">
                  <c:v>42069</c:v>
                </c:pt>
                <c:pt idx="830">
                  <c:v>42072</c:v>
                </c:pt>
                <c:pt idx="831">
                  <c:v>42073</c:v>
                </c:pt>
                <c:pt idx="832">
                  <c:v>42074</c:v>
                </c:pt>
                <c:pt idx="833">
                  <c:v>42075</c:v>
                </c:pt>
                <c:pt idx="834">
                  <c:v>42076</c:v>
                </c:pt>
                <c:pt idx="835">
                  <c:v>42079</c:v>
                </c:pt>
                <c:pt idx="836">
                  <c:v>42080</c:v>
                </c:pt>
                <c:pt idx="837">
                  <c:v>42081</c:v>
                </c:pt>
                <c:pt idx="838">
                  <c:v>42082</c:v>
                </c:pt>
                <c:pt idx="839">
                  <c:v>42083</c:v>
                </c:pt>
                <c:pt idx="840">
                  <c:v>42086</c:v>
                </c:pt>
                <c:pt idx="841">
                  <c:v>42087</c:v>
                </c:pt>
                <c:pt idx="842">
                  <c:v>42088</c:v>
                </c:pt>
                <c:pt idx="843">
                  <c:v>42089</c:v>
                </c:pt>
                <c:pt idx="844">
                  <c:v>42090</c:v>
                </c:pt>
                <c:pt idx="845">
                  <c:v>42093</c:v>
                </c:pt>
                <c:pt idx="846">
                  <c:v>42094</c:v>
                </c:pt>
                <c:pt idx="847">
                  <c:v>42095</c:v>
                </c:pt>
                <c:pt idx="848">
                  <c:v>42096</c:v>
                </c:pt>
                <c:pt idx="849">
                  <c:v>42097</c:v>
                </c:pt>
                <c:pt idx="850">
                  <c:v>42100</c:v>
                </c:pt>
                <c:pt idx="851">
                  <c:v>42101</c:v>
                </c:pt>
                <c:pt idx="852">
                  <c:v>42102</c:v>
                </c:pt>
                <c:pt idx="853">
                  <c:v>42103</c:v>
                </c:pt>
                <c:pt idx="854">
                  <c:v>42104</c:v>
                </c:pt>
                <c:pt idx="855">
                  <c:v>42107</c:v>
                </c:pt>
                <c:pt idx="856">
                  <c:v>42108</c:v>
                </c:pt>
                <c:pt idx="857">
                  <c:v>42109</c:v>
                </c:pt>
                <c:pt idx="858">
                  <c:v>42110</c:v>
                </c:pt>
                <c:pt idx="859">
                  <c:v>42111</c:v>
                </c:pt>
                <c:pt idx="860">
                  <c:v>42114</c:v>
                </c:pt>
                <c:pt idx="861">
                  <c:v>42115</c:v>
                </c:pt>
                <c:pt idx="862">
                  <c:v>42116</c:v>
                </c:pt>
                <c:pt idx="863">
                  <c:v>42117</c:v>
                </c:pt>
                <c:pt idx="864">
                  <c:v>42118</c:v>
                </c:pt>
                <c:pt idx="865">
                  <c:v>42121</c:v>
                </c:pt>
                <c:pt idx="866">
                  <c:v>42122</c:v>
                </c:pt>
                <c:pt idx="867">
                  <c:v>42123</c:v>
                </c:pt>
                <c:pt idx="868">
                  <c:v>42124</c:v>
                </c:pt>
                <c:pt idx="869">
                  <c:v>42125</c:v>
                </c:pt>
                <c:pt idx="870">
                  <c:v>42128</c:v>
                </c:pt>
                <c:pt idx="871">
                  <c:v>42129</c:v>
                </c:pt>
                <c:pt idx="872">
                  <c:v>42130</c:v>
                </c:pt>
                <c:pt idx="873">
                  <c:v>42131</c:v>
                </c:pt>
                <c:pt idx="874">
                  <c:v>42132</c:v>
                </c:pt>
                <c:pt idx="875">
                  <c:v>42135</c:v>
                </c:pt>
                <c:pt idx="876">
                  <c:v>42136</c:v>
                </c:pt>
                <c:pt idx="877">
                  <c:v>42137</c:v>
                </c:pt>
                <c:pt idx="878">
                  <c:v>42138</c:v>
                </c:pt>
                <c:pt idx="879">
                  <c:v>42139</c:v>
                </c:pt>
                <c:pt idx="880">
                  <c:v>42142</c:v>
                </c:pt>
                <c:pt idx="881">
                  <c:v>42143</c:v>
                </c:pt>
                <c:pt idx="882">
                  <c:v>42144</c:v>
                </c:pt>
                <c:pt idx="883">
                  <c:v>42145</c:v>
                </c:pt>
                <c:pt idx="884">
                  <c:v>42146</c:v>
                </c:pt>
                <c:pt idx="885">
                  <c:v>42149</c:v>
                </c:pt>
                <c:pt idx="886">
                  <c:v>42150</c:v>
                </c:pt>
                <c:pt idx="887">
                  <c:v>42151</c:v>
                </c:pt>
                <c:pt idx="888">
                  <c:v>42152</c:v>
                </c:pt>
                <c:pt idx="889">
                  <c:v>42153</c:v>
                </c:pt>
                <c:pt idx="890">
                  <c:v>42156</c:v>
                </c:pt>
                <c:pt idx="891">
                  <c:v>42157</c:v>
                </c:pt>
                <c:pt idx="892">
                  <c:v>42158</c:v>
                </c:pt>
                <c:pt idx="893">
                  <c:v>42159</c:v>
                </c:pt>
                <c:pt idx="894">
                  <c:v>42160</c:v>
                </c:pt>
                <c:pt idx="895">
                  <c:v>42163</c:v>
                </c:pt>
                <c:pt idx="896">
                  <c:v>42164</c:v>
                </c:pt>
                <c:pt idx="897">
                  <c:v>42165</c:v>
                </c:pt>
                <c:pt idx="898">
                  <c:v>42166</c:v>
                </c:pt>
                <c:pt idx="899">
                  <c:v>42167</c:v>
                </c:pt>
                <c:pt idx="900">
                  <c:v>42170</c:v>
                </c:pt>
                <c:pt idx="901">
                  <c:v>42171</c:v>
                </c:pt>
                <c:pt idx="902">
                  <c:v>42172</c:v>
                </c:pt>
                <c:pt idx="903">
                  <c:v>42173</c:v>
                </c:pt>
                <c:pt idx="904">
                  <c:v>42174</c:v>
                </c:pt>
                <c:pt idx="905">
                  <c:v>42177</c:v>
                </c:pt>
                <c:pt idx="906">
                  <c:v>42178</c:v>
                </c:pt>
                <c:pt idx="907">
                  <c:v>42179</c:v>
                </c:pt>
                <c:pt idx="908">
                  <c:v>42180</c:v>
                </c:pt>
                <c:pt idx="909">
                  <c:v>42181</c:v>
                </c:pt>
                <c:pt idx="910">
                  <c:v>42184</c:v>
                </c:pt>
                <c:pt idx="911">
                  <c:v>42185</c:v>
                </c:pt>
                <c:pt idx="912">
                  <c:v>42186</c:v>
                </c:pt>
                <c:pt idx="913">
                  <c:v>42187</c:v>
                </c:pt>
                <c:pt idx="914">
                  <c:v>42188</c:v>
                </c:pt>
                <c:pt idx="915">
                  <c:v>42191</c:v>
                </c:pt>
                <c:pt idx="916">
                  <c:v>42192</c:v>
                </c:pt>
                <c:pt idx="917">
                  <c:v>42193</c:v>
                </c:pt>
                <c:pt idx="918">
                  <c:v>42194</c:v>
                </c:pt>
                <c:pt idx="919">
                  <c:v>42195</c:v>
                </c:pt>
                <c:pt idx="920">
                  <c:v>42198</c:v>
                </c:pt>
                <c:pt idx="921">
                  <c:v>42199</c:v>
                </c:pt>
                <c:pt idx="922">
                  <c:v>42200</c:v>
                </c:pt>
                <c:pt idx="923">
                  <c:v>42201</c:v>
                </c:pt>
                <c:pt idx="924">
                  <c:v>42202</c:v>
                </c:pt>
                <c:pt idx="925">
                  <c:v>42205</c:v>
                </c:pt>
                <c:pt idx="926">
                  <c:v>42206</c:v>
                </c:pt>
                <c:pt idx="927">
                  <c:v>42207</c:v>
                </c:pt>
                <c:pt idx="928">
                  <c:v>42208</c:v>
                </c:pt>
                <c:pt idx="929">
                  <c:v>42209</c:v>
                </c:pt>
                <c:pt idx="930">
                  <c:v>42212</c:v>
                </c:pt>
                <c:pt idx="931">
                  <c:v>42213</c:v>
                </c:pt>
                <c:pt idx="932">
                  <c:v>42214</c:v>
                </c:pt>
                <c:pt idx="933">
                  <c:v>42215</c:v>
                </c:pt>
                <c:pt idx="934">
                  <c:v>42216</c:v>
                </c:pt>
                <c:pt idx="935">
                  <c:v>42219</c:v>
                </c:pt>
                <c:pt idx="936">
                  <c:v>42220</c:v>
                </c:pt>
                <c:pt idx="937">
                  <c:v>42221</c:v>
                </c:pt>
                <c:pt idx="938">
                  <c:v>42222</c:v>
                </c:pt>
                <c:pt idx="939">
                  <c:v>42223</c:v>
                </c:pt>
                <c:pt idx="940">
                  <c:v>42226</c:v>
                </c:pt>
                <c:pt idx="941">
                  <c:v>42227</c:v>
                </c:pt>
                <c:pt idx="942">
                  <c:v>42228</c:v>
                </c:pt>
                <c:pt idx="943">
                  <c:v>42229</c:v>
                </c:pt>
                <c:pt idx="944">
                  <c:v>42230</c:v>
                </c:pt>
                <c:pt idx="945">
                  <c:v>42233</c:v>
                </c:pt>
                <c:pt idx="946">
                  <c:v>42234</c:v>
                </c:pt>
                <c:pt idx="947">
                  <c:v>42235</c:v>
                </c:pt>
                <c:pt idx="948">
                  <c:v>42236</c:v>
                </c:pt>
                <c:pt idx="949">
                  <c:v>42237</c:v>
                </c:pt>
                <c:pt idx="950">
                  <c:v>42240</c:v>
                </c:pt>
                <c:pt idx="951">
                  <c:v>42241</c:v>
                </c:pt>
                <c:pt idx="952">
                  <c:v>42242</c:v>
                </c:pt>
                <c:pt idx="953">
                  <c:v>42243</c:v>
                </c:pt>
                <c:pt idx="954">
                  <c:v>42244</c:v>
                </c:pt>
                <c:pt idx="955">
                  <c:v>42247</c:v>
                </c:pt>
                <c:pt idx="956">
                  <c:v>42248</c:v>
                </c:pt>
                <c:pt idx="957">
                  <c:v>42249</c:v>
                </c:pt>
                <c:pt idx="958">
                  <c:v>42250</c:v>
                </c:pt>
                <c:pt idx="959">
                  <c:v>42251</c:v>
                </c:pt>
                <c:pt idx="960">
                  <c:v>42254</c:v>
                </c:pt>
                <c:pt idx="961">
                  <c:v>42255</c:v>
                </c:pt>
                <c:pt idx="962">
                  <c:v>42256</c:v>
                </c:pt>
                <c:pt idx="963">
                  <c:v>42257</c:v>
                </c:pt>
                <c:pt idx="964">
                  <c:v>42258</c:v>
                </c:pt>
                <c:pt idx="965">
                  <c:v>42261</c:v>
                </c:pt>
                <c:pt idx="966">
                  <c:v>42262</c:v>
                </c:pt>
                <c:pt idx="967">
                  <c:v>42263</c:v>
                </c:pt>
                <c:pt idx="968">
                  <c:v>42264</c:v>
                </c:pt>
                <c:pt idx="969">
                  <c:v>42265</c:v>
                </c:pt>
                <c:pt idx="970">
                  <c:v>42268</c:v>
                </c:pt>
                <c:pt idx="971">
                  <c:v>42269</c:v>
                </c:pt>
                <c:pt idx="972">
                  <c:v>42270</c:v>
                </c:pt>
                <c:pt idx="973">
                  <c:v>42271</c:v>
                </c:pt>
                <c:pt idx="974">
                  <c:v>42272</c:v>
                </c:pt>
                <c:pt idx="975">
                  <c:v>42275</c:v>
                </c:pt>
                <c:pt idx="976">
                  <c:v>42276</c:v>
                </c:pt>
                <c:pt idx="977">
                  <c:v>42277</c:v>
                </c:pt>
                <c:pt idx="978">
                  <c:v>42278</c:v>
                </c:pt>
                <c:pt idx="979">
                  <c:v>42279</c:v>
                </c:pt>
                <c:pt idx="980">
                  <c:v>42282</c:v>
                </c:pt>
                <c:pt idx="981">
                  <c:v>42283</c:v>
                </c:pt>
                <c:pt idx="982">
                  <c:v>42284</c:v>
                </c:pt>
                <c:pt idx="983">
                  <c:v>42285</c:v>
                </c:pt>
                <c:pt idx="984">
                  <c:v>42286</c:v>
                </c:pt>
                <c:pt idx="985">
                  <c:v>42289</c:v>
                </c:pt>
                <c:pt idx="986">
                  <c:v>42290</c:v>
                </c:pt>
                <c:pt idx="987">
                  <c:v>42291</c:v>
                </c:pt>
                <c:pt idx="988">
                  <c:v>42292</c:v>
                </c:pt>
                <c:pt idx="989">
                  <c:v>42293</c:v>
                </c:pt>
                <c:pt idx="990">
                  <c:v>42296</c:v>
                </c:pt>
                <c:pt idx="991">
                  <c:v>42297</c:v>
                </c:pt>
                <c:pt idx="992">
                  <c:v>42298</c:v>
                </c:pt>
                <c:pt idx="993">
                  <c:v>42299</c:v>
                </c:pt>
                <c:pt idx="994">
                  <c:v>42300</c:v>
                </c:pt>
                <c:pt idx="995">
                  <c:v>42303</c:v>
                </c:pt>
                <c:pt idx="996">
                  <c:v>42304</c:v>
                </c:pt>
                <c:pt idx="997">
                  <c:v>42305</c:v>
                </c:pt>
                <c:pt idx="998">
                  <c:v>42306</c:v>
                </c:pt>
                <c:pt idx="999">
                  <c:v>42307</c:v>
                </c:pt>
                <c:pt idx="1000">
                  <c:v>42310</c:v>
                </c:pt>
                <c:pt idx="1001">
                  <c:v>42311</c:v>
                </c:pt>
                <c:pt idx="1002">
                  <c:v>42312</c:v>
                </c:pt>
                <c:pt idx="1003">
                  <c:v>42313</c:v>
                </c:pt>
                <c:pt idx="1004">
                  <c:v>42314</c:v>
                </c:pt>
                <c:pt idx="1005">
                  <c:v>42317</c:v>
                </c:pt>
                <c:pt idx="1006">
                  <c:v>42318</c:v>
                </c:pt>
                <c:pt idx="1007">
                  <c:v>42319</c:v>
                </c:pt>
                <c:pt idx="1008">
                  <c:v>42320</c:v>
                </c:pt>
                <c:pt idx="1009">
                  <c:v>42321</c:v>
                </c:pt>
                <c:pt idx="1010">
                  <c:v>42324</c:v>
                </c:pt>
                <c:pt idx="1011">
                  <c:v>42325</c:v>
                </c:pt>
                <c:pt idx="1012">
                  <c:v>42326</c:v>
                </c:pt>
                <c:pt idx="1013">
                  <c:v>42327</c:v>
                </c:pt>
                <c:pt idx="1014">
                  <c:v>42328</c:v>
                </c:pt>
                <c:pt idx="1015">
                  <c:v>42331</c:v>
                </c:pt>
                <c:pt idx="1016">
                  <c:v>42332</c:v>
                </c:pt>
              </c:numCache>
            </c:numRef>
          </c:cat>
          <c:val>
            <c:numRef>
              <c:f>[alco.xlsm]cds!$E$1578:$E$5000</c:f>
              <c:numCache>
                <c:formatCode>General</c:formatCode>
                <c:ptCount val="3423"/>
                <c:pt idx="0">
                  <c:v>156.04000000000002</c:v>
                </c:pt>
                <c:pt idx="1">
                  <c:v>154.72</c:v>
                </c:pt>
                <c:pt idx="2">
                  <c:v>162.80000000000001</c:v>
                </c:pt>
                <c:pt idx="3">
                  <c:v>169.55</c:v>
                </c:pt>
                <c:pt idx="4">
                  <c:v>170.45000000000002</c:v>
                </c:pt>
                <c:pt idx="5">
                  <c:v>171.44000000000003</c:v>
                </c:pt>
                <c:pt idx="6">
                  <c:v>164.74</c:v>
                </c:pt>
                <c:pt idx="7">
                  <c:v>164.74</c:v>
                </c:pt>
                <c:pt idx="8">
                  <c:v>158.05000000000001</c:v>
                </c:pt>
                <c:pt idx="9">
                  <c:v>158.5</c:v>
                </c:pt>
                <c:pt idx="10">
                  <c:v>158.5</c:v>
                </c:pt>
                <c:pt idx="11">
                  <c:v>156.33000000000001</c:v>
                </c:pt>
                <c:pt idx="12">
                  <c:v>153.63000000000002</c:v>
                </c:pt>
                <c:pt idx="13">
                  <c:v>144.63000000000002</c:v>
                </c:pt>
                <c:pt idx="14">
                  <c:v>144.66000000000003</c:v>
                </c:pt>
                <c:pt idx="15">
                  <c:v>137.46</c:v>
                </c:pt>
                <c:pt idx="16">
                  <c:v>137.46</c:v>
                </c:pt>
                <c:pt idx="17">
                  <c:v>134.37</c:v>
                </c:pt>
                <c:pt idx="18">
                  <c:v>132.15</c:v>
                </c:pt>
                <c:pt idx="19">
                  <c:v>132.18</c:v>
                </c:pt>
                <c:pt idx="20">
                  <c:v>134.45000000000002</c:v>
                </c:pt>
                <c:pt idx="21">
                  <c:v>134.46</c:v>
                </c:pt>
                <c:pt idx="22">
                  <c:v>132.26000000000002</c:v>
                </c:pt>
                <c:pt idx="23">
                  <c:v>128.65</c:v>
                </c:pt>
                <c:pt idx="24">
                  <c:v>126.43</c:v>
                </c:pt>
                <c:pt idx="25">
                  <c:v>126.43</c:v>
                </c:pt>
                <c:pt idx="26">
                  <c:v>126.49000000000001</c:v>
                </c:pt>
                <c:pt idx="27">
                  <c:v>126.49000000000001</c:v>
                </c:pt>
                <c:pt idx="28">
                  <c:v>124.21000000000001</c:v>
                </c:pt>
                <c:pt idx="29">
                  <c:v>128.76000000000002</c:v>
                </c:pt>
                <c:pt idx="30">
                  <c:v>126.58000000000001</c:v>
                </c:pt>
                <c:pt idx="31">
                  <c:v>126.58000000000001</c:v>
                </c:pt>
                <c:pt idx="32">
                  <c:v>126.60000000000001</c:v>
                </c:pt>
                <c:pt idx="33">
                  <c:v>128.88000000000002</c:v>
                </c:pt>
                <c:pt idx="34">
                  <c:v>127.56000000000002</c:v>
                </c:pt>
                <c:pt idx="35">
                  <c:v>126.71000000000001</c:v>
                </c:pt>
                <c:pt idx="36">
                  <c:v>126.73</c:v>
                </c:pt>
                <c:pt idx="37">
                  <c:v>122.62</c:v>
                </c:pt>
                <c:pt idx="38">
                  <c:v>122.20000000000002</c:v>
                </c:pt>
                <c:pt idx="39">
                  <c:v>119.98</c:v>
                </c:pt>
                <c:pt idx="40">
                  <c:v>117.28000000000002</c:v>
                </c:pt>
                <c:pt idx="41">
                  <c:v>117.31000000000002</c:v>
                </c:pt>
                <c:pt idx="42">
                  <c:v>116.86000000000001</c:v>
                </c:pt>
                <c:pt idx="43">
                  <c:v>115.10000000000001</c:v>
                </c:pt>
                <c:pt idx="44">
                  <c:v>115.11000000000001</c:v>
                </c:pt>
                <c:pt idx="45">
                  <c:v>115.15</c:v>
                </c:pt>
                <c:pt idx="46">
                  <c:v>116.50000000000001</c:v>
                </c:pt>
                <c:pt idx="47">
                  <c:v>115.16000000000001</c:v>
                </c:pt>
                <c:pt idx="48">
                  <c:v>115.16000000000001</c:v>
                </c:pt>
                <c:pt idx="49">
                  <c:v>113.82000000000001</c:v>
                </c:pt>
                <c:pt idx="50">
                  <c:v>113.86000000000001</c:v>
                </c:pt>
                <c:pt idx="51">
                  <c:v>112.99000000000001</c:v>
                </c:pt>
                <c:pt idx="52">
                  <c:v>109.83000000000001</c:v>
                </c:pt>
                <c:pt idx="53">
                  <c:v>109.83900000000001</c:v>
                </c:pt>
                <c:pt idx="54">
                  <c:v>108.97000000000001</c:v>
                </c:pt>
                <c:pt idx="55">
                  <c:v>108.12</c:v>
                </c:pt>
                <c:pt idx="56">
                  <c:v>107.15</c:v>
                </c:pt>
                <c:pt idx="57">
                  <c:v>107.61000000000001</c:v>
                </c:pt>
                <c:pt idx="58">
                  <c:v>107.64000000000001</c:v>
                </c:pt>
                <c:pt idx="59">
                  <c:v>105.38000000000001</c:v>
                </c:pt>
                <c:pt idx="60">
                  <c:v>104.98</c:v>
                </c:pt>
                <c:pt idx="61">
                  <c:v>102.28000000000002</c:v>
                </c:pt>
                <c:pt idx="62">
                  <c:v>102.29</c:v>
                </c:pt>
                <c:pt idx="63">
                  <c:v>103.65</c:v>
                </c:pt>
                <c:pt idx="64">
                  <c:v>103.66000000000001</c:v>
                </c:pt>
                <c:pt idx="65">
                  <c:v>101.93</c:v>
                </c:pt>
                <c:pt idx="66">
                  <c:v>101.49000000000001</c:v>
                </c:pt>
                <c:pt idx="67">
                  <c:v>101.51</c:v>
                </c:pt>
                <c:pt idx="68">
                  <c:v>99.829990000000009</c:v>
                </c:pt>
                <c:pt idx="69">
                  <c:v>99.84</c:v>
                </c:pt>
                <c:pt idx="70">
                  <c:v>99.899990000000003</c:v>
                </c:pt>
                <c:pt idx="71">
                  <c:v>105.79</c:v>
                </c:pt>
                <c:pt idx="72">
                  <c:v>101.74000000000001</c:v>
                </c:pt>
                <c:pt idx="73">
                  <c:v>101.31</c:v>
                </c:pt>
                <c:pt idx="74">
                  <c:v>101.32000000000001</c:v>
                </c:pt>
                <c:pt idx="75">
                  <c:v>101.37700000000001</c:v>
                </c:pt>
                <c:pt idx="76">
                  <c:v>98.209990000000005</c:v>
                </c:pt>
                <c:pt idx="77">
                  <c:v>99.584000000000003</c:v>
                </c:pt>
                <c:pt idx="78">
                  <c:v>99.601000000000013</c:v>
                </c:pt>
                <c:pt idx="79">
                  <c:v>99.60999000000001</c:v>
                </c:pt>
                <c:pt idx="80">
                  <c:v>108.27700000000002</c:v>
                </c:pt>
                <c:pt idx="81">
                  <c:v>107.84</c:v>
                </c:pt>
                <c:pt idx="82">
                  <c:v>107.41000000000001</c:v>
                </c:pt>
                <c:pt idx="83">
                  <c:v>106.98</c:v>
                </c:pt>
                <c:pt idx="84">
                  <c:v>106.99000000000001</c:v>
                </c:pt>
                <c:pt idx="85">
                  <c:v>106.13000000000001</c:v>
                </c:pt>
                <c:pt idx="86">
                  <c:v>103.93</c:v>
                </c:pt>
                <c:pt idx="87">
                  <c:v>104.85000000000001</c:v>
                </c:pt>
                <c:pt idx="88">
                  <c:v>104.42</c:v>
                </c:pt>
                <c:pt idx="89">
                  <c:v>104.88000000000001</c:v>
                </c:pt>
                <c:pt idx="90">
                  <c:v>104.92</c:v>
                </c:pt>
                <c:pt idx="91">
                  <c:v>104.92</c:v>
                </c:pt>
                <c:pt idx="92">
                  <c:v>106.47000000000001</c:v>
                </c:pt>
                <c:pt idx="93">
                  <c:v>106.47000000000001</c:v>
                </c:pt>
                <c:pt idx="94">
                  <c:v>107.22000000000001</c:v>
                </c:pt>
                <c:pt idx="95">
                  <c:v>113.75000000000001</c:v>
                </c:pt>
                <c:pt idx="96">
                  <c:v>113.75000000000001</c:v>
                </c:pt>
                <c:pt idx="97">
                  <c:v>113.75000000000001</c:v>
                </c:pt>
                <c:pt idx="98">
                  <c:v>113.75000000000001</c:v>
                </c:pt>
                <c:pt idx="99">
                  <c:v>122.85000000000001</c:v>
                </c:pt>
                <c:pt idx="100">
                  <c:v>124.11000000000001</c:v>
                </c:pt>
                <c:pt idx="101">
                  <c:v>121.03000000000002</c:v>
                </c:pt>
                <c:pt idx="102">
                  <c:v>122.85000000000001</c:v>
                </c:pt>
                <c:pt idx="103">
                  <c:v>123.71000000000001</c:v>
                </c:pt>
                <c:pt idx="104">
                  <c:v>125.58000000000001</c:v>
                </c:pt>
                <c:pt idx="105">
                  <c:v>125.58000000000001</c:v>
                </c:pt>
                <c:pt idx="106">
                  <c:v>125.58000000000001</c:v>
                </c:pt>
                <c:pt idx="107">
                  <c:v>131.95000000000002</c:v>
                </c:pt>
                <c:pt idx="108">
                  <c:v>131.95000000000002</c:v>
                </c:pt>
                <c:pt idx="109">
                  <c:v>136.5</c:v>
                </c:pt>
                <c:pt idx="110">
                  <c:v>136.5</c:v>
                </c:pt>
                <c:pt idx="111">
                  <c:v>136.5</c:v>
                </c:pt>
                <c:pt idx="112">
                  <c:v>129.81</c:v>
                </c:pt>
                <c:pt idx="113">
                  <c:v>126.21000000000001</c:v>
                </c:pt>
                <c:pt idx="114">
                  <c:v>128.95000000000002</c:v>
                </c:pt>
                <c:pt idx="115">
                  <c:v>127.65</c:v>
                </c:pt>
                <c:pt idx="116">
                  <c:v>126.31000000000002</c:v>
                </c:pt>
                <c:pt idx="117">
                  <c:v>123.14000000000001</c:v>
                </c:pt>
                <c:pt idx="118">
                  <c:v>120.88000000000001</c:v>
                </c:pt>
                <c:pt idx="119">
                  <c:v>123.14000000000001</c:v>
                </c:pt>
                <c:pt idx="120">
                  <c:v>123.20000000000002</c:v>
                </c:pt>
                <c:pt idx="121">
                  <c:v>118.68</c:v>
                </c:pt>
                <c:pt idx="122">
                  <c:v>117.35000000000001</c:v>
                </c:pt>
                <c:pt idx="123">
                  <c:v>117.36000000000001</c:v>
                </c:pt>
                <c:pt idx="124">
                  <c:v>117.38000000000001</c:v>
                </c:pt>
                <c:pt idx="125">
                  <c:v>119.68</c:v>
                </c:pt>
                <c:pt idx="126">
                  <c:v>119.68</c:v>
                </c:pt>
                <c:pt idx="127">
                  <c:v>118.36000000000001</c:v>
                </c:pt>
                <c:pt idx="128">
                  <c:v>124.08000000000001</c:v>
                </c:pt>
                <c:pt idx="129">
                  <c:v>121.85000000000001</c:v>
                </c:pt>
                <c:pt idx="130">
                  <c:v>116.91000000000001</c:v>
                </c:pt>
                <c:pt idx="131">
                  <c:v>116.93</c:v>
                </c:pt>
                <c:pt idx="132">
                  <c:v>116.95</c:v>
                </c:pt>
                <c:pt idx="133">
                  <c:v>118.77000000000001</c:v>
                </c:pt>
                <c:pt idx="134">
                  <c:v>123.78000000000002</c:v>
                </c:pt>
                <c:pt idx="135">
                  <c:v>121.55000000000001</c:v>
                </c:pt>
                <c:pt idx="136">
                  <c:v>121.57000000000001</c:v>
                </c:pt>
                <c:pt idx="137">
                  <c:v>121.01</c:v>
                </c:pt>
                <c:pt idx="138">
                  <c:v>121.49000000000001</c:v>
                </c:pt>
                <c:pt idx="139">
                  <c:v>118.79</c:v>
                </c:pt>
                <c:pt idx="140">
                  <c:v>118.84</c:v>
                </c:pt>
                <c:pt idx="141">
                  <c:v>117.50000000000001</c:v>
                </c:pt>
                <c:pt idx="142">
                  <c:v>112.96000000000001</c:v>
                </c:pt>
                <c:pt idx="143">
                  <c:v>112.98</c:v>
                </c:pt>
                <c:pt idx="144">
                  <c:v>113.9</c:v>
                </c:pt>
                <c:pt idx="145">
                  <c:v>121.23</c:v>
                </c:pt>
                <c:pt idx="146">
                  <c:v>122.15</c:v>
                </c:pt>
                <c:pt idx="147">
                  <c:v>121.27000000000001</c:v>
                </c:pt>
                <c:pt idx="148">
                  <c:v>119.33000000000001</c:v>
                </c:pt>
                <c:pt idx="149">
                  <c:v>117.52000000000001</c:v>
                </c:pt>
                <c:pt idx="150">
                  <c:v>111.66000000000001</c:v>
                </c:pt>
                <c:pt idx="151">
                  <c:v>110.61000000000001</c:v>
                </c:pt>
                <c:pt idx="152">
                  <c:v>109.71000000000001</c:v>
                </c:pt>
                <c:pt idx="153">
                  <c:v>110.64000000000001</c:v>
                </c:pt>
                <c:pt idx="154">
                  <c:v>103.34</c:v>
                </c:pt>
                <c:pt idx="155">
                  <c:v>100.2</c:v>
                </c:pt>
                <c:pt idx="156">
                  <c:v>99.31</c:v>
                </c:pt>
                <c:pt idx="157">
                  <c:v>101.15</c:v>
                </c:pt>
                <c:pt idx="158">
                  <c:v>102.09</c:v>
                </c:pt>
                <c:pt idx="159">
                  <c:v>102.10600000000001</c:v>
                </c:pt>
                <c:pt idx="160">
                  <c:v>103.97000000000001</c:v>
                </c:pt>
                <c:pt idx="161">
                  <c:v>103.53000000000002</c:v>
                </c:pt>
                <c:pt idx="162">
                  <c:v>104.00000000000001</c:v>
                </c:pt>
                <c:pt idx="163">
                  <c:v>103.10000000000001</c:v>
                </c:pt>
                <c:pt idx="164">
                  <c:v>103.12</c:v>
                </c:pt>
                <c:pt idx="165">
                  <c:v>103.17</c:v>
                </c:pt>
                <c:pt idx="166">
                  <c:v>99.989990000000006</c:v>
                </c:pt>
                <c:pt idx="167">
                  <c:v>99.53</c:v>
                </c:pt>
                <c:pt idx="168">
                  <c:v>100.94000000000001</c:v>
                </c:pt>
                <c:pt idx="169">
                  <c:v>101.42</c:v>
                </c:pt>
                <c:pt idx="170">
                  <c:v>101.47000000000001</c:v>
                </c:pt>
                <c:pt idx="171">
                  <c:v>101.49000000000001</c:v>
                </c:pt>
                <c:pt idx="172">
                  <c:v>101.96000000000001</c:v>
                </c:pt>
                <c:pt idx="173">
                  <c:v>102.89000000000001</c:v>
                </c:pt>
                <c:pt idx="174">
                  <c:v>102.46000000000001</c:v>
                </c:pt>
                <c:pt idx="175">
                  <c:v>101.59</c:v>
                </c:pt>
                <c:pt idx="176">
                  <c:v>101.14000000000001</c:v>
                </c:pt>
                <c:pt idx="177">
                  <c:v>100.24000000000001</c:v>
                </c:pt>
                <c:pt idx="178">
                  <c:v>96.149990000000003</c:v>
                </c:pt>
                <c:pt idx="179">
                  <c:v>97.509990000000002</c:v>
                </c:pt>
                <c:pt idx="180">
                  <c:v>93.92</c:v>
                </c:pt>
                <c:pt idx="181">
                  <c:v>91.659990000000008</c:v>
                </c:pt>
                <c:pt idx="182">
                  <c:v>90.289990000000003</c:v>
                </c:pt>
                <c:pt idx="183">
                  <c:v>88.95</c:v>
                </c:pt>
                <c:pt idx="184">
                  <c:v>83.039990000000003</c:v>
                </c:pt>
                <c:pt idx="185">
                  <c:v>83.09</c:v>
                </c:pt>
                <c:pt idx="186">
                  <c:v>83.107990000000001</c:v>
                </c:pt>
                <c:pt idx="187">
                  <c:v>81.743990000000011</c:v>
                </c:pt>
                <c:pt idx="188">
                  <c:v>87.03</c:v>
                </c:pt>
                <c:pt idx="189">
                  <c:v>84.769990000000007</c:v>
                </c:pt>
                <c:pt idx="190">
                  <c:v>86.189990000000009</c:v>
                </c:pt>
                <c:pt idx="191">
                  <c:v>84.62</c:v>
                </c:pt>
                <c:pt idx="192">
                  <c:v>86.92</c:v>
                </c:pt>
                <c:pt idx="193">
                  <c:v>85.569990000000004</c:v>
                </c:pt>
                <c:pt idx="194">
                  <c:v>82.864000000000004</c:v>
                </c:pt>
                <c:pt idx="195">
                  <c:v>82.463000000000008</c:v>
                </c:pt>
                <c:pt idx="196">
                  <c:v>80.668990000000008</c:v>
                </c:pt>
                <c:pt idx="197">
                  <c:v>79.32799</c:v>
                </c:pt>
                <c:pt idx="198">
                  <c:v>79.34499000000001</c:v>
                </c:pt>
                <c:pt idx="199">
                  <c:v>77.543990000000008</c:v>
                </c:pt>
                <c:pt idx="200">
                  <c:v>77.59599</c:v>
                </c:pt>
                <c:pt idx="201">
                  <c:v>77.614000000000004</c:v>
                </c:pt>
                <c:pt idx="202">
                  <c:v>77.629000000000005</c:v>
                </c:pt>
                <c:pt idx="203">
                  <c:v>77.64</c:v>
                </c:pt>
                <c:pt idx="204">
                  <c:v>75.386990000000011</c:v>
                </c:pt>
                <c:pt idx="205">
                  <c:v>74.989990000000006</c:v>
                </c:pt>
                <c:pt idx="206">
                  <c:v>73.190989999999999</c:v>
                </c:pt>
                <c:pt idx="207">
                  <c:v>72.804990000000004</c:v>
                </c:pt>
                <c:pt idx="208">
                  <c:v>72.819990000000004</c:v>
                </c:pt>
                <c:pt idx="209">
                  <c:v>72.84</c:v>
                </c:pt>
                <c:pt idx="210">
                  <c:v>75.159990000000008</c:v>
                </c:pt>
                <c:pt idx="211">
                  <c:v>74.259990000000002</c:v>
                </c:pt>
                <c:pt idx="212">
                  <c:v>74.28</c:v>
                </c:pt>
                <c:pt idx="213">
                  <c:v>73.84</c:v>
                </c:pt>
                <c:pt idx="214">
                  <c:v>71.14</c:v>
                </c:pt>
                <c:pt idx="215">
                  <c:v>71.189990000000009</c:v>
                </c:pt>
                <c:pt idx="216">
                  <c:v>71.2</c:v>
                </c:pt>
                <c:pt idx="217">
                  <c:v>71.21999000000001</c:v>
                </c:pt>
                <c:pt idx="218">
                  <c:v>71.239990000000006</c:v>
                </c:pt>
                <c:pt idx="219">
                  <c:v>70.349990000000005</c:v>
                </c:pt>
                <c:pt idx="220">
                  <c:v>70.407990000000012</c:v>
                </c:pt>
                <c:pt idx="221">
                  <c:v>70.429990000000004</c:v>
                </c:pt>
                <c:pt idx="222">
                  <c:v>70.439990000000009</c:v>
                </c:pt>
                <c:pt idx="223">
                  <c:v>70.459990000000005</c:v>
                </c:pt>
                <c:pt idx="224">
                  <c:v>70.46999000000001</c:v>
                </c:pt>
                <c:pt idx="225">
                  <c:v>70.519990000000007</c:v>
                </c:pt>
                <c:pt idx="226">
                  <c:v>70.539990000000003</c:v>
                </c:pt>
                <c:pt idx="227">
                  <c:v>70.549990000000008</c:v>
                </c:pt>
                <c:pt idx="228">
                  <c:v>70.575000000000003</c:v>
                </c:pt>
                <c:pt idx="229">
                  <c:v>70.59299</c:v>
                </c:pt>
                <c:pt idx="230">
                  <c:v>70.64</c:v>
                </c:pt>
                <c:pt idx="231">
                  <c:v>70.659000000000006</c:v>
                </c:pt>
                <c:pt idx="232">
                  <c:v>70.21999000000001</c:v>
                </c:pt>
                <c:pt idx="233">
                  <c:v>70.243000000000009</c:v>
                </c:pt>
                <c:pt idx="234">
                  <c:v>70.258990000000011</c:v>
                </c:pt>
                <c:pt idx="235">
                  <c:v>70.765000000000001</c:v>
                </c:pt>
                <c:pt idx="236">
                  <c:v>69.87</c:v>
                </c:pt>
                <c:pt idx="237">
                  <c:v>68.125</c:v>
                </c:pt>
                <c:pt idx="238">
                  <c:v>68.138990000000007</c:v>
                </c:pt>
                <c:pt idx="239">
                  <c:v>65.019990000000007</c:v>
                </c:pt>
                <c:pt idx="240">
                  <c:v>61.881990000000002</c:v>
                </c:pt>
                <c:pt idx="241">
                  <c:v>61.892000000000003</c:v>
                </c:pt>
                <c:pt idx="242">
                  <c:v>61.899990000000003</c:v>
                </c:pt>
                <c:pt idx="243">
                  <c:v>61.909990000000008</c:v>
                </c:pt>
                <c:pt idx="244">
                  <c:v>61.929990000000004</c:v>
                </c:pt>
                <c:pt idx="245">
                  <c:v>61.967990000000007</c:v>
                </c:pt>
                <c:pt idx="246">
                  <c:v>61.981990000000003</c:v>
                </c:pt>
                <c:pt idx="247">
                  <c:v>61.989990000000006</c:v>
                </c:pt>
                <c:pt idx="248">
                  <c:v>61.558000000000007</c:v>
                </c:pt>
                <c:pt idx="249">
                  <c:v>61.571000000000005</c:v>
                </c:pt>
                <c:pt idx="250">
                  <c:v>61.603000000000002</c:v>
                </c:pt>
                <c:pt idx="251">
                  <c:v>61.168000000000006</c:v>
                </c:pt>
                <c:pt idx="252">
                  <c:v>59.383000000000003</c:v>
                </c:pt>
                <c:pt idx="253">
                  <c:v>58.181000000000004</c:v>
                </c:pt>
                <c:pt idx="254">
                  <c:v>57.28</c:v>
                </c:pt>
                <c:pt idx="255">
                  <c:v>57.328990000000005</c:v>
                </c:pt>
                <c:pt idx="256">
                  <c:v>57.349990000000005</c:v>
                </c:pt>
                <c:pt idx="257">
                  <c:v>57.364990000000006</c:v>
                </c:pt>
                <c:pt idx="258">
                  <c:v>57.370000000000005</c:v>
                </c:pt>
                <c:pt idx="259">
                  <c:v>57.379990000000006</c:v>
                </c:pt>
                <c:pt idx="260">
                  <c:v>57.424000000000007</c:v>
                </c:pt>
                <c:pt idx="261">
                  <c:v>57.439990000000002</c:v>
                </c:pt>
                <c:pt idx="262">
                  <c:v>57.453990000000005</c:v>
                </c:pt>
                <c:pt idx="263">
                  <c:v>54.745990000000006</c:v>
                </c:pt>
                <c:pt idx="264">
                  <c:v>54.743000000000002</c:v>
                </c:pt>
                <c:pt idx="265">
                  <c:v>54.793000000000006</c:v>
                </c:pt>
                <c:pt idx="266">
                  <c:v>54.806990000000006</c:v>
                </c:pt>
                <c:pt idx="267">
                  <c:v>54.819990000000004</c:v>
                </c:pt>
                <c:pt idx="268">
                  <c:v>54.836000000000006</c:v>
                </c:pt>
                <c:pt idx="269">
                  <c:v>54.849000000000004</c:v>
                </c:pt>
                <c:pt idx="270">
                  <c:v>54.879990000000006</c:v>
                </c:pt>
                <c:pt idx="271">
                  <c:v>54.899990000000003</c:v>
                </c:pt>
                <c:pt idx="272">
                  <c:v>57.159990000000008</c:v>
                </c:pt>
                <c:pt idx="273">
                  <c:v>57.17</c:v>
                </c:pt>
                <c:pt idx="274">
                  <c:v>57.189990000000002</c:v>
                </c:pt>
                <c:pt idx="275">
                  <c:v>57.233990000000006</c:v>
                </c:pt>
                <c:pt idx="276">
                  <c:v>57.239990000000006</c:v>
                </c:pt>
                <c:pt idx="277">
                  <c:v>56.359990000000003</c:v>
                </c:pt>
                <c:pt idx="278">
                  <c:v>56.370000000000005</c:v>
                </c:pt>
                <c:pt idx="279">
                  <c:v>56.390000000000008</c:v>
                </c:pt>
                <c:pt idx="280">
                  <c:v>55.978000000000002</c:v>
                </c:pt>
                <c:pt idx="281">
                  <c:v>55.991000000000007</c:v>
                </c:pt>
                <c:pt idx="282">
                  <c:v>56.006990000000002</c:v>
                </c:pt>
                <c:pt idx="283">
                  <c:v>58.747990000000001</c:v>
                </c:pt>
                <c:pt idx="284">
                  <c:v>58.762990000000002</c:v>
                </c:pt>
                <c:pt idx="285">
                  <c:v>59.250990000000002</c:v>
                </c:pt>
                <c:pt idx="286">
                  <c:v>55.67</c:v>
                </c:pt>
                <c:pt idx="287">
                  <c:v>52.226000000000006</c:v>
                </c:pt>
                <c:pt idx="288">
                  <c:v>55.7</c:v>
                </c:pt>
                <c:pt idx="289">
                  <c:v>55.7</c:v>
                </c:pt>
                <c:pt idx="290">
                  <c:v>53.474990000000005</c:v>
                </c:pt>
                <c:pt idx="291">
                  <c:v>53.937000000000005</c:v>
                </c:pt>
                <c:pt idx="292">
                  <c:v>53.948990000000002</c:v>
                </c:pt>
                <c:pt idx="293">
                  <c:v>53.963000000000001</c:v>
                </c:pt>
                <c:pt idx="294">
                  <c:v>53.972990000000003</c:v>
                </c:pt>
                <c:pt idx="295">
                  <c:v>54.013990000000007</c:v>
                </c:pt>
                <c:pt idx="296">
                  <c:v>54.019990000000007</c:v>
                </c:pt>
                <c:pt idx="297">
                  <c:v>54.039990000000003</c:v>
                </c:pt>
                <c:pt idx="298">
                  <c:v>54.049000000000007</c:v>
                </c:pt>
                <c:pt idx="299">
                  <c:v>54.509990000000002</c:v>
                </c:pt>
                <c:pt idx="300">
                  <c:v>54.551990000000004</c:v>
                </c:pt>
                <c:pt idx="301">
                  <c:v>55.924000000000007</c:v>
                </c:pt>
                <c:pt idx="302">
                  <c:v>55.080990000000007</c:v>
                </c:pt>
                <c:pt idx="303">
                  <c:v>53.724990000000005</c:v>
                </c:pt>
                <c:pt idx="304">
                  <c:v>53.732990000000001</c:v>
                </c:pt>
                <c:pt idx="305">
                  <c:v>53.765990000000002</c:v>
                </c:pt>
                <c:pt idx="306">
                  <c:v>53.774990000000003</c:v>
                </c:pt>
                <c:pt idx="307">
                  <c:v>53.786000000000001</c:v>
                </c:pt>
                <c:pt idx="308">
                  <c:v>53.795990000000003</c:v>
                </c:pt>
                <c:pt idx="309">
                  <c:v>53.795990000000003</c:v>
                </c:pt>
                <c:pt idx="310">
                  <c:v>54.295000000000002</c:v>
                </c:pt>
                <c:pt idx="311">
                  <c:v>54.306990000000006</c:v>
                </c:pt>
                <c:pt idx="312">
                  <c:v>54.315990000000006</c:v>
                </c:pt>
                <c:pt idx="313">
                  <c:v>54.327000000000005</c:v>
                </c:pt>
                <c:pt idx="314">
                  <c:v>54.336990000000007</c:v>
                </c:pt>
                <c:pt idx="315">
                  <c:v>54.370000000000005</c:v>
                </c:pt>
                <c:pt idx="316">
                  <c:v>54.381000000000007</c:v>
                </c:pt>
                <c:pt idx="317">
                  <c:v>54.245990000000006</c:v>
                </c:pt>
                <c:pt idx="318">
                  <c:v>54.262990000000002</c:v>
                </c:pt>
                <c:pt idx="319">
                  <c:v>54.269000000000005</c:v>
                </c:pt>
                <c:pt idx="320">
                  <c:v>54.31</c:v>
                </c:pt>
                <c:pt idx="321">
                  <c:v>56.127000000000002</c:v>
                </c:pt>
                <c:pt idx="322">
                  <c:v>56.594990000000003</c:v>
                </c:pt>
                <c:pt idx="323">
                  <c:v>56.610990000000008</c:v>
                </c:pt>
                <c:pt idx="324">
                  <c:v>56.618990000000004</c:v>
                </c:pt>
                <c:pt idx="325">
                  <c:v>56.655000000000001</c:v>
                </c:pt>
                <c:pt idx="326">
                  <c:v>56.664990000000003</c:v>
                </c:pt>
                <c:pt idx="327">
                  <c:v>56.677990000000001</c:v>
                </c:pt>
                <c:pt idx="328">
                  <c:v>56.687000000000005</c:v>
                </c:pt>
                <c:pt idx="329">
                  <c:v>56.7</c:v>
                </c:pt>
                <c:pt idx="330">
                  <c:v>54.913990000000005</c:v>
                </c:pt>
                <c:pt idx="331">
                  <c:v>54.913990000000005</c:v>
                </c:pt>
                <c:pt idx="332">
                  <c:v>54.935000000000002</c:v>
                </c:pt>
                <c:pt idx="333">
                  <c:v>52.700990000000004</c:v>
                </c:pt>
                <c:pt idx="334">
                  <c:v>52.711990000000007</c:v>
                </c:pt>
                <c:pt idx="335">
                  <c:v>52.748990000000006</c:v>
                </c:pt>
                <c:pt idx="336">
                  <c:v>52.756990000000002</c:v>
                </c:pt>
                <c:pt idx="337">
                  <c:v>53.226000000000006</c:v>
                </c:pt>
                <c:pt idx="338">
                  <c:v>53.235990000000001</c:v>
                </c:pt>
                <c:pt idx="339">
                  <c:v>53.246990000000004</c:v>
                </c:pt>
                <c:pt idx="340">
                  <c:v>52.827000000000005</c:v>
                </c:pt>
                <c:pt idx="341">
                  <c:v>52.836990000000007</c:v>
                </c:pt>
                <c:pt idx="342">
                  <c:v>52.849000000000004</c:v>
                </c:pt>
                <c:pt idx="343">
                  <c:v>52.857990000000001</c:v>
                </c:pt>
                <c:pt idx="344">
                  <c:v>52.871990000000004</c:v>
                </c:pt>
                <c:pt idx="345">
                  <c:v>52.905000000000001</c:v>
                </c:pt>
                <c:pt idx="346">
                  <c:v>52.915990000000008</c:v>
                </c:pt>
                <c:pt idx="347">
                  <c:v>52.928990000000006</c:v>
                </c:pt>
                <c:pt idx="348">
                  <c:v>52.937000000000005</c:v>
                </c:pt>
                <c:pt idx="349">
                  <c:v>52.948000000000008</c:v>
                </c:pt>
                <c:pt idx="350">
                  <c:v>52.989000000000004</c:v>
                </c:pt>
                <c:pt idx="351">
                  <c:v>52.086990000000007</c:v>
                </c:pt>
                <c:pt idx="352">
                  <c:v>52.099000000000004</c:v>
                </c:pt>
                <c:pt idx="353">
                  <c:v>52.112000000000002</c:v>
                </c:pt>
                <c:pt idx="354">
                  <c:v>52.120990000000006</c:v>
                </c:pt>
                <c:pt idx="355">
                  <c:v>52.151990000000005</c:v>
                </c:pt>
                <c:pt idx="356">
                  <c:v>52.165990000000001</c:v>
                </c:pt>
                <c:pt idx="357">
                  <c:v>52.178990000000006</c:v>
                </c:pt>
                <c:pt idx="358">
                  <c:v>52.187990000000006</c:v>
                </c:pt>
                <c:pt idx="359">
                  <c:v>52.200990000000004</c:v>
                </c:pt>
                <c:pt idx="360">
                  <c:v>52.233990000000006</c:v>
                </c:pt>
                <c:pt idx="361">
                  <c:v>50.879990000000006</c:v>
                </c:pt>
                <c:pt idx="362">
                  <c:v>50.888990000000007</c:v>
                </c:pt>
                <c:pt idx="363">
                  <c:v>51.203990000000005</c:v>
                </c:pt>
                <c:pt idx="364">
                  <c:v>51.202990000000007</c:v>
                </c:pt>
                <c:pt idx="365">
                  <c:v>51.206990000000005</c:v>
                </c:pt>
                <c:pt idx="366">
                  <c:v>51.206990000000005</c:v>
                </c:pt>
                <c:pt idx="367">
                  <c:v>52.123990000000006</c:v>
                </c:pt>
                <c:pt idx="368">
                  <c:v>53.484990000000003</c:v>
                </c:pt>
                <c:pt idx="369">
                  <c:v>53.485990000000001</c:v>
                </c:pt>
                <c:pt idx="370">
                  <c:v>53.933000000000007</c:v>
                </c:pt>
                <c:pt idx="371">
                  <c:v>53.935990000000004</c:v>
                </c:pt>
                <c:pt idx="372">
                  <c:v>53.942990000000002</c:v>
                </c:pt>
                <c:pt idx="373">
                  <c:v>55.297000000000004</c:v>
                </c:pt>
                <c:pt idx="374">
                  <c:v>57.093990000000005</c:v>
                </c:pt>
                <c:pt idx="375">
                  <c:v>57.097990000000003</c:v>
                </c:pt>
                <c:pt idx="376">
                  <c:v>58.461990000000007</c:v>
                </c:pt>
                <c:pt idx="377">
                  <c:v>58.459990000000005</c:v>
                </c:pt>
                <c:pt idx="378">
                  <c:v>58.459990000000005</c:v>
                </c:pt>
                <c:pt idx="379">
                  <c:v>58.009990000000002</c:v>
                </c:pt>
                <c:pt idx="380">
                  <c:v>58.000000000000007</c:v>
                </c:pt>
                <c:pt idx="381">
                  <c:v>58.000000000000007</c:v>
                </c:pt>
                <c:pt idx="382">
                  <c:v>58.000000000000007</c:v>
                </c:pt>
                <c:pt idx="383">
                  <c:v>63.849990000000005</c:v>
                </c:pt>
                <c:pt idx="384">
                  <c:v>63.859990000000003</c:v>
                </c:pt>
                <c:pt idx="385">
                  <c:v>68.42</c:v>
                </c:pt>
                <c:pt idx="386">
                  <c:v>68.429990000000004</c:v>
                </c:pt>
                <c:pt idx="387">
                  <c:v>67.519990000000007</c:v>
                </c:pt>
                <c:pt idx="388">
                  <c:v>66.17</c:v>
                </c:pt>
                <c:pt idx="389">
                  <c:v>66.17</c:v>
                </c:pt>
                <c:pt idx="390">
                  <c:v>64.81</c:v>
                </c:pt>
                <c:pt idx="391">
                  <c:v>59.609990000000003</c:v>
                </c:pt>
                <c:pt idx="392">
                  <c:v>63.92</c:v>
                </c:pt>
                <c:pt idx="393">
                  <c:v>63.929990000000004</c:v>
                </c:pt>
                <c:pt idx="394">
                  <c:v>60.289990000000003</c:v>
                </c:pt>
                <c:pt idx="395">
                  <c:v>60.293620000000004</c:v>
                </c:pt>
                <c:pt idx="396">
                  <c:v>60.269990000000007</c:v>
                </c:pt>
                <c:pt idx="397">
                  <c:v>60.269990000000007</c:v>
                </c:pt>
                <c:pt idx="398">
                  <c:v>57.539990000000003</c:v>
                </c:pt>
                <c:pt idx="399">
                  <c:v>57.539990000000003</c:v>
                </c:pt>
                <c:pt idx="400">
                  <c:v>57.539990000000003</c:v>
                </c:pt>
                <c:pt idx="401">
                  <c:v>57.099990000000005</c:v>
                </c:pt>
                <c:pt idx="402">
                  <c:v>57.09</c:v>
                </c:pt>
                <c:pt idx="403">
                  <c:v>56.189990000000002</c:v>
                </c:pt>
                <c:pt idx="404">
                  <c:v>56.189990000000002</c:v>
                </c:pt>
                <c:pt idx="405">
                  <c:v>56.189990000000002</c:v>
                </c:pt>
                <c:pt idx="406">
                  <c:v>56.189990000000002</c:v>
                </c:pt>
                <c:pt idx="407">
                  <c:v>56.189990000000002</c:v>
                </c:pt>
                <c:pt idx="408">
                  <c:v>56.640000000000008</c:v>
                </c:pt>
                <c:pt idx="409">
                  <c:v>56.629990000000006</c:v>
                </c:pt>
                <c:pt idx="410">
                  <c:v>56.640000000000008</c:v>
                </c:pt>
                <c:pt idx="411">
                  <c:v>56.640000000000008</c:v>
                </c:pt>
                <c:pt idx="412">
                  <c:v>59.370000000000005</c:v>
                </c:pt>
                <c:pt idx="413">
                  <c:v>59.370000000000005</c:v>
                </c:pt>
                <c:pt idx="414">
                  <c:v>59.370000000000005</c:v>
                </c:pt>
                <c:pt idx="415">
                  <c:v>59.370000000000005</c:v>
                </c:pt>
                <c:pt idx="416">
                  <c:v>59.370000000000005</c:v>
                </c:pt>
                <c:pt idx="417">
                  <c:v>59.370000000000005</c:v>
                </c:pt>
                <c:pt idx="418">
                  <c:v>59.370000000000005</c:v>
                </c:pt>
                <c:pt idx="419">
                  <c:v>59.370000000000005</c:v>
                </c:pt>
                <c:pt idx="420">
                  <c:v>59.370000000000005</c:v>
                </c:pt>
                <c:pt idx="421">
                  <c:v>59.370000000000005</c:v>
                </c:pt>
                <c:pt idx="422">
                  <c:v>58.92</c:v>
                </c:pt>
                <c:pt idx="423">
                  <c:v>58.92</c:v>
                </c:pt>
                <c:pt idx="424">
                  <c:v>58.92</c:v>
                </c:pt>
                <c:pt idx="425">
                  <c:v>59.370000000000005</c:v>
                </c:pt>
                <c:pt idx="426">
                  <c:v>59.370000000000005</c:v>
                </c:pt>
                <c:pt idx="427">
                  <c:v>59.370000000000005</c:v>
                </c:pt>
                <c:pt idx="428">
                  <c:v>59.379990000000006</c:v>
                </c:pt>
                <c:pt idx="429">
                  <c:v>59.370000000000005</c:v>
                </c:pt>
                <c:pt idx="430">
                  <c:v>59.370000000000005</c:v>
                </c:pt>
                <c:pt idx="431">
                  <c:v>59.359990000000003</c:v>
                </c:pt>
                <c:pt idx="432">
                  <c:v>59.370000000000005</c:v>
                </c:pt>
                <c:pt idx="433">
                  <c:v>59.370000000000005</c:v>
                </c:pt>
                <c:pt idx="434">
                  <c:v>59.370000000000005</c:v>
                </c:pt>
                <c:pt idx="435">
                  <c:v>58.480000000000004</c:v>
                </c:pt>
                <c:pt idx="436">
                  <c:v>58.480000000000004</c:v>
                </c:pt>
                <c:pt idx="437">
                  <c:v>58.909990000000008</c:v>
                </c:pt>
                <c:pt idx="438">
                  <c:v>58.909990000000008</c:v>
                </c:pt>
                <c:pt idx="439">
                  <c:v>58.459990000000005</c:v>
                </c:pt>
                <c:pt idx="440">
                  <c:v>58.459990000000005</c:v>
                </c:pt>
                <c:pt idx="441">
                  <c:v>56.620000000000005</c:v>
                </c:pt>
                <c:pt idx="442">
                  <c:v>56.649990000000003</c:v>
                </c:pt>
                <c:pt idx="443">
                  <c:v>54.84</c:v>
                </c:pt>
                <c:pt idx="444" formatCode="0.00">
                  <c:v>54.84</c:v>
                </c:pt>
                <c:pt idx="445" formatCode="0.00">
                  <c:v>54.879990000000006</c:v>
                </c:pt>
                <c:pt idx="446" formatCode="0.00">
                  <c:v>54.84</c:v>
                </c:pt>
                <c:pt idx="447" formatCode="0.00">
                  <c:v>54.819990000000004</c:v>
                </c:pt>
                <c:pt idx="448" formatCode="0.00">
                  <c:v>53.923020000000001</c:v>
                </c:pt>
                <c:pt idx="449" formatCode="0.00">
                  <c:v>53.939990000000002</c:v>
                </c:pt>
                <c:pt idx="450">
                  <c:v>53.959990000000005</c:v>
                </c:pt>
                <c:pt idx="451">
                  <c:v>54.399990000000003</c:v>
                </c:pt>
                <c:pt idx="452">
                  <c:v>54.399990000000003</c:v>
                </c:pt>
                <c:pt idx="453">
                  <c:v>54.390000000000008</c:v>
                </c:pt>
                <c:pt idx="454">
                  <c:v>54.859990000000003</c:v>
                </c:pt>
                <c:pt idx="455">
                  <c:v>54.849990000000005</c:v>
                </c:pt>
                <c:pt idx="456">
                  <c:v>54.849990000000005</c:v>
                </c:pt>
                <c:pt idx="457">
                  <c:v>54.870000000000005</c:v>
                </c:pt>
                <c:pt idx="458">
                  <c:v>54.859990000000003</c:v>
                </c:pt>
                <c:pt idx="459">
                  <c:v>54.84</c:v>
                </c:pt>
                <c:pt idx="460">
                  <c:v>54.859990000000003</c:v>
                </c:pt>
                <c:pt idx="461">
                  <c:v>54.849990000000005</c:v>
                </c:pt>
                <c:pt idx="462">
                  <c:v>54.859990000000003</c:v>
                </c:pt>
                <c:pt idx="463">
                  <c:v>54.849990000000005</c:v>
                </c:pt>
                <c:pt idx="464">
                  <c:v>54.849990000000005</c:v>
                </c:pt>
                <c:pt idx="465">
                  <c:v>54.859990000000003</c:v>
                </c:pt>
                <c:pt idx="466">
                  <c:v>54.849990000000005</c:v>
                </c:pt>
                <c:pt idx="467">
                  <c:v>54.84</c:v>
                </c:pt>
                <c:pt idx="468">
                  <c:v>54.859990000000003</c:v>
                </c:pt>
                <c:pt idx="469">
                  <c:v>54.84</c:v>
                </c:pt>
                <c:pt idx="470">
                  <c:v>54.84</c:v>
                </c:pt>
                <c:pt idx="471">
                  <c:v>54.859990000000003</c:v>
                </c:pt>
                <c:pt idx="472">
                  <c:v>54.849990000000005</c:v>
                </c:pt>
                <c:pt idx="473">
                  <c:v>54.829990000000002</c:v>
                </c:pt>
                <c:pt idx="474">
                  <c:v>54.849990000000005</c:v>
                </c:pt>
                <c:pt idx="475">
                  <c:v>54.84</c:v>
                </c:pt>
                <c:pt idx="476">
                  <c:v>54.84</c:v>
                </c:pt>
                <c:pt idx="477">
                  <c:v>54.399990000000003</c:v>
                </c:pt>
                <c:pt idx="478">
                  <c:v>54.379990000000006</c:v>
                </c:pt>
                <c:pt idx="479">
                  <c:v>54.379990000000006</c:v>
                </c:pt>
                <c:pt idx="480">
                  <c:v>53.95</c:v>
                </c:pt>
                <c:pt idx="481">
                  <c:v>53.469990000000003</c:v>
                </c:pt>
                <c:pt idx="482">
                  <c:v>53.500000000000007</c:v>
                </c:pt>
                <c:pt idx="483">
                  <c:v>53.489990000000006</c:v>
                </c:pt>
                <c:pt idx="484">
                  <c:v>53.45</c:v>
                </c:pt>
                <c:pt idx="485">
                  <c:v>53.489990000000006</c:v>
                </c:pt>
                <c:pt idx="486">
                  <c:v>54.149990000000003</c:v>
                </c:pt>
                <c:pt idx="487">
                  <c:v>54.159990000000008</c:v>
                </c:pt>
                <c:pt idx="488">
                  <c:v>54.179990000000004</c:v>
                </c:pt>
                <c:pt idx="489">
                  <c:v>54.149990000000003</c:v>
                </c:pt>
                <c:pt idx="490">
                  <c:v>54.159990000000008</c:v>
                </c:pt>
                <c:pt idx="491">
                  <c:v>54.149990000000003</c:v>
                </c:pt>
                <c:pt idx="492">
                  <c:v>54.17</c:v>
                </c:pt>
                <c:pt idx="493">
                  <c:v>54.159990000000008</c:v>
                </c:pt>
                <c:pt idx="494">
                  <c:v>54.149990000000003</c:v>
                </c:pt>
                <c:pt idx="495">
                  <c:v>54.159990000000008</c:v>
                </c:pt>
                <c:pt idx="496">
                  <c:v>54.149990000000003</c:v>
                </c:pt>
                <c:pt idx="497">
                  <c:v>54.140000000000008</c:v>
                </c:pt>
                <c:pt idx="498">
                  <c:v>54.149990000000003</c:v>
                </c:pt>
                <c:pt idx="499">
                  <c:v>54.140000000000008</c:v>
                </c:pt>
                <c:pt idx="500">
                  <c:v>54.129990000000006</c:v>
                </c:pt>
                <c:pt idx="501">
                  <c:v>54.609990000000003</c:v>
                </c:pt>
                <c:pt idx="502">
                  <c:v>54.819990000000004</c:v>
                </c:pt>
                <c:pt idx="503">
                  <c:v>54.819990000000004</c:v>
                </c:pt>
                <c:pt idx="504">
                  <c:v>54.829990000000002</c:v>
                </c:pt>
                <c:pt idx="505">
                  <c:v>54.84</c:v>
                </c:pt>
                <c:pt idx="506">
                  <c:v>54.84</c:v>
                </c:pt>
                <c:pt idx="507">
                  <c:v>54.819990000000004</c:v>
                </c:pt>
                <c:pt idx="508">
                  <c:v>54.81</c:v>
                </c:pt>
                <c:pt idx="509">
                  <c:v>54.829990000000002</c:v>
                </c:pt>
                <c:pt idx="510">
                  <c:v>54.829990000000002</c:v>
                </c:pt>
                <c:pt idx="511">
                  <c:v>54.84</c:v>
                </c:pt>
                <c:pt idx="512">
                  <c:v>54.81</c:v>
                </c:pt>
                <c:pt idx="513">
                  <c:v>54.789990000000003</c:v>
                </c:pt>
                <c:pt idx="514">
                  <c:v>54.829990000000002</c:v>
                </c:pt>
                <c:pt idx="515">
                  <c:v>54.829990000000002</c:v>
                </c:pt>
                <c:pt idx="516">
                  <c:v>54.84</c:v>
                </c:pt>
                <c:pt idx="517">
                  <c:v>54.859990000000003</c:v>
                </c:pt>
                <c:pt idx="518">
                  <c:v>54.859990000000003</c:v>
                </c:pt>
                <c:pt idx="519">
                  <c:v>54.849990000000005</c:v>
                </c:pt>
                <c:pt idx="520">
                  <c:v>54.849990000000005</c:v>
                </c:pt>
                <c:pt idx="521">
                  <c:v>54.829990000000002</c:v>
                </c:pt>
                <c:pt idx="522">
                  <c:v>54.849990000000005</c:v>
                </c:pt>
                <c:pt idx="523">
                  <c:v>54.84</c:v>
                </c:pt>
                <c:pt idx="524">
                  <c:v>54.829990000000002</c:v>
                </c:pt>
                <c:pt idx="525">
                  <c:v>54.399990000000003</c:v>
                </c:pt>
                <c:pt idx="526">
                  <c:v>54.379990000000006</c:v>
                </c:pt>
                <c:pt idx="527">
                  <c:v>54.359990000000003</c:v>
                </c:pt>
                <c:pt idx="528">
                  <c:v>54.379990000000006</c:v>
                </c:pt>
                <c:pt idx="529">
                  <c:v>54.409990000000008</c:v>
                </c:pt>
                <c:pt idx="530">
                  <c:v>54.390000000000008</c:v>
                </c:pt>
                <c:pt idx="531">
                  <c:v>54.370000000000005</c:v>
                </c:pt>
                <c:pt idx="532">
                  <c:v>54.359990000000003</c:v>
                </c:pt>
                <c:pt idx="533">
                  <c:v>54.390000000000008</c:v>
                </c:pt>
                <c:pt idx="534">
                  <c:v>54.379990000000006</c:v>
                </c:pt>
                <c:pt idx="535">
                  <c:v>54.379990000000006</c:v>
                </c:pt>
                <c:pt idx="536">
                  <c:v>54.379990000000006</c:v>
                </c:pt>
                <c:pt idx="537">
                  <c:v>54.370000000000005</c:v>
                </c:pt>
                <c:pt idx="538">
                  <c:v>52.159990000000008</c:v>
                </c:pt>
                <c:pt idx="539">
                  <c:v>52.159990000000008</c:v>
                </c:pt>
                <c:pt idx="540">
                  <c:v>52.129990000000006</c:v>
                </c:pt>
                <c:pt idx="541">
                  <c:v>52.140000000000008</c:v>
                </c:pt>
                <c:pt idx="542">
                  <c:v>52.149990000000003</c:v>
                </c:pt>
                <c:pt idx="543">
                  <c:v>53.469990000000003</c:v>
                </c:pt>
                <c:pt idx="544">
                  <c:v>53.489990000000006</c:v>
                </c:pt>
                <c:pt idx="545">
                  <c:v>53.489990000000006</c:v>
                </c:pt>
                <c:pt idx="546">
                  <c:v>53.469990000000003</c:v>
                </c:pt>
                <c:pt idx="547">
                  <c:v>53.480000000000004</c:v>
                </c:pt>
                <c:pt idx="548">
                  <c:v>53.469990000000003</c:v>
                </c:pt>
                <c:pt idx="549">
                  <c:v>53.500000000000007</c:v>
                </c:pt>
                <c:pt idx="550">
                  <c:v>53.480000000000004</c:v>
                </c:pt>
                <c:pt idx="551">
                  <c:v>53.459990000000005</c:v>
                </c:pt>
                <c:pt idx="552">
                  <c:v>53.459990000000005</c:v>
                </c:pt>
                <c:pt idx="553">
                  <c:v>53.489990000000006</c:v>
                </c:pt>
                <c:pt idx="554">
                  <c:v>53.469990000000003</c:v>
                </c:pt>
                <c:pt idx="555">
                  <c:v>53.469990000000003</c:v>
                </c:pt>
                <c:pt idx="556">
                  <c:v>53.489990000000006</c:v>
                </c:pt>
                <c:pt idx="557">
                  <c:v>53.480000000000004</c:v>
                </c:pt>
                <c:pt idx="558">
                  <c:v>53.459990000000005</c:v>
                </c:pt>
                <c:pt idx="559">
                  <c:v>53.469990000000003</c:v>
                </c:pt>
                <c:pt idx="560">
                  <c:v>53.469990000000003</c:v>
                </c:pt>
                <c:pt idx="561">
                  <c:v>53.480000000000004</c:v>
                </c:pt>
                <c:pt idx="562">
                  <c:v>53.469990000000003</c:v>
                </c:pt>
                <c:pt idx="563">
                  <c:v>53.469990000000003</c:v>
                </c:pt>
                <c:pt idx="564">
                  <c:v>53.45</c:v>
                </c:pt>
                <c:pt idx="565">
                  <c:v>53.480000000000004</c:v>
                </c:pt>
                <c:pt idx="566">
                  <c:v>53.45</c:v>
                </c:pt>
                <c:pt idx="567">
                  <c:v>53.469990000000003</c:v>
                </c:pt>
                <c:pt idx="568">
                  <c:v>53.45</c:v>
                </c:pt>
                <c:pt idx="569">
                  <c:v>53.439990000000002</c:v>
                </c:pt>
                <c:pt idx="570">
                  <c:v>53.469990000000003</c:v>
                </c:pt>
                <c:pt idx="571">
                  <c:v>53.469990000000003</c:v>
                </c:pt>
                <c:pt idx="572">
                  <c:v>53.469990000000003</c:v>
                </c:pt>
                <c:pt idx="573">
                  <c:v>53.469990000000003</c:v>
                </c:pt>
                <c:pt idx="574">
                  <c:v>53.469990000000003</c:v>
                </c:pt>
                <c:pt idx="575">
                  <c:v>53.000000000000007</c:v>
                </c:pt>
                <c:pt idx="576">
                  <c:v>53.009990000000002</c:v>
                </c:pt>
                <c:pt idx="577">
                  <c:v>53.000000000000007</c:v>
                </c:pt>
                <c:pt idx="578">
                  <c:v>53.009990000000002</c:v>
                </c:pt>
                <c:pt idx="579">
                  <c:v>53.009990000000002</c:v>
                </c:pt>
                <c:pt idx="580">
                  <c:v>53.009990000000002</c:v>
                </c:pt>
                <c:pt idx="581">
                  <c:v>53.019990000000007</c:v>
                </c:pt>
                <c:pt idx="582">
                  <c:v>52.579990000000002</c:v>
                </c:pt>
                <c:pt idx="583">
                  <c:v>52.56</c:v>
                </c:pt>
                <c:pt idx="584">
                  <c:v>52.549990000000001</c:v>
                </c:pt>
                <c:pt idx="585">
                  <c:v>52.56</c:v>
                </c:pt>
                <c:pt idx="586">
                  <c:v>52.56</c:v>
                </c:pt>
                <c:pt idx="587">
                  <c:v>53.019990000000007</c:v>
                </c:pt>
                <c:pt idx="588">
                  <c:v>52.569990000000004</c:v>
                </c:pt>
                <c:pt idx="589">
                  <c:v>52.59</c:v>
                </c:pt>
                <c:pt idx="590">
                  <c:v>52.579990000000002</c:v>
                </c:pt>
                <c:pt idx="591">
                  <c:v>52.56</c:v>
                </c:pt>
                <c:pt idx="592">
                  <c:v>52.549990000000001</c:v>
                </c:pt>
                <c:pt idx="593">
                  <c:v>52.569990000000004</c:v>
                </c:pt>
                <c:pt idx="594">
                  <c:v>52.549990000000001</c:v>
                </c:pt>
                <c:pt idx="595">
                  <c:v>52.539990000000003</c:v>
                </c:pt>
                <c:pt idx="596">
                  <c:v>52.56</c:v>
                </c:pt>
                <c:pt idx="597">
                  <c:v>52.549990000000001</c:v>
                </c:pt>
                <c:pt idx="598">
                  <c:v>52.539990000000003</c:v>
                </c:pt>
                <c:pt idx="599">
                  <c:v>52.56</c:v>
                </c:pt>
                <c:pt idx="600">
                  <c:v>52.56</c:v>
                </c:pt>
                <c:pt idx="601">
                  <c:v>52.539990000000003</c:v>
                </c:pt>
                <c:pt idx="602">
                  <c:v>52.569990000000004</c:v>
                </c:pt>
                <c:pt idx="603">
                  <c:v>52.539990000000003</c:v>
                </c:pt>
                <c:pt idx="604">
                  <c:v>52.56</c:v>
                </c:pt>
                <c:pt idx="605">
                  <c:v>53.459990000000005</c:v>
                </c:pt>
                <c:pt idx="606">
                  <c:v>53.459990000000005</c:v>
                </c:pt>
                <c:pt idx="607">
                  <c:v>53.469990000000003</c:v>
                </c:pt>
                <c:pt idx="608">
                  <c:v>53.45</c:v>
                </c:pt>
                <c:pt idx="609">
                  <c:v>53.439990000000002</c:v>
                </c:pt>
                <c:pt idx="610">
                  <c:v>53.45</c:v>
                </c:pt>
                <c:pt idx="611">
                  <c:v>53.459990000000005</c:v>
                </c:pt>
                <c:pt idx="612">
                  <c:v>53.459990000000005</c:v>
                </c:pt>
                <c:pt idx="613">
                  <c:v>54.599990000000005</c:v>
                </c:pt>
                <c:pt idx="614">
                  <c:v>53.459990000000005</c:v>
                </c:pt>
                <c:pt idx="615">
                  <c:v>54.599990000000005</c:v>
                </c:pt>
                <c:pt idx="616">
                  <c:v>54.599990000000005</c:v>
                </c:pt>
                <c:pt idx="617">
                  <c:v>48.230000000000004</c:v>
                </c:pt>
                <c:pt idx="618">
                  <c:v>48.230000000000004</c:v>
                </c:pt>
                <c:pt idx="619">
                  <c:v>48.230000000000004</c:v>
                </c:pt>
                <c:pt idx="620">
                  <c:v>48.230000000000004</c:v>
                </c:pt>
                <c:pt idx="621">
                  <c:v>48.230000000000004</c:v>
                </c:pt>
                <c:pt idx="622">
                  <c:v>48.230000000000004</c:v>
                </c:pt>
                <c:pt idx="623">
                  <c:v>47.319990000000004</c:v>
                </c:pt>
                <c:pt idx="624">
                  <c:v>47.319990000000004</c:v>
                </c:pt>
                <c:pt idx="625">
                  <c:v>47.319990000000004</c:v>
                </c:pt>
                <c:pt idx="626">
                  <c:v>47.319990000000004</c:v>
                </c:pt>
                <c:pt idx="627">
                  <c:v>47.319990000000004</c:v>
                </c:pt>
                <c:pt idx="628">
                  <c:v>47.319990000000004</c:v>
                </c:pt>
                <c:pt idx="629">
                  <c:v>47.319990000000004</c:v>
                </c:pt>
                <c:pt idx="630">
                  <c:v>47.319990000000004</c:v>
                </c:pt>
                <c:pt idx="631">
                  <c:v>47.319990000000004</c:v>
                </c:pt>
                <c:pt idx="632">
                  <c:v>47.319990000000004</c:v>
                </c:pt>
                <c:pt idx="633">
                  <c:v>47.319990000000004</c:v>
                </c:pt>
                <c:pt idx="634">
                  <c:v>47.319990000000004</c:v>
                </c:pt>
                <c:pt idx="635">
                  <c:v>47.319990000000004</c:v>
                </c:pt>
                <c:pt idx="636">
                  <c:v>47.319990000000004</c:v>
                </c:pt>
                <c:pt idx="637">
                  <c:v>47.319990000000004</c:v>
                </c:pt>
                <c:pt idx="638">
                  <c:v>47.319990000000004</c:v>
                </c:pt>
                <c:pt idx="639">
                  <c:v>47.319990000000004</c:v>
                </c:pt>
                <c:pt idx="640">
                  <c:v>47.319990000000004</c:v>
                </c:pt>
                <c:pt idx="641">
                  <c:v>43.909990000000001</c:v>
                </c:pt>
                <c:pt idx="642">
                  <c:v>40.579990000000002</c:v>
                </c:pt>
                <c:pt idx="643">
                  <c:v>43.939990000000002</c:v>
                </c:pt>
                <c:pt idx="644">
                  <c:v>41.459990000000005</c:v>
                </c:pt>
                <c:pt idx="645">
                  <c:v>40.759990000000002</c:v>
                </c:pt>
                <c:pt idx="646">
                  <c:v>40.759990000000002</c:v>
                </c:pt>
                <c:pt idx="647">
                  <c:v>40.78</c:v>
                </c:pt>
                <c:pt idx="648">
                  <c:v>40.78</c:v>
                </c:pt>
                <c:pt idx="649">
                  <c:v>40.759990000000002</c:v>
                </c:pt>
                <c:pt idx="650">
                  <c:v>40.759990000000002</c:v>
                </c:pt>
                <c:pt idx="651">
                  <c:v>40.739990000000006</c:v>
                </c:pt>
                <c:pt idx="652">
                  <c:v>40.739990000000006</c:v>
                </c:pt>
                <c:pt idx="653">
                  <c:v>40.730000000000004</c:v>
                </c:pt>
                <c:pt idx="654">
                  <c:v>40.75</c:v>
                </c:pt>
                <c:pt idx="655">
                  <c:v>40.75</c:v>
                </c:pt>
                <c:pt idx="656">
                  <c:v>40.76999</c:v>
                </c:pt>
                <c:pt idx="657">
                  <c:v>40.730000000000004</c:v>
                </c:pt>
                <c:pt idx="658">
                  <c:v>40.78</c:v>
                </c:pt>
                <c:pt idx="659">
                  <c:v>40.789990000000003</c:v>
                </c:pt>
                <c:pt idx="660">
                  <c:v>40.759990000000002</c:v>
                </c:pt>
                <c:pt idx="661">
                  <c:v>40.759990000000002</c:v>
                </c:pt>
                <c:pt idx="662">
                  <c:v>40.759990000000002</c:v>
                </c:pt>
                <c:pt idx="663">
                  <c:v>40.78</c:v>
                </c:pt>
                <c:pt idx="664">
                  <c:v>40.75</c:v>
                </c:pt>
                <c:pt idx="665">
                  <c:v>41.079990000000002</c:v>
                </c:pt>
                <c:pt idx="666">
                  <c:v>41.09</c:v>
                </c:pt>
                <c:pt idx="667">
                  <c:v>41.09</c:v>
                </c:pt>
                <c:pt idx="668">
                  <c:v>41.06</c:v>
                </c:pt>
                <c:pt idx="669">
                  <c:v>41.09</c:v>
                </c:pt>
                <c:pt idx="670">
                  <c:v>41.079990000000002</c:v>
                </c:pt>
                <c:pt idx="671">
                  <c:v>41.079990000000002</c:v>
                </c:pt>
                <c:pt idx="672">
                  <c:v>41.09</c:v>
                </c:pt>
                <c:pt idx="673">
                  <c:v>41.679990000000004</c:v>
                </c:pt>
                <c:pt idx="674">
                  <c:v>41.719990000000003</c:v>
                </c:pt>
                <c:pt idx="675">
                  <c:v>41.719990000000003</c:v>
                </c:pt>
                <c:pt idx="676">
                  <c:v>41.659990000000001</c:v>
                </c:pt>
                <c:pt idx="677">
                  <c:v>41.679990000000004</c:v>
                </c:pt>
                <c:pt idx="678">
                  <c:v>41.679990000000004</c:v>
                </c:pt>
                <c:pt idx="679">
                  <c:v>42.76999</c:v>
                </c:pt>
                <c:pt idx="680">
                  <c:v>41.679990000000004</c:v>
                </c:pt>
                <c:pt idx="681">
                  <c:v>41.679990000000004</c:v>
                </c:pt>
                <c:pt idx="682">
                  <c:v>41.7</c:v>
                </c:pt>
                <c:pt idx="683">
                  <c:v>41.679990000000004</c:v>
                </c:pt>
                <c:pt idx="684">
                  <c:v>41.689990000000002</c:v>
                </c:pt>
                <c:pt idx="685">
                  <c:v>41.659990000000001</c:v>
                </c:pt>
                <c:pt idx="686">
                  <c:v>41.67</c:v>
                </c:pt>
                <c:pt idx="687">
                  <c:v>41.659990000000001</c:v>
                </c:pt>
                <c:pt idx="688">
                  <c:v>43.489990000000006</c:v>
                </c:pt>
                <c:pt idx="689">
                  <c:v>43.480000000000004</c:v>
                </c:pt>
                <c:pt idx="690">
                  <c:v>43.489990000000006</c:v>
                </c:pt>
                <c:pt idx="691">
                  <c:v>43.489990000000006</c:v>
                </c:pt>
                <c:pt idx="692">
                  <c:v>43.500000000000007</c:v>
                </c:pt>
                <c:pt idx="693">
                  <c:v>43.489990000000006</c:v>
                </c:pt>
                <c:pt idx="694">
                  <c:v>41.209990000000005</c:v>
                </c:pt>
                <c:pt idx="695">
                  <c:v>41.219990000000003</c:v>
                </c:pt>
                <c:pt idx="696">
                  <c:v>41.2</c:v>
                </c:pt>
                <c:pt idx="697">
                  <c:v>41.209990000000005</c:v>
                </c:pt>
                <c:pt idx="698">
                  <c:v>41.2</c:v>
                </c:pt>
                <c:pt idx="699">
                  <c:v>41.230000000000004</c:v>
                </c:pt>
                <c:pt idx="700">
                  <c:v>41.209990000000005</c:v>
                </c:pt>
                <c:pt idx="701">
                  <c:v>41.189990000000002</c:v>
                </c:pt>
                <c:pt idx="702">
                  <c:v>41.2</c:v>
                </c:pt>
                <c:pt idx="703">
                  <c:v>41.219990000000003</c:v>
                </c:pt>
                <c:pt idx="704">
                  <c:v>41.459990000000005</c:v>
                </c:pt>
                <c:pt idx="705">
                  <c:v>41.219990000000003</c:v>
                </c:pt>
                <c:pt idx="706">
                  <c:v>41.209990000000005</c:v>
                </c:pt>
                <c:pt idx="707">
                  <c:v>41.209990000000005</c:v>
                </c:pt>
                <c:pt idx="708">
                  <c:v>41.2</c:v>
                </c:pt>
                <c:pt idx="709">
                  <c:v>41.209990000000005</c:v>
                </c:pt>
                <c:pt idx="710">
                  <c:v>41.76999</c:v>
                </c:pt>
                <c:pt idx="711">
                  <c:v>41.76999</c:v>
                </c:pt>
                <c:pt idx="712">
                  <c:v>41.76999</c:v>
                </c:pt>
                <c:pt idx="713">
                  <c:v>41.76999</c:v>
                </c:pt>
                <c:pt idx="714">
                  <c:v>41.76999</c:v>
                </c:pt>
                <c:pt idx="715">
                  <c:v>41.76999</c:v>
                </c:pt>
                <c:pt idx="716">
                  <c:v>42.59</c:v>
                </c:pt>
                <c:pt idx="717">
                  <c:v>42.59</c:v>
                </c:pt>
                <c:pt idx="718">
                  <c:v>42.59</c:v>
                </c:pt>
                <c:pt idx="719">
                  <c:v>42.599990000000005</c:v>
                </c:pt>
                <c:pt idx="720">
                  <c:v>42.59</c:v>
                </c:pt>
                <c:pt idx="721">
                  <c:v>41.51999</c:v>
                </c:pt>
                <c:pt idx="722">
                  <c:v>42.609990000000003</c:v>
                </c:pt>
                <c:pt idx="723">
                  <c:v>42.59</c:v>
                </c:pt>
                <c:pt idx="724">
                  <c:v>42.599990000000005</c:v>
                </c:pt>
                <c:pt idx="725">
                  <c:v>42.579990000000002</c:v>
                </c:pt>
                <c:pt idx="726">
                  <c:v>42.64</c:v>
                </c:pt>
                <c:pt idx="727">
                  <c:v>42.679990000000004</c:v>
                </c:pt>
                <c:pt idx="728">
                  <c:v>42.59</c:v>
                </c:pt>
                <c:pt idx="729">
                  <c:v>42.579990000000002</c:v>
                </c:pt>
                <c:pt idx="730">
                  <c:v>42.620000000000005</c:v>
                </c:pt>
                <c:pt idx="731">
                  <c:v>42.599990000000005</c:v>
                </c:pt>
                <c:pt idx="732">
                  <c:v>42.59</c:v>
                </c:pt>
                <c:pt idx="733">
                  <c:v>42.569990000000004</c:v>
                </c:pt>
                <c:pt idx="734">
                  <c:v>42.599990000000005</c:v>
                </c:pt>
                <c:pt idx="735">
                  <c:v>42.689990000000002</c:v>
                </c:pt>
                <c:pt idx="736">
                  <c:v>42.689990000000002</c:v>
                </c:pt>
                <c:pt idx="737">
                  <c:v>42.689990000000002</c:v>
                </c:pt>
                <c:pt idx="738">
                  <c:v>42.679990000000004</c:v>
                </c:pt>
                <c:pt idx="739">
                  <c:v>42.679990000000004</c:v>
                </c:pt>
                <c:pt idx="740">
                  <c:v>42.679990000000004</c:v>
                </c:pt>
                <c:pt idx="741">
                  <c:v>42.679990000000004</c:v>
                </c:pt>
                <c:pt idx="742">
                  <c:v>42.679990000000004</c:v>
                </c:pt>
                <c:pt idx="743">
                  <c:v>42.67</c:v>
                </c:pt>
                <c:pt idx="744">
                  <c:v>42.67</c:v>
                </c:pt>
                <c:pt idx="745">
                  <c:v>42.67</c:v>
                </c:pt>
                <c:pt idx="746">
                  <c:v>42.67</c:v>
                </c:pt>
                <c:pt idx="747">
                  <c:v>42.67</c:v>
                </c:pt>
                <c:pt idx="748">
                  <c:v>42.67</c:v>
                </c:pt>
                <c:pt idx="749">
                  <c:v>42.67</c:v>
                </c:pt>
                <c:pt idx="750">
                  <c:v>42.67</c:v>
                </c:pt>
                <c:pt idx="751">
                  <c:v>42.67</c:v>
                </c:pt>
                <c:pt idx="752">
                  <c:v>42.67</c:v>
                </c:pt>
                <c:pt idx="753">
                  <c:v>42.67</c:v>
                </c:pt>
                <c:pt idx="754">
                  <c:v>42.67</c:v>
                </c:pt>
                <c:pt idx="755">
                  <c:v>42.659990000000001</c:v>
                </c:pt>
                <c:pt idx="756">
                  <c:v>42.659990000000001</c:v>
                </c:pt>
                <c:pt idx="757">
                  <c:v>42.67</c:v>
                </c:pt>
                <c:pt idx="758">
                  <c:v>42.659990000000001</c:v>
                </c:pt>
                <c:pt idx="759">
                  <c:v>42.659990000000001</c:v>
                </c:pt>
                <c:pt idx="760">
                  <c:v>42.649990000000003</c:v>
                </c:pt>
                <c:pt idx="761">
                  <c:v>42.659990000000001</c:v>
                </c:pt>
                <c:pt idx="762">
                  <c:v>42.659990000000001</c:v>
                </c:pt>
                <c:pt idx="763">
                  <c:v>42.659990000000001</c:v>
                </c:pt>
                <c:pt idx="764">
                  <c:v>42.659990000000001</c:v>
                </c:pt>
                <c:pt idx="765">
                  <c:v>45.269990000000007</c:v>
                </c:pt>
                <c:pt idx="766">
                  <c:v>45.28</c:v>
                </c:pt>
                <c:pt idx="767">
                  <c:v>45.28</c:v>
                </c:pt>
                <c:pt idx="768">
                  <c:v>45.28</c:v>
                </c:pt>
                <c:pt idx="769">
                  <c:v>45.28</c:v>
                </c:pt>
                <c:pt idx="770">
                  <c:v>52.069990000000004</c:v>
                </c:pt>
                <c:pt idx="771">
                  <c:v>53.009990000000002</c:v>
                </c:pt>
                <c:pt idx="772">
                  <c:v>52.53</c:v>
                </c:pt>
                <c:pt idx="773">
                  <c:v>52.09</c:v>
                </c:pt>
                <c:pt idx="774">
                  <c:v>52.09</c:v>
                </c:pt>
                <c:pt idx="775">
                  <c:v>52.099990000000005</c:v>
                </c:pt>
                <c:pt idx="776">
                  <c:v>52.099990000000005</c:v>
                </c:pt>
                <c:pt idx="777">
                  <c:v>52.109990000000003</c:v>
                </c:pt>
                <c:pt idx="778">
                  <c:v>52.099990000000005</c:v>
                </c:pt>
                <c:pt idx="779">
                  <c:v>52.099990000000005</c:v>
                </c:pt>
                <c:pt idx="780">
                  <c:v>52.099990000000005</c:v>
                </c:pt>
                <c:pt idx="781">
                  <c:v>49.819990000000004</c:v>
                </c:pt>
                <c:pt idx="782">
                  <c:v>49.819990000000004</c:v>
                </c:pt>
                <c:pt idx="783">
                  <c:v>49.819990000000004</c:v>
                </c:pt>
                <c:pt idx="784">
                  <c:v>49.819990000000004</c:v>
                </c:pt>
                <c:pt idx="785">
                  <c:v>49.819990000000004</c:v>
                </c:pt>
                <c:pt idx="786">
                  <c:v>49.789990000000003</c:v>
                </c:pt>
                <c:pt idx="787">
                  <c:v>49.370000000000005</c:v>
                </c:pt>
                <c:pt idx="788">
                  <c:v>48.909990000000001</c:v>
                </c:pt>
                <c:pt idx="789">
                  <c:v>48.92</c:v>
                </c:pt>
                <c:pt idx="790">
                  <c:v>48.92</c:v>
                </c:pt>
                <c:pt idx="791">
                  <c:v>48.489990000000006</c:v>
                </c:pt>
                <c:pt idx="792">
                  <c:v>47.109990000000003</c:v>
                </c:pt>
                <c:pt idx="793">
                  <c:v>47.109990000000003</c:v>
                </c:pt>
                <c:pt idx="794">
                  <c:v>47.099990000000005</c:v>
                </c:pt>
                <c:pt idx="795">
                  <c:v>47.109990000000003</c:v>
                </c:pt>
                <c:pt idx="796">
                  <c:v>47.109990000000003</c:v>
                </c:pt>
                <c:pt idx="797">
                  <c:v>46.2</c:v>
                </c:pt>
                <c:pt idx="798">
                  <c:v>45.730000000000004</c:v>
                </c:pt>
                <c:pt idx="799">
                  <c:v>45.789990000000003</c:v>
                </c:pt>
                <c:pt idx="800">
                  <c:v>45.739990000000006</c:v>
                </c:pt>
                <c:pt idx="801">
                  <c:v>45.739990000000006</c:v>
                </c:pt>
                <c:pt idx="802">
                  <c:v>45.744230000000002</c:v>
                </c:pt>
                <c:pt idx="803">
                  <c:v>45.746110000000002</c:v>
                </c:pt>
                <c:pt idx="804">
                  <c:v>45.739990000000006</c:v>
                </c:pt>
                <c:pt idx="805">
                  <c:v>45.739990000000006</c:v>
                </c:pt>
                <c:pt idx="806">
                  <c:v>44.84</c:v>
                </c:pt>
                <c:pt idx="807">
                  <c:v>44.849990000000005</c:v>
                </c:pt>
                <c:pt idx="808">
                  <c:v>44.829990000000002</c:v>
                </c:pt>
                <c:pt idx="809">
                  <c:v>44.849990000000005</c:v>
                </c:pt>
                <c:pt idx="810">
                  <c:v>44.849990000000005</c:v>
                </c:pt>
                <c:pt idx="811">
                  <c:v>44.849990000000005</c:v>
                </c:pt>
                <c:pt idx="812">
                  <c:v>44.849990000000005</c:v>
                </c:pt>
                <c:pt idx="813">
                  <c:v>44.849990000000005</c:v>
                </c:pt>
                <c:pt idx="814">
                  <c:v>43.939990000000002</c:v>
                </c:pt>
                <c:pt idx="815">
                  <c:v>43.939990000000002</c:v>
                </c:pt>
                <c:pt idx="816">
                  <c:v>43.939990000000002</c:v>
                </c:pt>
                <c:pt idx="817">
                  <c:v>43.929990000000004</c:v>
                </c:pt>
                <c:pt idx="818">
                  <c:v>43.939990000000002</c:v>
                </c:pt>
                <c:pt idx="819">
                  <c:v>43.929990000000004</c:v>
                </c:pt>
                <c:pt idx="820">
                  <c:v>43.929990000000004</c:v>
                </c:pt>
                <c:pt idx="821">
                  <c:v>43.929990000000004</c:v>
                </c:pt>
                <c:pt idx="822">
                  <c:v>43.929990000000004</c:v>
                </c:pt>
                <c:pt idx="823">
                  <c:v>43.929990000000004</c:v>
                </c:pt>
                <c:pt idx="824">
                  <c:v>43.929990000000004</c:v>
                </c:pt>
                <c:pt idx="825">
                  <c:v>43.929990000000004</c:v>
                </c:pt>
                <c:pt idx="826">
                  <c:v>43.929990000000004</c:v>
                </c:pt>
                <c:pt idx="827">
                  <c:v>43.92</c:v>
                </c:pt>
                <c:pt idx="828">
                  <c:v>43.92</c:v>
                </c:pt>
                <c:pt idx="829">
                  <c:v>43.92</c:v>
                </c:pt>
                <c:pt idx="830">
                  <c:v>44.379990000000006</c:v>
                </c:pt>
                <c:pt idx="831">
                  <c:v>43.92</c:v>
                </c:pt>
                <c:pt idx="832">
                  <c:v>43.92</c:v>
                </c:pt>
                <c:pt idx="833">
                  <c:v>43.909990000000001</c:v>
                </c:pt>
                <c:pt idx="834">
                  <c:v>43.92</c:v>
                </c:pt>
                <c:pt idx="835">
                  <c:v>43.92</c:v>
                </c:pt>
                <c:pt idx="836">
                  <c:v>43.469990000000003</c:v>
                </c:pt>
                <c:pt idx="837">
                  <c:v>43.469990000000003</c:v>
                </c:pt>
                <c:pt idx="838">
                  <c:v>43.439990000000002</c:v>
                </c:pt>
                <c:pt idx="839">
                  <c:v>43.500000000000007</c:v>
                </c:pt>
                <c:pt idx="840">
                  <c:v>43.469990000000003</c:v>
                </c:pt>
                <c:pt idx="841">
                  <c:v>43.489990000000006</c:v>
                </c:pt>
                <c:pt idx="842">
                  <c:v>43.489990000000006</c:v>
                </c:pt>
                <c:pt idx="843">
                  <c:v>43.489990000000006</c:v>
                </c:pt>
                <c:pt idx="844">
                  <c:v>43.489990000000006</c:v>
                </c:pt>
                <c:pt idx="845">
                  <c:v>43.500000000000007</c:v>
                </c:pt>
                <c:pt idx="846">
                  <c:v>43.500000000000007</c:v>
                </c:pt>
                <c:pt idx="847">
                  <c:v>43.500000000000007</c:v>
                </c:pt>
                <c:pt idx="848">
                  <c:v>43.500000000000007</c:v>
                </c:pt>
                <c:pt idx="849">
                  <c:v>43.500000000000007</c:v>
                </c:pt>
                <c:pt idx="850">
                  <c:v>43.500000000000007</c:v>
                </c:pt>
                <c:pt idx="851">
                  <c:v>43.500000000000007</c:v>
                </c:pt>
                <c:pt idx="852">
                  <c:v>43.500000000000007</c:v>
                </c:pt>
                <c:pt idx="853">
                  <c:v>43.500000000000007</c:v>
                </c:pt>
                <c:pt idx="854">
                  <c:v>43.489990000000006</c:v>
                </c:pt>
                <c:pt idx="855">
                  <c:v>43.489990000000006</c:v>
                </c:pt>
                <c:pt idx="856">
                  <c:v>43.489990000000006</c:v>
                </c:pt>
                <c:pt idx="857">
                  <c:v>43.489990000000006</c:v>
                </c:pt>
                <c:pt idx="858">
                  <c:v>43.489990000000006</c:v>
                </c:pt>
                <c:pt idx="859">
                  <c:v>43.500000000000007</c:v>
                </c:pt>
                <c:pt idx="860">
                  <c:v>43.500000000000007</c:v>
                </c:pt>
                <c:pt idx="861">
                  <c:v>43.489990000000006</c:v>
                </c:pt>
                <c:pt idx="862">
                  <c:v>43.489990000000006</c:v>
                </c:pt>
                <c:pt idx="863">
                  <c:v>43.500000000000007</c:v>
                </c:pt>
                <c:pt idx="864">
                  <c:v>43.500000000000007</c:v>
                </c:pt>
                <c:pt idx="865">
                  <c:v>43.489990000000006</c:v>
                </c:pt>
                <c:pt idx="866">
                  <c:v>43.489990000000006</c:v>
                </c:pt>
                <c:pt idx="867">
                  <c:v>43.500000000000007</c:v>
                </c:pt>
                <c:pt idx="868">
                  <c:v>43.500000000000007</c:v>
                </c:pt>
                <c:pt idx="869">
                  <c:v>43.489990000000006</c:v>
                </c:pt>
                <c:pt idx="870">
                  <c:v>43.500000000000007</c:v>
                </c:pt>
                <c:pt idx="871">
                  <c:v>43.500000000000007</c:v>
                </c:pt>
                <c:pt idx="872">
                  <c:v>43.500000000000007</c:v>
                </c:pt>
                <c:pt idx="873">
                  <c:v>43.500000000000007</c:v>
                </c:pt>
                <c:pt idx="874">
                  <c:v>43.500000000000007</c:v>
                </c:pt>
                <c:pt idx="875">
                  <c:v>43.489990000000006</c:v>
                </c:pt>
                <c:pt idx="876">
                  <c:v>43.489990000000006</c:v>
                </c:pt>
                <c:pt idx="877">
                  <c:v>43.489990000000006</c:v>
                </c:pt>
                <c:pt idx="878">
                  <c:v>43.489990000000006</c:v>
                </c:pt>
                <c:pt idx="879">
                  <c:v>43.489990000000006</c:v>
                </c:pt>
                <c:pt idx="880">
                  <c:v>43.489990000000006</c:v>
                </c:pt>
                <c:pt idx="881">
                  <c:v>43.489990000000006</c:v>
                </c:pt>
                <c:pt idx="882">
                  <c:v>43.500000000000007</c:v>
                </c:pt>
                <c:pt idx="883">
                  <c:v>43.500000000000007</c:v>
                </c:pt>
                <c:pt idx="884">
                  <c:v>43.489990000000006</c:v>
                </c:pt>
                <c:pt idx="885">
                  <c:v>43.480000000000004</c:v>
                </c:pt>
                <c:pt idx="886">
                  <c:v>43.480000000000004</c:v>
                </c:pt>
                <c:pt idx="887">
                  <c:v>43.489990000000006</c:v>
                </c:pt>
                <c:pt idx="888">
                  <c:v>43.489990000000006</c:v>
                </c:pt>
                <c:pt idx="889">
                  <c:v>43.489990000000006</c:v>
                </c:pt>
                <c:pt idx="890">
                  <c:v>43.480000000000004</c:v>
                </c:pt>
                <c:pt idx="891">
                  <c:v>43.489990000000006</c:v>
                </c:pt>
                <c:pt idx="892">
                  <c:v>43.480000000000004</c:v>
                </c:pt>
                <c:pt idx="893">
                  <c:v>43.489990000000006</c:v>
                </c:pt>
                <c:pt idx="894">
                  <c:v>43.480000000000004</c:v>
                </c:pt>
                <c:pt idx="895">
                  <c:v>43.519990000000007</c:v>
                </c:pt>
                <c:pt idx="896">
                  <c:v>43.53</c:v>
                </c:pt>
                <c:pt idx="897">
                  <c:v>43.53</c:v>
                </c:pt>
                <c:pt idx="898">
                  <c:v>43.519990000000007</c:v>
                </c:pt>
                <c:pt idx="899">
                  <c:v>43.519990000000007</c:v>
                </c:pt>
                <c:pt idx="900">
                  <c:v>43.53</c:v>
                </c:pt>
                <c:pt idx="901">
                  <c:v>43.53</c:v>
                </c:pt>
                <c:pt idx="902">
                  <c:v>43.53</c:v>
                </c:pt>
                <c:pt idx="903">
                  <c:v>43.53</c:v>
                </c:pt>
                <c:pt idx="904">
                  <c:v>43.549990000000001</c:v>
                </c:pt>
                <c:pt idx="905">
                  <c:v>43.519990000000007</c:v>
                </c:pt>
                <c:pt idx="906">
                  <c:v>43.539990000000003</c:v>
                </c:pt>
                <c:pt idx="907">
                  <c:v>44.67</c:v>
                </c:pt>
                <c:pt idx="908">
                  <c:v>43.519990000000007</c:v>
                </c:pt>
                <c:pt idx="909">
                  <c:v>44.67</c:v>
                </c:pt>
                <c:pt idx="910">
                  <c:v>43.59</c:v>
                </c:pt>
                <c:pt idx="911">
                  <c:v>44.399990000000003</c:v>
                </c:pt>
                <c:pt idx="912">
                  <c:v>44.39</c:v>
                </c:pt>
                <c:pt idx="913">
                  <c:v>44.439990000000002</c:v>
                </c:pt>
                <c:pt idx="914">
                  <c:v>44.409990000000001</c:v>
                </c:pt>
                <c:pt idx="915">
                  <c:v>44.429990000000004</c:v>
                </c:pt>
                <c:pt idx="916">
                  <c:v>44.459990000000005</c:v>
                </c:pt>
                <c:pt idx="917">
                  <c:v>44.429990000000004</c:v>
                </c:pt>
                <c:pt idx="918">
                  <c:v>44.39</c:v>
                </c:pt>
                <c:pt idx="919">
                  <c:v>44.379990000000006</c:v>
                </c:pt>
                <c:pt idx="920">
                  <c:v>44.39</c:v>
                </c:pt>
                <c:pt idx="921">
                  <c:v>44.439990000000002</c:v>
                </c:pt>
                <c:pt idx="922">
                  <c:v>44.399990000000003</c:v>
                </c:pt>
                <c:pt idx="923">
                  <c:v>44.39</c:v>
                </c:pt>
                <c:pt idx="924">
                  <c:v>44.39</c:v>
                </c:pt>
                <c:pt idx="925">
                  <c:v>44.379990000000006</c:v>
                </c:pt>
                <c:pt idx="926">
                  <c:v>44.399990000000003</c:v>
                </c:pt>
                <c:pt idx="927">
                  <c:v>44.42</c:v>
                </c:pt>
                <c:pt idx="928">
                  <c:v>44.39</c:v>
                </c:pt>
                <c:pt idx="929">
                  <c:v>44.42</c:v>
                </c:pt>
                <c:pt idx="930">
                  <c:v>44.42</c:v>
                </c:pt>
                <c:pt idx="931">
                  <c:v>44.439990000000002</c:v>
                </c:pt>
                <c:pt idx="932">
                  <c:v>44.429990000000004</c:v>
                </c:pt>
                <c:pt idx="933">
                  <c:v>44.42</c:v>
                </c:pt>
                <c:pt idx="934">
                  <c:v>44.480000000000004</c:v>
                </c:pt>
                <c:pt idx="935">
                  <c:v>44.45</c:v>
                </c:pt>
                <c:pt idx="936">
                  <c:v>44.429990000000004</c:v>
                </c:pt>
                <c:pt idx="937">
                  <c:v>44.429990000000004</c:v>
                </c:pt>
                <c:pt idx="938">
                  <c:v>44.459990000000005</c:v>
                </c:pt>
                <c:pt idx="939">
                  <c:v>44.439990000000002</c:v>
                </c:pt>
                <c:pt idx="940">
                  <c:v>44.429990000000004</c:v>
                </c:pt>
                <c:pt idx="941">
                  <c:v>44.439990000000002</c:v>
                </c:pt>
                <c:pt idx="942">
                  <c:v>44.480000000000004</c:v>
                </c:pt>
                <c:pt idx="943">
                  <c:v>44.429990000000004</c:v>
                </c:pt>
                <c:pt idx="944">
                  <c:v>44.429990000000004</c:v>
                </c:pt>
                <c:pt idx="945">
                  <c:v>44.459990000000005</c:v>
                </c:pt>
                <c:pt idx="946">
                  <c:v>44.480000000000004</c:v>
                </c:pt>
                <c:pt idx="947">
                  <c:v>44.439990000000002</c:v>
                </c:pt>
                <c:pt idx="948">
                  <c:v>44.439990000000002</c:v>
                </c:pt>
                <c:pt idx="949">
                  <c:v>44.469990000000003</c:v>
                </c:pt>
                <c:pt idx="950">
                  <c:v>44.929990000000004</c:v>
                </c:pt>
                <c:pt idx="951">
                  <c:v>45.329990000000002</c:v>
                </c:pt>
                <c:pt idx="952">
                  <c:v>45.359990000000003</c:v>
                </c:pt>
                <c:pt idx="953">
                  <c:v>45.34</c:v>
                </c:pt>
                <c:pt idx="954">
                  <c:v>45.349990000000005</c:v>
                </c:pt>
                <c:pt idx="955">
                  <c:v>45.370000000000005</c:v>
                </c:pt>
                <c:pt idx="956">
                  <c:v>45.370000000000005</c:v>
                </c:pt>
                <c:pt idx="957">
                  <c:v>45.34</c:v>
                </c:pt>
                <c:pt idx="958">
                  <c:v>45.349990000000005</c:v>
                </c:pt>
                <c:pt idx="959">
                  <c:v>45.799990000000001</c:v>
                </c:pt>
                <c:pt idx="960">
                  <c:v>46.239990000000006</c:v>
                </c:pt>
                <c:pt idx="961">
                  <c:v>46.230000000000004</c:v>
                </c:pt>
                <c:pt idx="962">
                  <c:v>45.789990000000003</c:v>
                </c:pt>
                <c:pt idx="963">
                  <c:v>45.799990000000001</c:v>
                </c:pt>
                <c:pt idx="964">
                  <c:v>45.799990000000001</c:v>
                </c:pt>
                <c:pt idx="965">
                  <c:v>45.799990000000001</c:v>
                </c:pt>
                <c:pt idx="966">
                  <c:v>46.500000000000007</c:v>
                </c:pt>
                <c:pt idx="967">
                  <c:v>45.81</c:v>
                </c:pt>
                <c:pt idx="968">
                  <c:v>45.799990000000001</c:v>
                </c:pt>
                <c:pt idx="969">
                  <c:v>45.799990000000001</c:v>
                </c:pt>
                <c:pt idx="970">
                  <c:v>44.939990000000002</c:v>
                </c:pt>
                <c:pt idx="971">
                  <c:v>44.980000000000004</c:v>
                </c:pt>
                <c:pt idx="972">
                  <c:v>44.95</c:v>
                </c:pt>
                <c:pt idx="973">
                  <c:v>44.980000000000004</c:v>
                </c:pt>
                <c:pt idx="974">
                  <c:v>44.939990000000002</c:v>
                </c:pt>
                <c:pt idx="975">
                  <c:v>44.95</c:v>
                </c:pt>
                <c:pt idx="976">
                  <c:v>46.759990000000002</c:v>
                </c:pt>
                <c:pt idx="977">
                  <c:v>45.500000000000007</c:v>
                </c:pt>
                <c:pt idx="978">
                  <c:v>46.759990000000002</c:v>
                </c:pt>
                <c:pt idx="979">
                  <c:v>46.759990000000002</c:v>
                </c:pt>
                <c:pt idx="980">
                  <c:v>44.946840000000002</c:v>
                </c:pt>
                <c:pt idx="981">
                  <c:v>45.319990000000004</c:v>
                </c:pt>
                <c:pt idx="982">
                  <c:v>45.31</c:v>
                </c:pt>
                <c:pt idx="983">
                  <c:v>45.31</c:v>
                </c:pt>
                <c:pt idx="984">
                  <c:v>44.859990000000003</c:v>
                </c:pt>
                <c:pt idx="985">
                  <c:v>44.859990000000003</c:v>
                </c:pt>
                <c:pt idx="986">
                  <c:v>45.78</c:v>
                </c:pt>
                <c:pt idx="987">
                  <c:v>45.799990000000001</c:v>
                </c:pt>
                <c:pt idx="988">
                  <c:v>45.739990000000006</c:v>
                </c:pt>
                <c:pt idx="989">
                  <c:v>45.299990000000001</c:v>
                </c:pt>
                <c:pt idx="990">
                  <c:v>45.31</c:v>
                </c:pt>
                <c:pt idx="991">
                  <c:v>45.750000000000007</c:v>
                </c:pt>
                <c:pt idx="992">
                  <c:v>45.78</c:v>
                </c:pt>
                <c:pt idx="993">
                  <c:v>45.769990000000007</c:v>
                </c:pt>
                <c:pt idx="994">
                  <c:v>45.730000000000004</c:v>
                </c:pt>
                <c:pt idx="995">
                  <c:v>45.769990000000007</c:v>
                </c:pt>
                <c:pt idx="996">
                  <c:v>45.78</c:v>
                </c:pt>
                <c:pt idx="997">
                  <c:v>45.750000000000007</c:v>
                </c:pt>
                <c:pt idx="998">
                  <c:v>45.730000000000004</c:v>
                </c:pt>
                <c:pt idx="999">
                  <c:v>45.759990000000002</c:v>
                </c:pt>
                <c:pt idx="1000">
                  <c:v>45.739990000000006</c:v>
                </c:pt>
                <c:pt idx="1001">
                  <c:v>45.730000000000004</c:v>
                </c:pt>
                <c:pt idx="1002">
                  <c:v>45.739990000000006</c:v>
                </c:pt>
                <c:pt idx="1003">
                  <c:v>45.759990000000002</c:v>
                </c:pt>
                <c:pt idx="1004">
                  <c:v>45.7</c:v>
                </c:pt>
                <c:pt idx="1005">
                  <c:v>45.739990000000006</c:v>
                </c:pt>
                <c:pt idx="1006">
                  <c:v>45.702550000000002</c:v>
                </c:pt>
                <c:pt idx="1007">
                  <c:v>45.759990000000002</c:v>
                </c:pt>
                <c:pt idx="1008">
                  <c:v>45.750000000000007</c:v>
                </c:pt>
                <c:pt idx="1009">
                  <c:v>45.769990000000007</c:v>
                </c:pt>
                <c:pt idx="1010">
                  <c:v>45.769990000000007</c:v>
                </c:pt>
                <c:pt idx="1011">
                  <c:v>46.64</c:v>
                </c:pt>
                <c:pt idx="1012">
                  <c:v>46.649990000000003</c:v>
                </c:pt>
                <c:pt idx="1013">
                  <c:v>46.67</c:v>
                </c:pt>
                <c:pt idx="1014">
                  <c:v>46.429990000000004</c:v>
                </c:pt>
                <c:pt idx="1015">
                  <c:v>46.42</c:v>
                </c:pt>
                <c:pt idx="1016">
                  <c:v>46.4299900000000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6187888"/>
        <c:axId val="606180816"/>
      </c:lineChart>
      <c:dateAx>
        <c:axId val="606187888"/>
        <c:scaling>
          <c:orientation val="minMax"/>
        </c:scaling>
        <c:delete val="0"/>
        <c:axPos val="b"/>
        <c:numFmt formatCode="yyyy/mm/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606180816"/>
        <c:crosses val="autoZero"/>
        <c:auto val="1"/>
        <c:lblOffset val="100"/>
        <c:baseTimeUnit val="days"/>
        <c:majorUnit val="2"/>
      </c:dateAx>
      <c:valAx>
        <c:axId val="606180816"/>
        <c:scaling>
          <c:orientation val="minMax"/>
          <c:max val="700"/>
          <c:min val="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ot"/>
            </a:ln>
          </c:spPr>
        </c:majorGridlines>
        <c:numFmt formatCode="0" sourceLinked="0"/>
        <c:majorTickMark val="out"/>
        <c:minorTickMark val="none"/>
        <c:tickLblPos val="nextTo"/>
        <c:crossAx val="606187888"/>
        <c:crosses val="autoZero"/>
        <c:crossBetween val="between"/>
        <c:majorUnit val="100"/>
      </c:valAx>
    </c:plotArea>
    <c:legend>
      <c:legendPos val="r"/>
      <c:legendEntry>
        <c:idx val="1"/>
        <c:txPr>
          <a:bodyPr/>
          <a:lstStyle/>
          <a:p>
            <a:pPr>
              <a:defRPr b="1">
                <a:solidFill>
                  <a:srgbClr val="FF0000"/>
                </a:solidFill>
              </a:defRPr>
            </a:pPr>
            <a:endParaRPr lang="hu-HU"/>
          </a:p>
        </c:txPr>
      </c:legendEntry>
      <c:layout>
        <c:manualLayout>
          <c:xMode val="edge"/>
          <c:yMode val="edge"/>
          <c:x val="0.73379887644738639"/>
          <c:y val="1.1881530754674362E-2"/>
          <c:w val="0.2546068664535881"/>
          <c:h val="0.51712448349846518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 b="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2">
    <c:autoUpdate val="0"/>
  </c:externalData>
  <c:userShapes r:id="rId3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044408511864366E-2"/>
          <c:y val="2.3193273717047741E-2"/>
          <c:w val="0.8998463667180211"/>
          <c:h val="0.90226308400908872"/>
        </c:manualLayout>
      </c:layout>
      <c:lineChart>
        <c:grouping val="standard"/>
        <c:varyColors val="0"/>
        <c:ser>
          <c:idx val="0"/>
          <c:order val="4"/>
          <c:tx>
            <c:strRef>
              <c:f>yield_out!$E$1</c:f>
              <c:strCache>
                <c:ptCount val="1"/>
                <c:pt idx="0">
                  <c:v>3 éves</c:v>
                </c:pt>
              </c:strCache>
            </c:strRef>
          </c:tx>
          <c:spPr>
            <a:ln>
              <a:solidFill>
                <a:srgbClr val="66CC00"/>
              </a:solidFill>
            </a:ln>
          </c:spPr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E$1012:$E$1980</c:f>
              <c:numCache>
                <c:formatCode>#\ ##0.00\ </c:formatCode>
                <c:ptCount val="969"/>
                <c:pt idx="0">
                  <c:v>9.42</c:v>
                </c:pt>
                <c:pt idx="1">
                  <c:v>9.7799999999999994</c:v>
                </c:pt>
                <c:pt idx="2">
                  <c:v>10.19</c:v>
                </c:pt>
                <c:pt idx="3">
                  <c:v>10.46</c:v>
                </c:pt>
                <c:pt idx="4">
                  <c:v>9.8699999999999992</c:v>
                </c:pt>
                <c:pt idx="5">
                  <c:v>9.6300000000000008</c:v>
                </c:pt>
                <c:pt idx="6">
                  <c:v>9.6999999999999993</c:v>
                </c:pt>
                <c:pt idx="7">
                  <c:v>9.4499999999999993</c:v>
                </c:pt>
                <c:pt idx="8">
                  <c:v>9.2799999999999994</c:v>
                </c:pt>
                <c:pt idx="9">
                  <c:v>9.51</c:v>
                </c:pt>
                <c:pt idx="10">
                  <c:v>9.61</c:v>
                </c:pt>
                <c:pt idx="11">
                  <c:v>9.76</c:v>
                </c:pt>
                <c:pt idx="12">
                  <c:v>9.4700000000000006</c:v>
                </c:pt>
                <c:pt idx="13">
                  <c:v>9.2100000000000009</c:v>
                </c:pt>
                <c:pt idx="14">
                  <c:v>9.33</c:v>
                </c:pt>
                <c:pt idx="15">
                  <c:v>9.27</c:v>
                </c:pt>
                <c:pt idx="16">
                  <c:v>9.14</c:v>
                </c:pt>
                <c:pt idx="17">
                  <c:v>8.76</c:v>
                </c:pt>
                <c:pt idx="18">
                  <c:v>8.4700000000000006</c:v>
                </c:pt>
                <c:pt idx="19">
                  <c:v>8.51</c:v>
                </c:pt>
                <c:pt idx="20">
                  <c:v>8.6</c:v>
                </c:pt>
                <c:pt idx="21">
                  <c:v>8.6</c:v>
                </c:pt>
                <c:pt idx="22">
                  <c:v>8.57</c:v>
                </c:pt>
                <c:pt idx="23">
                  <c:v>8.5399999999999991</c:v>
                </c:pt>
                <c:pt idx="24">
                  <c:v>8.43</c:v>
                </c:pt>
                <c:pt idx="25">
                  <c:v>8.41</c:v>
                </c:pt>
                <c:pt idx="26">
                  <c:v>8.33</c:v>
                </c:pt>
                <c:pt idx="27">
                  <c:v>8.1300000000000008</c:v>
                </c:pt>
                <c:pt idx="28">
                  <c:v>8.2799999999999994</c:v>
                </c:pt>
                <c:pt idx="29">
                  <c:v>8.52</c:v>
                </c:pt>
                <c:pt idx="30">
                  <c:v>8.24</c:v>
                </c:pt>
                <c:pt idx="31">
                  <c:v>8.33</c:v>
                </c:pt>
                <c:pt idx="32">
                  <c:v>7.87</c:v>
                </c:pt>
                <c:pt idx="33">
                  <c:v>8.01</c:v>
                </c:pt>
                <c:pt idx="34">
                  <c:v>7.92</c:v>
                </c:pt>
                <c:pt idx="35">
                  <c:v>7.86</c:v>
                </c:pt>
                <c:pt idx="36">
                  <c:v>7.87</c:v>
                </c:pt>
                <c:pt idx="37">
                  <c:v>8.1300000000000008</c:v>
                </c:pt>
                <c:pt idx="38">
                  <c:v>8.2899999999999991</c:v>
                </c:pt>
                <c:pt idx="39">
                  <c:v>8.1300000000000008</c:v>
                </c:pt>
                <c:pt idx="40">
                  <c:v>8.27</c:v>
                </c:pt>
                <c:pt idx="41">
                  <c:v>8.17</c:v>
                </c:pt>
                <c:pt idx="42">
                  <c:v>8.27</c:v>
                </c:pt>
                <c:pt idx="43">
                  <c:v>8.16</c:v>
                </c:pt>
                <c:pt idx="44">
                  <c:v>8.2200000000000006</c:v>
                </c:pt>
                <c:pt idx="45">
                  <c:v>8.32</c:v>
                </c:pt>
                <c:pt idx="46">
                  <c:v>8.36</c:v>
                </c:pt>
                <c:pt idx="47">
                  <c:v>8.3800000000000008</c:v>
                </c:pt>
                <c:pt idx="48">
                  <c:v>8.36</c:v>
                </c:pt>
                <c:pt idx="49">
                  <c:v>8.33</c:v>
                </c:pt>
                <c:pt idx="50">
                  <c:v>8.32</c:v>
                </c:pt>
                <c:pt idx="51">
                  <c:v>8.33</c:v>
                </c:pt>
                <c:pt idx="52">
                  <c:v>8.27</c:v>
                </c:pt>
                <c:pt idx="53">
                  <c:v>8.26</c:v>
                </c:pt>
                <c:pt idx="54">
                  <c:v>8.36</c:v>
                </c:pt>
                <c:pt idx="55">
                  <c:v>8.4</c:v>
                </c:pt>
                <c:pt idx="56">
                  <c:v>8.51</c:v>
                </c:pt>
                <c:pt idx="57">
                  <c:v>8.52</c:v>
                </c:pt>
                <c:pt idx="58">
                  <c:v>8.6199999999999992</c:v>
                </c:pt>
                <c:pt idx="59">
                  <c:v>8.5399999999999991</c:v>
                </c:pt>
                <c:pt idx="60">
                  <c:v>8.6199999999999992</c:v>
                </c:pt>
                <c:pt idx="61">
                  <c:v>8.67</c:v>
                </c:pt>
                <c:pt idx="62">
                  <c:v>8.7200000000000006</c:v>
                </c:pt>
                <c:pt idx="63">
                  <c:v>8.64</c:v>
                </c:pt>
                <c:pt idx="64">
                  <c:v>8.61</c:v>
                </c:pt>
                <c:pt idx="65">
                  <c:v>8.66</c:v>
                </c:pt>
                <c:pt idx="66">
                  <c:v>8.75</c:v>
                </c:pt>
                <c:pt idx="67">
                  <c:v>8.7799999999999994</c:v>
                </c:pt>
                <c:pt idx="68">
                  <c:v>8.76</c:v>
                </c:pt>
                <c:pt idx="69">
                  <c:v>8.6999999999999993</c:v>
                </c:pt>
                <c:pt idx="70">
                  <c:v>8.77</c:v>
                </c:pt>
                <c:pt idx="71">
                  <c:v>8.83</c:v>
                </c:pt>
                <c:pt idx="72">
                  <c:v>8.7899999999999991</c:v>
                </c:pt>
                <c:pt idx="73">
                  <c:v>8.73</c:v>
                </c:pt>
                <c:pt idx="74">
                  <c:v>8.7200000000000006</c:v>
                </c:pt>
                <c:pt idx="75">
                  <c:v>8.6999999999999993</c:v>
                </c:pt>
                <c:pt idx="76">
                  <c:v>8.77</c:v>
                </c:pt>
                <c:pt idx="77">
                  <c:v>8.76</c:v>
                </c:pt>
                <c:pt idx="78">
                  <c:v>7.96</c:v>
                </c:pt>
                <c:pt idx="79">
                  <c:v>7.96</c:v>
                </c:pt>
                <c:pt idx="80">
                  <c:v>7.87</c:v>
                </c:pt>
                <c:pt idx="81">
                  <c:v>7.76</c:v>
                </c:pt>
                <c:pt idx="82">
                  <c:v>7.7</c:v>
                </c:pt>
                <c:pt idx="83">
                  <c:v>7.74</c:v>
                </c:pt>
                <c:pt idx="84">
                  <c:v>7.84</c:v>
                </c:pt>
                <c:pt idx="85">
                  <c:v>7.82</c:v>
                </c:pt>
                <c:pt idx="86">
                  <c:v>7.94</c:v>
                </c:pt>
                <c:pt idx="87">
                  <c:v>7.89</c:v>
                </c:pt>
                <c:pt idx="88">
                  <c:v>7.94</c:v>
                </c:pt>
                <c:pt idx="89">
                  <c:v>7.99</c:v>
                </c:pt>
                <c:pt idx="90">
                  <c:v>7.99</c:v>
                </c:pt>
                <c:pt idx="91">
                  <c:v>8.17</c:v>
                </c:pt>
                <c:pt idx="92">
                  <c:v>8.26</c:v>
                </c:pt>
                <c:pt idx="93">
                  <c:v>8.3000000000000007</c:v>
                </c:pt>
                <c:pt idx="94">
                  <c:v>8.2100000000000009</c:v>
                </c:pt>
                <c:pt idx="95">
                  <c:v>8.16</c:v>
                </c:pt>
                <c:pt idx="96">
                  <c:v>8.3699999999999992</c:v>
                </c:pt>
                <c:pt idx="97">
                  <c:v>8.3000000000000007</c:v>
                </c:pt>
                <c:pt idx="98">
                  <c:v>8.26</c:v>
                </c:pt>
                <c:pt idx="99">
                  <c:v>8.2799999999999994</c:v>
                </c:pt>
                <c:pt idx="100">
                  <c:v>8.32</c:v>
                </c:pt>
                <c:pt idx="101">
                  <c:v>8.49</c:v>
                </c:pt>
                <c:pt idx="102">
                  <c:v>8.68</c:v>
                </c:pt>
                <c:pt idx="103">
                  <c:v>8.6300000000000008</c:v>
                </c:pt>
                <c:pt idx="104">
                  <c:v>8.5399999999999991</c:v>
                </c:pt>
                <c:pt idx="105">
                  <c:v>8.4600000000000009</c:v>
                </c:pt>
                <c:pt idx="106">
                  <c:v>8.14</c:v>
                </c:pt>
                <c:pt idx="107">
                  <c:v>8.25</c:v>
                </c:pt>
                <c:pt idx="108">
                  <c:v>8.26</c:v>
                </c:pt>
                <c:pt idx="109">
                  <c:v>8.26</c:v>
                </c:pt>
                <c:pt idx="110">
                  <c:v>8.2899999999999991</c:v>
                </c:pt>
                <c:pt idx="111">
                  <c:v>8.3800000000000008</c:v>
                </c:pt>
                <c:pt idx="112">
                  <c:v>8.3000000000000007</c:v>
                </c:pt>
                <c:pt idx="113">
                  <c:v>7.99</c:v>
                </c:pt>
                <c:pt idx="114">
                  <c:v>7.8</c:v>
                </c:pt>
                <c:pt idx="115">
                  <c:v>7.74</c:v>
                </c:pt>
                <c:pt idx="116">
                  <c:v>7.72</c:v>
                </c:pt>
                <c:pt idx="117">
                  <c:v>7.79</c:v>
                </c:pt>
                <c:pt idx="118">
                  <c:v>7.79</c:v>
                </c:pt>
                <c:pt idx="119">
                  <c:v>7.73</c:v>
                </c:pt>
                <c:pt idx="120">
                  <c:v>7.72</c:v>
                </c:pt>
                <c:pt idx="121">
                  <c:v>7.54</c:v>
                </c:pt>
                <c:pt idx="122">
                  <c:v>7.55</c:v>
                </c:pt>
                <c:pt idx="123">
                  <c:v>7.45</c:v>
                </c:pt>
                <c:pt idx="124">
                  <c:v>7.47</c:v>
                </c:pt>
                <c:pt idx="125">
                  <c:v>7.42</c:v>
                </c:pt>
                <c:pt idx="126">
                  <c:v>7.44</c:v>
                </c:pt>
                <c:pt idx="127">
                  <c:v>7.52</c:v>
                </c:pt>
                <c:pt idx="128">
                  <c:v>7.56</c:v>
                </c:pt>
                <c:pt idx="129">
                  <c:v>7.53</c:v>
                </c:pt>
                <c:pt idx="130">
                  <c:v>7.56</c:v>
                </c:pt>
                <c:pt idx="131">
                  <c:v>7.47</c:v>
                </c:pt>
                <c:pt idx="132">
                  <c:v>7.36</c:v>
                </c:pt>
                <c:pt idx="133">
                  <c:v>7.1</c:v>
                </c:pt>
                <c:pt idx="134">
                  <c:v>7.01</c:v>
                </c:pt>
                <c:pt idx="135">
                  <c:v>7.08</c:v>
                </c:pt>
                <c:pt idx="136">
                  <c:v>6.88</c:v>
                </c:pt>
                <c:pt idx="137">
                  <c:v>6.94</c:v>
                </c:pt>
                <c:pt idx="138">
                  <c:v>7.11</c:v>
                </c:pt>
                <c:pt idx="139">
                  <c:v>7.12</c:v>
                </c:pt>
                <c:pt idx="140">
                  <c:v>7.37</c:v>
                </c:pt>
                <c:pt idx="141">
                  <c:v>7.37</c:v>
                </c:pt>
                <c:pt idx="142">
                  <c:v>7.3</c:v>
                </c:pt>
                <c:pt idx="143">
                  <c:v>7.25</c:v>
                </c:pt>
                <c:pt idx="144">
                  <c:v>7.18</c:v>
                </c:pt>
                <c:pt idx="145">
                  <c:v>7.2</c:v>
                </c:pt>
                <c:pt idx="146">
                  <c:v>7.2</c:v>
                </c:pt>
                <c:pt idx="147">
                  <c:v>7.14</c:v>
                </c:pt>
                <c:pt idx="148">
                  <c:v>6.99</c:v>
                </c:pt>
                <c:pt idx="149">
                  <c:v>6.99</c:v>
                </c:pt>
                <c:pt idx="150">
                  <c:v>7.06</c:v>
                </c:pt>
                <c:pt idx="151">
                  <c:v>6.9</c:v>
                </c:pt>
                <c:pt idx="152">
                  <c:v>6.89</c:v>
                </c:pt>
                <c:pt idx="153">
                  <c:v>6.89</c:v>
                </c:pt>
                <c:pt idx="154">
                  <c:v>6.91</c:v>
                </c:pt>
                <c:pt idx="155">
                  <c:v>6.93</c:v>
                </c:pt>
                <c:pt idx="156">
                  <c:v>6.91</c:v>
                </c:pt>
                <c:pt idx="157">
                  <c:v>6.89</c:v>
                </c:pt>
                <c:pt idx="158">
                  <c:v>6.82</c:v>
                </c:pt>
                <c:pt idx="159">
                  <c:v>6.83</c:v>
                </c:pt>
                <c:pt idx="160">
                  <c:v>6.71</c:v>
                </c:pt>
                <c:pt idx="161">
                  <c:v>6.76</c:v>
                </c:pt>
                <c:pt idx="162">
                  <c:v>6.78</c:v>
                </c:pt>
                <c:pt idx="163">
                  <c:v>6.8</c:v>
                </c:pt>
                <c:pt idx="164">
                  <c:v>6.72</c:v>
                </c:pt>
                <c:pt idx="165">
                  <c:v>6.74</c:v>
                </c:pt>
                <c:pt idx="166">
                  <c:v>6.69</c:v>
                </c:pt>
                <c:pt idx="167">
                  <c:v>6.66</c:v>
                </c:pt>
                <c:pt idx="168">
                  <c:v>6.67</c:v>
                </c:pt>
                <c:pt idx="169">
                  <c:v>6.74</c:v>
                </c:pt>
                <c:pt idx="170">
                  <c:v>6.72</c:v>
                </c:pt>
                <c:pt idx="171">
                  <c:v>6.8</c:v>
                </c:pt>
                <c:pt idx="172">
                  <c:v>6.71</c:v>
                </c:pt>
                <c:pt idx="173">
                  <c:v>6.71</c:v>
                </c:pt>
                <c:pt idx="174">
                  <c:v>6.64</c:v>
                </c:pt>
                <c:pt idx="175">
                  <c:v>6.64</c:v>
                </c:pt>
                <c:pt idx="176">
                  <c:v>6.56</c:v>
                </c:pt>
                <c:pt idx="177">
                  <c:v>6.6</c:v>
                </c:pt>
                <c:pt idx="178">
                  <c:v>6.66</c:v>
                </c:pt>
                <c:pt idx="179">
                  <c:v>6.64</c:v>
                </c:pt>
                <c:pt idx="180">
                  <c:v>6.68</c:v>
                </c:pt>
                <c:pt idx="181">
                  <c:v>6.68</c:v>
                </c:pt>
                <c:pt idx="182">
                  <c:v>6.67</c:v>
                </c:pt>
                <c:pt idx="183">
                  <c:v>6.56</c:v>
                </c:pt>
                <c:pt idx="184">
                  <c:v>6.56</c:v>
                </c:pt>
                <c:pt idx="185">
                  <c:v>6.58</c:v>
                </c:pt>
                <c:pt idx="186">
                  <c:v>6.59</c:v>
                </c:pt>
                <c:pt idx="187">
                  <c:v>6.63</c:v>
                </c:pt>
                <c:pt idx="188">
                  <c:v>6.67</c:v>
                </c:pt>
                <c:pt idx="189">
                  <c:v>6.69</c:v>
                </c:pt>
                <c:pt idx="190">
                  <c:v>6.74</c:v>
                </c:pt>
                <c:pt idx="191">
                  <c:v>6.62</c:v>
                </c:pt>
                <c:pt idx="192">
                  <c:v>6.53</c:v>
                </c:pt>
                <c:pt idx="193">
                  <c:v>6.55</c:v>
                </c:pt>
                <c:pt idx="194">
                  <c:v>6.55</c:v>
                </c:pt>
                <c:pt idx="195">
                  <c:v>6.47</c:v>
                </c:pt>
                <c:pt idx="196">
                  <c:v>6.3</c:v>
                </c:pt>
                <c:pt idx="197">
                  <c:v>6.11</c:v>
                </c:pt>
                <c:pt idx="198">
                  <c:v>5.98</c:v>
                </c:pt>
                <c:pt idx="199">
                  <c:v>6.21</c:v>
                </c:pt>
                <c:pt idx="200">
                  <c:v>6.04</c:v>
                </c:pt>
                <c:pt idx="201">
                  <c:v>6.03</c:v>
                </c:pt>
                <c:pt idx="202">
                  <c:v>6</c:v>
                </c:pt>
                <c:pt idx="203">
                  <c:v>5.99</c:v>
                </c:pt>
                <c:pt idx="204">
                  <c:v>6.14</c:v>
                </c:pt>
                <c:pt idx="205">
                  <c:v>6.3</c:v>
                </c:pt>
                <c:pt idx="206">
                  <c:v>6.22</c:v>
                </c:pt>
                <c:pt idx="207">
                  <c:v>6.17</c:v>
                </c:pt>
                <c:pt idx="208">
                  <c:v>6.16</c:v>
                </c:pt>
                <c:pt idx="209">
                  <c:v>6.01</c:v>
                </c:pt>
                <c:pt idx="210">
                  <c:v>5.95</c:v>
                </c:pt>
                <c:pt idx="211">
                  <c:v>6.08</c:v>
                </c:pt>
                <c:pt idx="212">
                  <c:v>6.05</c:v>
                </c:pt>
                <c:pt idx="213">
                  <c:v>5.97</c:v>
                </c:pt>
                <c:pt idx="214">
                  <c:v>5.98</c:v>
                </c:pt>
                <c:pt idx="215">
                  <c:v>5.93</c:v>
                </c:pt>
                <c:pt idx="216">
                  <c:v>5.93</c:v>
                </c:pt>
                <c:pt idx="217">
                  <c:v>5.94</c:v>
                </c:pt>
                <c:pt idx="218">
                  <c:v>5.95</c:v>
                </c:pt>
                <c:pt idx="219">
                  <c:v>5.93</c:v>
                </c:pt>
                <c:pt idx="220">
                  <c:v>5.98</c:v>
                </c:pt>
                <c:pt idx="221">
                  <c:v>5.96</c:v>
                </c:pt>
                <c:pt idx="222">
                  <c:v>5.97</c:v>
                </c:pt>
                <c:pt idx="223">
                  <c:v>6.04</c:v>
                </c:pt>
                <c:pt idx="224">
                  <c:v>6</c:v>
                </c:pt>
                <c:pt idx="225">
                  <c:v>6.02</c:v>
                </c:pt>
                <c:pt idx="226">
                  <c:v>5.95</c:v>
                </c:pt>
                <c:pt idx="227">
                  <c:v>5.96</c:v>
                </c:pt>
                <c:pt idx="228">
                  <c:v>5.95</c:v>
                </c:pt>
                <c:pt idx="229">
                  <c:v>5.95</c:v>
                </c:pt>
                <c:pt idx="230">
                  <c:v>5.94</c:v>
                </c:pt>
                <c:pt idx="231">
                  <c:v>5.89</c:v>
                </c:pt>
                <c:pt idx="232">
                  <c:v>5.81</c:v>
                </c:pt>
                <c:pt idx="233">
                  <c:v>5.79</c:v>
                </c:pt>
                <c:pt idx="234">
                  <c:v>5.72</c:v>
                </c:pt>
                <c:pt idx="235">
                  <c:v>5.73</c:v>
                </c:pt>
                <c:pt idx="236">
                  <c:v>5.7</c:v>
                </c:pt>
                <c:pt idx="237">
                  <c:v>5.74</c:v>
                </c:pt>
                <c:pt idx="238">
                  <c:v>5.79</c:v>
                </c:pt>
                <c:pt idx="239">
                  <c:v>5.83</c:v>
                </c:pt>
                <c:pt idx="240">
                  <c:v>5.72</c:v>
                </c:pt>
                <c:pt idx="241">
                  <c:v>5.59</c:v>
                </c:pt>
                <c:pt idx="242">
                  <c:v>5.56</c:v>
                </c:pt>
                <c:pt idx="243">
                  <c:v>5.6</c:v>
                </c:pt>
                <c:pt idx="244">
                  <c:v>5.61</c:v>
                </c:pt>
                <c:pt idx="245">
                  <c:v>5.57</c:v>
                </c:pt>
                <c:pt idx="246">
                  <c:v>5.51</c:v>
                </c:pt>
                <c:pt idx="247">
                  <c:v>5.76</c:v>
                </c:pt>
                <c:pt idx="248">
                  <c:v>5.64</c:v>
                </c:pt>
                <c:pt idx="249">
                  <c:v>5.63</c:v>
                </c:pt>
                <c:pt idx="250">
                  <c:v>5.59</c:v>
                </c:pt>
                <c:pt idx="251">
                  <c:v>5.51</c:v>
                </c:pt>
                <c:pt idx="252">
                  <c:v>5.62</c:v>
                </c:pt>
                <c:pt idx="253">
                  <c:v>5.62</c:v>
                </c:pt>
                <c:pt idx="254">
                  <c:v>5.45</c:v>
                </c:pt>
                <c:pt idx="255">
                  <c:v>5.51</c:v>
                </c:pt>
                <c:pt idx="256">
                  <c:v>5.52</c:v>
                </c:pt>
                <c:pt idx="257">
                  <c:v>5.5</c:v>
                </c:pt>
                <c:pt idx="258">
                  <c:v>5.45</c:v>
                </c:pt>
                <c:pt idx="259">
                  <c:v>5.44</c:v>
                </c:pt>
                <c:pt idx="260">
                  <c:v>5.45</c:v>
                </c:pt>
                <c:pt idx="261">
                  <c:v>5.43</c:v>
                </c:pt>
                <c:pt idx="262">
                  <c:v>5.48</c:v>
                </c:pt>
                <c:pt idx="263">
                  <c:v>5.47</c:v>
                </c:pt>
                <c:pt idx="264">
                  <c:v>5.47</c:v>
                </c:pt>
                <c:pt idx="265">
                  <c:v>5.59</c:v>
                </c:pt>
                <c:pt idx="266">
                  <c:v>5.54</c:v>
                </c:pt>
                <c:pt idx="267">
                  <c:v>5.5</c:v>
                </c:pt>
                <c:pt idx="268">
                  <c:v>5.5</c:v>
                </c:pt>
                <c:pt idx="269">
                  <c:v>5.47</c:v>
                </c:pt>
                <c:pt idx="270">
                  <c:v>5.5</c:v>
                </c:pt>
                <c:pt idx="271">
                  <c:v>5.48</c:v>
                </c:pt>
                <c:pt idx="272">
                  <c:v>5.46</c:v>
                </c:pt>
                <c:pt idx="273">
                  <c:v>5.43</c:v>
                </c:pt>
                <c:pt idx="274">
                  <c:v>5.42</c:v>
                </c:pt>
                <c:pt idx="275">
                  <c:v>5.36</c:v>
                </c:pt>
                <c:pt idx="276">
                  <c:v>5.35</c:v>
                </c:pt>
                <c:pt idx="277">
                  <c:v>5.36</c:v>
                </c:pt>
                <c:pt idx="278">
                  <c:v>5.33</c:v>
                </c:pt>
                <c:pt idx="279">
                  <c:v>5.2</c:v>
                </c:pt>
                <c:pt idx="280">
                  <c:v>5.27</c:v>
                </c:pt>
                <c:pt idx="281">
                  <c:v>5.31</c:v>
                </c:pt>
                <c:pt idx="282">
                  <c:v>5.28</c:v>
                </c:pt>
                <c:pt idx="283">
                  <c:v>5.29</c:v>
                </c:pt>
                <c:pt idx="284">
                  <c:v>5.32</c:v>
                </c:pt>
                <c:pt idx="285">
                  <c:v>5.31</c:v>
                </c:pt>
                <c:pt idx="286">
                  <c:v>5.3</c:v>
                </c:pt>
                <c:pt idx="287">
                  <c:v>5.17</c:v>
                </c:pt>
                <c:pt idx="288">
                  <c:v>5.17</c:v>
                </c:pt>
                <c:pt idx="289">
                  <c:v>5.23</c:v>
                </c:pt>
                <c:pt idx="290">
                  <c:v>5.24</c:v>
                </c:pt>
                <c:pt idx="291">
                  <c:v>5.2</c:v>
                </c:pt>
                <c:pt idx="292">
                  <c:v>5.18</c:v>
                </c:pt>
                <c:pt idx="293">
                  <c:v>5.28</c:v>
                </c:pt>
                <c:pt idx="294">
                  <c:v>5.26</c:v>
                </c:pt>
                <c:pt idx="295">
                  <c:v>5.28</c:v>
                </c:pt>
                <c:pt idx="296">
                  <c:v>5.27</c:v>
                </c:pt>
                <c:pt idx="297">
                  <c:v>5.29</c:v>
                </c:pt>
                <c:pt idx="298">
                  <c:v>5.28</c:v>
                </c:pt>
                <c:pt idx="299">
                  <c:v>5.26</c:v>
                </c:pt>
                <c:pt idx="300">
                  <c:v>5.24</c:v>
                </c:pt>
                <c:pt idx="301">
                  <c:v>5.28</c:v>
                </c:pt>
                <c:pt idx="302">
                  <c:v>5.24</c:v>
                </c:pt>
                <c:pt idx="303">
                  <c:v>5.18</c:v>
                </c:pt>
                <c:pt idx="304">
                  <c:v>5.12</c:v>
                </c:pt>
                <c:pt idx="305">
                  <c:v>5.12</c:v>
                </c:pt>
                <c:pt idx="306">
                  <c:v>5.09</c:v>
                </c:pt>
                <c:pt idx="307">
                  <c:v>4.97</c:v>
                </c:pt>
                <c:pt idx="308">
                  <c:v>4.84</c:v>
                </c:pt>
                <c:pt idx="309">
                  <c:v>4.8099999999999996</c:v>
                </c:pt>
                <c:pt idx="310">
                  <c:v>4.67</c:v>
                </c:pt>
                <c:pt idx="311">
                  <c:v>4.6399999999999997</c:v>
                </c:pt>
                <c:pt idx="312">
                  <c:v>4.71</c:v>
                </c:pt>
                <c:pt idx="313">
                  <c:v>4.71</c:v>
                </c:pt>
                <c:pt idx="314">
                  <c:v>4.71</c:v>
                </c:pt>
                <c:pt idx="315">
                  <c:v>4.71</c:v>
                </c:pt>
                <c:pt idx="316">
                  <c:v>4.72</c:v>
                </c:pt>
                <c:pt idx="317">
                  <c:v>4.72</c:v>
                </c:pt>
                <c:pt idx="318">
                  <c:v>4.67</c:v>
                </c:pt>
                <c:pt idx="319">
                  <c:v>4.5999999999999996</c:v>
                </c:pt>
                <c:pt idx="320">
                  <c:v>4.5999999999999996</c:v>
                </c:pt>
                <c:pt idx="321">
                  <c:v>4.55</c:v>
                </c:pt>
                <c:pt idx="322">
                  <c:v>4.5199999999999996</c:v>
                </c:pt>
                <c:pt idx="323">
                  <c:v>4.62</c:v>
                </c:pt>
                <c:pt idx="324">
                  <c:v>4.7</c:v>
                </c:pt>
                <c:pt idx="325">
                  <c:v>4.71</c:v>
                </c:pt>
                <c:pt idx="326">
                  <c:v>4.6500000000000004</c:v>
                </c:pt>
                <c:pt idx="327">
                  <c:v>4.5999999999999996</c:v>
                </c:pt>
                <c:pt idx="328">
                  <c:v>4.49</c:v>
                </c:pt>
                <c:pt idx="329">
                  <c:v>4.49</c:v>
                </c:pt>
                <c:pt idx="330">
                  <c:v>4.51</c:v>
                </c:pt>
                <c:pt idx="331">
                  <c:v>4.45</c:v>
                </c:pt>
                <c:pt idx="332">
                  <c:v>4.3899999999999997</c:v>
                </c:pt>
                <c:pt idx="333">
                  <c:v>4.5199999999999996</c:v>
                </c:pt>
                <c:pt idx="334">
                  <c:v>4.5</c:v>
                </c:pt>
                <c:pt idx="335">
                  <c:v>4.51</c:v>
                </c:pt>
                <c:pt idx="336">
                  <c:v>4.42</c:v>
                </c:pt>
                <c:pt idx="337">
                  <c:v>4.37</c:v>
                </c:pt>
                <c:pt idx="338">
                  <c:v>4.38</c:v>
                </c:pt>
                <c:pt idx="339">
                  <c:v>4.5199999999999996</c:v>
                </c:pt>
                <c:pt idx="340">
                  <c:v>4.47</c:v>
                </c:pt>
                <c:pt idx="341">
                  <c:v>4.57</c:v>
                </c:pt>
                <c:pt idx="342">
                  <c:v>4.5</c:v>
                </c:pt>
                <c:pt idx="343">
                  <c:v>4.47</c:v>
                </c:pt>
                <c:pt idx="344">
                  <c:v>4.4000000000000004</c:v>
                </c:pt>
                <c:pt idx="345">
                  <c:v>4.4400000000000004</c:v>
                </c:pt>
                <c:pt idx="346">
                  <c:v>4.57</c:v>
                </c:pt>
                <c:pt idx="347">
                  <c:v>4.6399999999999997</c:v>
                </c:pt>
                <c:pt idx="348">
                  <c:v>4.5599999999999996</c:v>
                </c:pt>
                <c:pt idx="349">
                  <c:v>4.46</c:v>
                </c:pt>
                <c:pt idx="350">
                  <c:v>4.57</c:v>
                </c:pt>
                <c:pt idx="351">
                  <c:v>4.71</c:v>
                </c:pt>
                <c:pt idx="352">
                  <c:v>4.72</c:v>
                </c:pt>
                <c:pt idx="353">
                  <c:v>4.91</c:v>
                </c:pt>
                <c:pt idx="354">
                  <c:v>5.29</c:v>
                </c:pt>
                <c:pt idx="355">
                  <c:v>5.05</c:v>
                </c:pt>
                <c:pt idx="356">
                  <c:v>5.08</c:v>
                </c:pt>
                <c:pt idx="357">
                  <c:v>4.9400000000000004</c:v>
                </c:pt>
                <c:pt idx="358">
                  <c:v>4.8600000000000003</c:v>
                </c:pt>
                <c:pt idx="359">
                  <c:v>4.88</c:v>
                </c:pt>
                <c:pt idx="360">
                  <c:v>4.93</c:v>
                </c:pt>
                <c:pt idx="361">
                  <c:v>5.18</c:v>
                </c:pt>
                <c:pt idx="362">
                  <c:v>5.37</c:v>
                </c:pt>
                <c:pt idx="363">
                  <c:v>5.67</c:v>
                </c:pt>
                <c:pt idx="364">
                  <c:v>5.41</c:v>
                </c:pt>
                <c:pt idx="365">
                  <c:v>5.4</c:v>
                </c:pt>
                <c:pt idx="366">
                  <c:v>5.18</c:v>
                </c:pt>
                <c:pt idx="367">
                  <c:v>5.1100000000000003</c:v>
                </c:pt>
                <c:pt idx="368">
                  <c:v>4.8600000000000003</c:v>
                </c:pt>
                <c:pt idx="369">
                  <c:v>4.67</c:v>
                </c:pt>
                <c:pt idx="370">
                  <c:v>4.67</c:v>
                </c:pt>
                <c:pt idx="371">
                  <c:v>4.6399999999999997</c:v>
                </c:pt>
                <c:pt idx="372">
                  <c:v>4.4800000000000004</c:v>
                </c:pt>
                <c:pt idx="373">
                  <c:v>4.57</c:v>
                </c:pt>
                <c:pt idx="374">
                  <c:v>4.55</c:v>
                </c:pt>
                <c:pt idx="375">
                  <c:v>4.5599999999999996</c:v>
                </c:pt>
                <c:pt idx="376">
                  <c:v>4.5599999999999996</c:v>
                </c:pt>
                <c:pt idx="377">
                  <c:v>4.54</c:v>
                </c:pt>
                <c:pt idx="378">
                  <c:v>4.5199999999999996</c:v>
                </c:pt>
                <c:pt idx="379">
                  <c:v>4.55</c:v>
                </c:pt>
                <c:pt idx="380">
                  <c:v>4.5999999999999996</c:v>
                </c:pt>
                <c:pt idx="381">
                  <c:v>4.5999999999999996</c:v>
                </c:pt>
                <c:pt idx="382">
                  <c:v>4.66</c:v>
                </c:pt>
                <c:pt idx="383">
                  <c:v>4.6900000000000004</c:v>
                </c:pt>
                <c:pt idx="384">
                  <c:v>4.66</c:v>
                </c:pt>
                <c:pt idx="385">
                  <c:v>4.5599999999999996</c:v>
                </c:pt>
                <c:pt idx="386">
                  <c:v>4.6100000000000003</c:v>
                </c:pt>
                <c:pt idx="387">
                  <c:v>4.6100000000000003</c:v>
                </c:pt>
                <c:pt idx="388">
                  <c:v>4.78</c:v>
                </c:pt>
                <c:pt idx="389">
                  <c:v>4.91</c:v>
                </c:pt>
                <c:pt idx="390">
                  <c:v>4.92</c:v>
                </c:pt>
                <c:pt idx="391">
                  <c:v>4.76</c:v>
                </c:pt>
                <c:pt idx="392">
                  <c:v>4.83</c:v>
                </c:pt>
                <c:pt idx="393">
                  <c:v>4.76</c:v>
                </c:pt>
                <c:pt idx="394">
                  <c:v>4.71</c:v>
                </c:pt>
                <c:pt idx="395">
                  <c:v>4.71</c:v>
                </c:pt>
                <c:pt idx="396">
                  <c:v>4.75</c:v>
                </c:pt>
                <c:pt idx="397">
                  <c:v>4.72</c:v>
                </c:pt>
                <c:pt idx="398">
                  <c:v>4.72</c:v>
                </c:pt>
                <c:pt idx="399">
                  <c:v>4.79</c:v>
                </c:pt>
                <c:pt idx="400">
                  <c:v>4.84</c:v>
                </c:pt>
                <c:pt idx="401">
                  <c:v>4.84</c:v>
                </c:pt>
                <c:pt idx="402">
                  <c:v>5.07</c:v>
                </c:pt>
                <c:pt idx="403">
                  <c:v>5.07</c:v>
                </c:pt>
                <c:pt idx="404">
                  <c:v>5.07</c:v>
                </c:pt>
                <c:pt idx="405">
                  <c:v>5.0599999999999996</c:v>
                </c:pt>
                <c:pt idx="406">
                  <c:v>5.14</c:v>
                </c:pt>
                <c:pt idx="407">
                  <c:v>5.15</c:v>
                </c:pt>
                <c:pt idx="408">
                  <c:v>5.13</c:v>
                </c:pt>
                <c:pt idx="409">
                  <c:v>5.15</c:v>
                </c:pt>
                <c:pt idx="410">
                  <c:v>5.25</c:v>
                </c:pt>
                <c:pt idx="411">
                  <c:v>5.23</c:v>
                </c:pt>
                <c:pt idx="412">
                  <c:v>5.19</c:v>
                </c:pt>
                <c:pt idx="413">
                  <c:v>5.17</c:v>
                </c:pt>
                <c:pt idx="414">
                  <c:v>5.18</c:v>
                </c:pt>
                <c:pt idx="415">
                  <c:v>5.19</c:v>
                </c:pt>
                <c:pt idx="416">
                  <c:v>5.26</c:v>
                </c:pt>
                <c:pt idx="417">
                  <c:v>5.26</c:v>
                </c:pt>
                <c:pt idx="418">
                  <c:v>5.22</c:v>
                </c:pt>
                <c:pt idx="419">
                  <c:v>5.14</c:v>
                </c:pt>
                <c:pt idx="420">
                  <c:v>5.04</c:v>
                </c:pt>
                <c:pt idx="421">
                  <c:v>5.03</c:v>
                </c:pt>
                <c:pt idx="422">
                  <c:v>4.92</c:v>
                </c:pt>
                <c:pt idx="423">
                  <c:v>4.76</c:v>
                </c:pt>
                <c:pt idx="424">
                  <c:v>4.78</c:v>
                </c:pt>
                <c:pt idx="425">
                  <c:v>4.75</c:v>
                </c:pt>
                <c:pt idx="426">
                  <c:v>4.51</c:v>
                </c:pt>
                <c:pt idx="427">
                  <c:v>4.63</c:v>
                </c:pt>
                <c:pt idx="428">
                  <c:v>4.58</c:v>
                </c:pt>
                <c:pt idx="429">
                  <c:v>4.54</c:v>
                </c:pt>
                <c:pt idx="430">
                  <c:v>4.51</c:v>
                </c:pt>
                <c:pt idx="431">
                  <c:v>4.53</c:v>
                </c:pt>
                <c:pt idx="432">
                  <c:v>4.5599999999999996</c:v>
                </c:pt>
                <c:pt idx="433">
                  <c:v>4.55</c:v>
                </c:pt>
                <c:pt idx="434">
                  <c:v>4.49</c:v>
                </c:pt>
                <c:pt idx="435">
                  <c:v>4.4800000000000004</c:v>
                </c:pt>
                <c:pt idx="436">
                  <c:v>4.46</c:v>
                </c:pt>
                <c:pt idx="437">
                  <c:v>4.5199999999999996</c:v>
                </c:pt>
                <c:pt idx="438">
                  <c:v>4.5199999999999996</c:v>
                </c:pt>
                <c:pt idx="439">
                  <c:v>4.46</c:v>
                </c:pt>
                <c:pt idx="440">
                  <c:v>4.4800000000000004</c:v>
                </c:pt>
                <c:pt idx="441">
                  <c:v>4.47</c:v>
                </c:pt>
                <c:pt idx="442">
                  <c:v>4.42</c:v>
                </c:pt>
                <c:pt idx="443">
                  <c:v>4.42</c:v>
                </c:pt>
                <c:pt idx="444">
                  <c:v>4.4000000000000004</c:v>
                </c:pt>
                <c:pt idx="445">
                  <c:v>4.4000000000000004</c:v>
                </c:pt>
                <c:pt idx="446">
                  <c:v>4.33</c:v>
                </c:pt>
                <c:pt idx="447">
                  <c:v>4.29</c:v>
                </c:pt>
                <c:pt idx="448">
                  <c:v>4.2699999999999996</c:v>
                </c:pt>
                <c:pt idx="449">
                  <c:v>4.2699999999999996</c:v>
                </c:pt>
                <c:pt idx="450">
                  <c:v>4.2699999999999996</c:v>
                </c:pt>
                <c:pt idx="451">
                  <c:v>4.21</c:v>
                </c:pt>
                <c:pt idx="452">
                  <c:v>4.21</c:v>
                </c:pt>
                <c:pt idx="453">
                  <c:v>4.22</c:v>
                </c:pt>
                <c:pt idx="454">
                  <c:v>4.17</c:v>
                </c:pt>
                <c:pt idx="455">
                  <c:v>4.16</c:v>
                </c:pt>
                <c:pt idx="456">
                  <c:v>4.21</c:v>
                </c:pt>
                <c:pt idx="457">
                  <c:v>4.21</c:v>
                </c:pt>
                <c:pt idx="458">
                  <c:v>4.26</c:v>
                </c:pt>
                <c:pt idx="459">
                  <c:v>4.2</c:v>
                </c:pt>
                <c:pt idx="460">
                  <c:v>4.26</c:v>
                </c:pt>
                <c:pt idx="461">
                  <c:v>4.22</c:v>
                </c:pt>
                <c:pt idx="462">
                  <c:v>4.2</c:v>
                </c:pt>
                <c:pt idx="463">
                  <c:v>4.28</c:v>
                </c:pt>
                <c:pt idx="464">
                  <c:v>4.37</c:v>
                </c:pt>
                <c:pt idx="465">
                  <c:v>4.3</c:v>
                </c:pt>
                <c:pt idx="466">
                  <c:v>4.1900000000000004</c:v>
                </c:pt>
                <c:pt idx="467">
                  <c:v>4.1900000000000004</c:v>
                </c:pt>
                <c:pt idx="468">
                  <c:v>4.1100000000000003</c:v>
                </c:pt>
                <c:pt idx="469" formatCode="General">
                  <c:v>4.08</c:v>
                </c:pt>
                <c:pt idx="470" formatCode="General">
                  <c:v>4.1100000000000003</c:v>
                </c:pt>
                <c:pt idx="471" formatCode="General">
                  <c:v>4.16</c:v>
                </c:pt>
                <c:pt idx="472" formatCode="General">
                  <c:v>4.1399999999999997</c:v>
                </c:pt>
                <c:pt idx="473" formatCode="General">
                  <c:v>4.16</c:v>
                </c:pt>
                <c:pt idx="474" formatCode="0.00">
                  <c:v>4.0999999999999996</c:v>
                </c:pt>
                <c:pt idx="475" formatCode="General">
                  <c:v>4.09</c:v>
                </c:pt>
                <c:pt idx="476" formatCode="General">
                  <c:v>4.1100000000000003</c:v>
                </c:pt>
                <c:pt idx="477" formatCode="General">
                  <c:v>4.2300000000000004</c:v>
                </c:pt>
                <c:pt idx="478" formatCode="General">
                  <c:v>4.2300000000000004</c:v>
                </c:pt>
                <c:pt idx="479" formatCode="General">
                  <c:v>4.2300000000000004</c:v>
                </c:pt>
                <c:pt idx="480" formatCode="General">
                  <c:v>4.21</c:v>
                </c:pt>
                <c:pt idx="481" formatCode="General">
                  <c:v>4.16</c:v>
                </c:pt>
                <c:pt idx="482">
                  <c:v>4.1500000000000004</c:v>
                </c:pt>
                <c:pt idx="483">
                  <c:v>4.12</c:v>
                </c:pt>
                <c:pt idx="484">
                  <c:v>4.12</c:v>
                </c:pt>
                <c:pt idx="485">
                  <c:v>4.12</c:v>
                </c:pt>
                <c:pt idx="486">
                  <c:v>4.1100000000000003</c:v>
                </c:pt>
                <c:pt idx="487">
                  <c:v>4.12</c:v>
                </c:pt>
                <c:pt idx="488" formatCode="General">
                  <c:v>4.08</c:v>
                </c:pt>
                <c:pt idx="489" formatCode="General">
                  <c:v>4.05</c:v>
                </c:pt>
                <c:pt idx="490" formatCode="General">
                  <c:v>4.01</c:v>
                </c:pt>
                <c:pt idx="491" formatCode="General">
                  <c:v>4.0199999999999996</c:v>
                </c:pt>
                <c:pt idx="492" formatCode="General">
                  <c:v>4.04</c:v>
                </c:pt>
                <c:pt idx="493" formatCode="General">
                  <c:v>3.99</c:v>
                </c:pt>
                <c:pt idx="494" formatCode="General">
                  <c:v>4.01</c:v>
                </c:pt>
                <c:pt idx="495" formatCode="General">
                  <c:v>4.01</c:v>
                </c:pt>
                <c:pt idx="496" formatCode="General">
                  <c:v>4.0199999999999996</c:v>
                </c:pt>
                <c:pt idx="497" formatCode="General">
                  <c:v>4.01</c:v>
                </c:pt>
                <c:pt idx="498" formatCode="General">
                  <c:v>3.98</c:v>
                </c:pt>
                <c:pt idx="499" formatCode="General">
                  <c:v>3.94</c:v>
                </c:pt>
                <c:pt idx="500" formatCode="General">
                  <c:v>3.91</c:v>
                </c:pt>
                <c:pt idx="501" formatCode="General">
                  <c:v>3.84</c:v>
                </c:pt>
                <c:pt idx="502" formatCode="General">
                  <c:v>3.82</c:v>
                </c:pt>
                <c:pt idx="503" formatCode="General">
                  <c:v>3.76</c:v>
                </c:pt>
                <c:pt idx="504" formatCode="General">
                  <c:v>3.73</c:v>
                </c:pt>
                <c:pt idx="505" formatCode="General">
                  <c:v>3.7</c:v>
                </c:pt>
                <c:pt idx="506" formatCode="General">
                  <c:v>3.65</c:v>
                </c:pt>
                <c:pt idx="507" formatCode="General">
                  <c:v>3.55</c:v>
                </c:pt>
                <c:pt idx="508" formatCode="General">
                  <c:v>3.55</c:v>
                </c:pt>
                <c:pt idx="509" formatCode="General">
                  <c:v>3.57</c:v>
                </c:pt>
                <c:pt idx="510" formatCode="General">
                  <c:v>3.55</c:v>
                </c:pt>
                <c:pt idx="511" formatCode="General">
                  <c:v>3.53</c:v>
                </c:pt>
                <c:pt idx="512" formatCode="General">
                  <c:v>3.67</c:v>
                </c:pt>
                <c:pt idx="513" formatCode="General">
                  <c:v>3.67</c:v>
                </c:pt>
                <c:pt idx="514" formatCode="General">
                  <c:v>3.74</c:v>
                </c:pt>
                <c:pt idx="515" formatCode="General">
                  <c:v>4.47</c:v>
                </c:pt>
                <c:pt idx="516" formatCode="General">
                  <c:v>4.88</c:v>
                </c:pt>
                <c:pt idx="517" formatCode="General">
                  <c:v>4.9800000000000004</c:v>
                </c:pt>
                <c:pt idx="518" formatCode="General">
                  <c:v>5</c:v>
                </c:pt>
                <c:pt idx="519" formatCode="General">
                  <c:v>4.96</c:v>
                </c:pt>
                <c:pt idx="520" formatCode="General">
                  <c:v>4.7699999999999996</c:v>
                </c:pt>
                <c:pt idx="521" formatCode="General">
                  <c:v>4.7699999999999996</c:v>
                </c:pt>
                <c:pt idx="522" formatCode="General">
                  <c:v>4.78</c:v>
                </c:pt>
                <c:pt idx="523" formatCode="General">
                  <c:v>4.8</c:v>
                </c:pt>
                <c:pt idx="524" formatCode="General">
                  <c:v>4.7699999999999996</c:v>
                </c:pt>
                <c:pt idx="525" formatCode="General">
                  <c:v>4.7300000000000004</c:v>
                </c:pt>
                <c:pt idx="526" formatCode="General">
                  <c:v>4.74</c:v>
                </c:pt>
                <c:pt idx="527" formatCode="General">
                  <c:v>4.71</c:v>
                </c:pt>
                <c:pt idx="528" formatCode="General">
                  <c:v>4.7300000000000004</c:v>
                </c:pt>
                <c:pt idx="529" formatCode="General">
                  <c:v>4.83</c:v>
                </c:pt>
                <c:pt idx="530" formatCode="General">
                  <c:v>5.01</c:v>
                </c:pt>
                <c:pt idx="531" formatCode="General">
                  <c:v>5.08</c:v>
                </c:pt>
                <c:pt idx="532" formatCode="General">
                  <c:v>4.99</c:v>
                </c:pt>
                <c:pt idx="533" formatCode="General">
                  <c:v>4.96</c:v>
                </c:pt>
                <c:pt idx="534" formatCode="General">
                  <c:v>4.91</c:v>
                </c:pt>
                <c:pt idx="535" formatCode="General">
                  <c:v>4.9000000000000004</c:v>
                </c:pt>
                <c:pt idx="536" formatCode="General">
                  <c:v>4.9400000000000004</c:v>
                </c:pt>
                <c:pt idx="537" formatCode="General">
                  <c:v>4.93</c:v>
                </c:pt>
                <c:pt idx="538" formatCode="General">
                  <c:v>4.99</c:v>
                </c:pt>
                <c:pt idx="539" formatCode="General">
                  <c:v>4.8</c:v>
                </c:pt>
                <c:pt idx="540" formatCode="General">
                  <c:v>4.7699999999999996</c:v>
                </c:pt>
                <c:pt idx="541" formatCode="General">
                  <c:v>4.7</c:v>
                </c:pt>
                <c:pt idx="542" formatCode="General">
                  <c:v>4.72</c:v>
                </c:pt>
                <c:pt idx="543" formatCode="General">
                  <c:v>4.79</c:v>
                </c:pt>
                <c:pt idx="544" formatCode="General">
                  <c:v>4.78</c:v>
                </c:pt>
                <c:pt idx="545" formatCode="General">
                  <c:v>4.82</c:v>
                </c:pt>
                <c:pt idx="546" formatCode="General">
                  <c:v>4.75</c:v>
                </c:pt>
                <c:pt idx="547" formatCode="General">
                  <c:v>4.75</c:v>
                </c:pt>
                <c:pt idx="548" formatCode="General">
                  <c:v>4.72</c:v>
                </c:pt>
                <c:pt idx="549" formatCode="General">
                  <c:v>4.6900000000000004</c:v>
                </c:pt>
                <c:pt idx="550" formatCode="General">
                  <c:v>4.6399999999999997</c:v>
                </c:pt>
                <c:pt idx="551" formatCode="General">
                  <c:v>4.63</c:v>
                </c:pt>
                <c:pt idx="552" formatCode="General">
                  <c:v>4.66</c:v>
                </c:pt>
                <c:pt idx="553" formatCode="General">
                  <c:v>4.6900000000000004</c:v>
                </c:pt>
                <c:pt idx="554" formatCode="General">
                  <c:v>4.68</c:v>
                </c:pt>
                <c:pt idx="555" formatCode="General">
                  <c:v>4.66</c:v>
                </c:pt>
                <c:pt idx="556" formatCode="General">
                  <c:v>4.68</c:v>
                </c:pt>
                <c:pt idx="557" formatCode="General">
                  <c:v>4.55</c:v>
                </c:pt>
                <c:pt idx="558" formatCode="General">
                  <c:v>4.53</c:v>
                </c:pt>
                <c:pt idx="559" formatCode="General">
                  <c:v>4.5199999999999996</c:v>
                </c:pt>
                <c:pt idx="560" formatCode="General">
                  <c:v>4.51</c:v>
                </c:pt>
                <c:pt idx="561" formatCode="General">
                  <c:v>4.51</c:v>
                </c:pt>
                <c:pt idx="562">
                  <c:v>4.47</c:v>
                </c:pt>
                <c:pt idx="563" formatCode="General">
                  <c:v>4.47</c:v>
                </c:pt>
                <c:pt idx="564" formatCode="General">
                  <c:v>4.45</c:v>
                </c:pt>
                <c:pt idx="565" formatCode="General">
                  <c:v>4.46</c:v>
                </c:pt>
                <c:pt idx="566" formatCode="General">
                  <c:v>4.41</c:v>
                </c:pt>
                <c:pt idx="567" formatCode="General">
                  <c:v>4.42</c:v>
                </c:pt>
                <c:pt idx="568" formatCode="General">
                  <c:v>4.46</c:v>
                </c:pt>
                <c:pt idx="569" formatCode="General">
                  <c:v>4.4800000000000004</c:v>
                </c:pt>
                <c:pt idx="570" formatCode="General">
                  <c:v>4.49</c:v>
                </c:pt>
                <c:pt idx="571" formatCode="General">
                  <c:v>4.43</c:v>
                </c:pt>
                <c:pt idx="572" formatCode="General">
                  <c:v>4.43</c:v>
                </c:pt>
                <c:pt idx="573" formatCode="General">
                  <c:v>4.43</c:v>
                </c:pt>
                <c:pt idx="574" formatCode="General">
                  <c:v>4.43</c:v>
                </c:pt>
                <c:pt idx="575" formatCode="General">
                  <c:v>4.46</c:v>
                </c:pt>
                <c:pt idx="576" formatCode="General">
                  <c:v>4.3</c:v>
                </c:pt>
                <c:pt idx="577" formatCode="General">
                  <c:v>4.29</c:v>
                </c:pt>
                <c:pt idx="578" formatCode="General">
                  <c:v>4.33</c:v>
                </c:pt>
                <c:pt idx="579" formatCode="General">
                  <c:v>4.2300000000000004</c:v>
                </c:pt>
                <c:pt idx="580" formatCode="General">
                  <c:v>4.08</c:v>
                </c:pt>
                <c:pt idx="581" formatCode="General">
                  <c:v>4.08</c:v>
                </c:pt>
                <c:pt idx="582" formatCode="General">
                  <c:v>4.08</c:v>
                </c:pt>
                <c:pt idx="583" formatCode="General">
                  <c:v>4.08</c:v>
                </c:pt>
                <c:pt idx="584" formatCode="General">
                  <c:v>4.05</c:v>
                </c:pt>
                <c:pt idx="585" formatCode="General">
                  <c:v>4</c:v>
                </c:pt>
                <c:pt idx="586" formatCode="General">
                  <c:v>3.91</c:v>
                </c:pt>
                <c:pt idx="587" formatCode="General">
                  <c:v>3.89</c:v>
                </c:pt>
                <c:pt idx="588" formatCode="General">
                  <c:v>3.9</c:v>
                </c:pt>
                <c:pt idx="589" formatCode="General">
                  <c:v>3.86</c:v>
                </c:pt>
                <c:pt idx="590" formatCode="General">
                  <c:v>3.71</c:v>
                </c:pt>
                <c:pt idx="591" formatCode="General">
                  <c:v>3.56</c:v>
                </c:pt>
                <c:pt idx="592" formatCode="General">
                  <c:v>3.64</c:v>
                </c:pt>
                <c:pt idx="593" formatCode="General">
                  <c:v>3.69</c:v>
                </c:pt>
                <c:pt idx="594" formatCode="General">
                  <c:v>3.69</c:v>
                </c:pt>
                <c:pt idx="595" formatCode="General">
                  <c:v>3.66</c:v>
                </c:pt>
                <c:pt idx="596" formatCode="General">
                  <c:v>3.59</c:v>
                </c:pt>
                <c:pt idx="597" formatCode="General">
                  <c:v>3.53</c:v>
                </c:pt>
                <c:pt idx="598" formatCode="General">
                  <c:v>3.41</c:v>
                </c:pt>
                <c:pt idx="599" formatCode="General">
                  <c:v>3.45</c:v>
                </c:pt>
                <c:pt idx="600" formatCode="General">
                  <c:v>3.47</c:v>
                </c:pt>
                <c:pt idx="601" formatCode="General">
                  <c:v>3.34</c:v>
                </c:pt>
                <c:pt idx="602" formatCode="General">
                  <c:v>3.36</c:v>
                </c:pt>
                <c:pt idx="603" formatCode="General">
                  <c:v>3.13</c:v>
                </c:pt>
                <c:pt idx="604" formatCode="General">
                  <c:v>3.22</c:v>
                </c:pt>
                <c:pt idx="605" formatCode="General">
                  <c:v>3.29</c:v>
                </c:pt>
                <c:pt idx="606" formatCode="General">
                  <c:v>3.24</c:v>
                </c:pt>
                <c:pt idx="607" formatCode="General">
                  <c:v>3.02</c:v>
                </c:pt>
                <c:pt idx="608" formatCode="General">
                  <c:v>3.02</c:v>
                </c:pt>
                <c:pt idx="609" formatCode="General">
                  <c:v>2.97</c:v>
                </c:pt>
                <c:pt idx="610" formatCode="General">
                  <c:v>3.01</c:v>
                </c:pt>
                <c:pt idx="611" formatCode="General">
                  <c:v>3.07</c:v>
                </c:pt>
                <c:pt idx="612" formatCode="General">
                  <c:v>3.08</c:v>
                </c:pt>
                <c:pt idx="613" formatCode="General">
                  <c:v>3.16</c:v>
                </c:pt>
                <c:pt idx="614" formatCode="General">
                  <c:v>3.14</c:v>
                </c:pt>
                <c:pt idx="615" formatCode="General">
                  <c:v>3.24</c:v>
                </c:pt>
                <c:pt idx="616" formatCode="General">
                  <c:v>3.18</c:v>
                </c:pt>
                <c:pt idx="617" formatCode="General">
                  <c:v>3.21</c:v>
                </c:pt>
                <c:pt idx="618" formatCode="General">
                  <c:v>3.22</c:v>
                </c:pt>
                <c:pt idx="619" formatCode="General">
                  <c:v>3.17</c:v>
                </c:pt>
                <c:pt idx="620" formatCode="General">
                  <c:v>3.18</c:v>
                </c:pt>
                <c:pt idx="621" formatCode="General">
                  <c:v>3.01</c:v>
                </c:pt>
                <c:pt idx="622" formatCode="General">
                  <c:v>2.95</c:v>
                </c:pt>
                <c:pt idx="623" formatCode="General">
                  <c:v>3.07</c:v>
                </c:pt>
                <c:pt idx="624" formatCode="General">
                  <c:v>3.1</c:v>
                </c:pt>
                <c:pt idx="625" formatCode="General">
                  <c:v>3.06</c:v>
                </c:pt>
                <c:pt idx="626" formatCode="General">
                  <c:v>3.09</c:v>
                </c:pt>
                <c:pt idx="627" formatCode="General">
                  <c:v>3.07</c:v>
                </c:pt>
                <c:pt idx="628" formatCode="General">
                  <c:v>3.1</c:v>
                </c:pt>
                <c:pt idx="629" formatCode="General">
                  <c:v>3.06</c:v>
                </c:pt>
                <c:pt idx="630" formatCode="General">
                  <c:v>3.05</c:v>
                </c:pt>
                <c:pt idx="631" formatCode="General">
                  <c:v>3.03</c:v>
                </c:pt>
                <c:pt idx="632" formatCode="General">
                  <c:v>3.07</c:v>
                </c:pt>
                <c:pt idx="633" formatCode="General">
                  <c:v>3.09</c:v>
                </c:pt>
                <c:pt idx="634" formatCode="General">
                  <c:v>3.13</c:v>
                </c:pt>
                <c:pt idx="635" formatCode="General">
                  <c:v>3.14</c:v>
                </c:pt>
                <c:pt idx="636" formatCode="General">
                  <c:v>3.14</c:v>
                </c:pt>
                <c:pt idx="637" formatCode="General">
                  <c:v>3.11</c:v>
                </c:pt>
                <c:pt idx="638" formatCode="General">
                  <c:v>3.06</c:v>
                </c:pt>
                <c:pt idx="639" formatCode="General">
                  <c:v>3.06</c:v>
                </c:pt>
                <c:pt idx="640" formatCode="General">
                  <c:v>3.04</c:v>
                </c:pt>
                <c:pt idx="641" formatCode="General">
                  <c:v>3.08</c:v>
                </c:pt>
                <c:pt idx="642" formatCode="General">
                  <c:v>3.07</c:v>
                </c:pt>
                <c:pt idx="643" formatCode="General">
                  <c:v>3.07</c:v>
                </c:pt>
                <c:pt idx="644" formatCode="General">
                  <c:v>3.14</c:v>
                </c:pt>
                <c:pt idx="645" formatCode="General">
                  <c:v>3.13</c:v>
                </c:pt>
                <c:pt idx="646" formatCode="General">
                  <c:v>3.34</c:v>
                </c:pt>
                <c:pt idx="647" formatCode="General">
                  <c:v>3.62</c:v>
                </c:pt>
                <c:pt idx="648" formatCode="General">
                  <c:v>3.51</c:v>
                </c:pt>
                <c:pt idx="649" formatCode="General">
                  <c:v>3.57</c:v>
                </c:pt>
                <c:pt idx="650" formatCode="General">
                  <c:v>3.8</c:v>
                </c:pt>
                <c:pt idx="651" formatCode="General">
                  <c:v>3.68</c:v>
                </c:pt>
                <c:pt idx="652" formatCode="General">
                  <c:v>3.63</c:v>
                </c:pt>
                <c:pt idx="653" formatCode="0.00">
                  <c:v>3.6</c:v>
                </c:pt>
                <c:pt idx="654" formatCode="General">
                  <c:v>3.59</c:v>
                </c:pt>
                <c:pt idx="655" formatCode="General">
                  <c:v>3.59</c:v>
                </c:pt>
                <c:pt idx="656" formatCode="General">
                  <c:v>3.41</c:v>
                </c:pt>
                <c:pt idx="657" formatCode="General">
                  <c:v>3.4</c:v>
                </c:pt>
                <c:pt idx="658" formatCode="General">
                  <c:v>3.31</c:v>
                </c:pt>
                <c:pt idx="659" formatCode="General">
                  <c:v>3.19</c:v>
                </c:pt>
                <c:pt idx="660" formatCode="General">
                  <c:v>3.19</c:v>
                </c:pt>
                <c:pt idx="661" formatCode="General">
                  <c:v>3.15</c:v>
                </c:pt>
                <c:pt idx="662" formatCode="General">
                  <c:v>3.18</c:v>
                </c:pt>
                <c:pt idx="663" formatCode="General">
                  <c:v>3.17</c:v>
                </c:pt>
                <c:pt idx="664" formatCode="General">
                  <c:v>3.15</c:v>
                </c:pt>
                <c:pt idx="665" formatCode="General">
                  <c:v>3.11</c:v>
                </c:pt>
                <c:pt idx="666" formatCode="General">
                  <c:v>3.21</c:v>
                </c:pt>
                <c:pt idx="667" formatCode="General">
                  <c:v>3.2</c:v>
                </c:pt>
                <c:pt idx="668" formatCode="General">
                  <c:v>3.22</c:v>
                </c:pt>
                <c:pt idx="669" formatCode="General">
                  <c:v>3.3</c:v>
                </c:pt>
                <c:pt idx="670" formatCode="General">
                  <c:v>3.23</c:v>
                </c:pt>
                <c:pt idx="671" formatCode="General">
                  <c:v>3.23</c:v>
                </c:pt>
                <c:pt idx="672" formatCode="General">
                  <c:v>3.27</c:v>
                </c:pt>
                <c:pt idx="673" formatCode="General">
                  <c:v>3.14</c:v>
                </c:pt>
                <c:pt idx="674" formatCode="General">
                  <c:v>3.24</c:v>
                </c:pt>
                <c:pt idx="675" formatCode="General">
                  <c:v>3.25</c:v>
                </c:pt>
                <c:pt idx="676" formatCode="General">
                  <c:v>3.2</c:v>
                </c:pt>
                <c:pt idx="677" formatCode="General">
                  <c:v>3.3</c:v>
                </c:pt>
                <c:pt idx="678" formatCode="General">
                  <c:v>3.3</c:v>
                </c:pt>
                <c:pt idx="679" formatCode="General">
                  <c:v>3.22</c:v>
                </c:pt>
                <c:pt idx="680" formatCode="General">
                  <c:v>3.16</c:v>
                </c:pt>
                <c:pt idx="681" formatCode="General">
                  <c:v>3.17</c:v>
                </c:pt>
                <c:pt idx="682" formatCode="General">
                  <c:v>3.13</c:v>
                </c:pt>
                <c:pt idx="683" formatCode="General">
                  <c:v>3.13</c:v>
                </c:pt>
                <c:pt idx="684" formatCode="General">
                  <c:v>3.09</c:v>
                </c:pt>
                <c:pt idx="685" formatCode="General">
                  <c:v>3.08</c:v>
                </c:pt>
                <c:pt idx="686" formatCode="General">
                  <c:v>3.03</c:v>
                </c:pt>
                <c:pt idx="687" formatCode="General">
                  <c:v>3.09</c:v>
                </c:pt>
                <c:pt idx="688" formatCode="General">
                  <c:v>3.17</c:v>
                </c:pt>
                <c:pt idx="689" formatCode="General">
                  <c:v>3.16</c:v>
                </c:pt>
                <c:pt idx="690" formatCode="General">
                  <c:v>3.16</c:v>
                </c:pt>
                <c:pt idx="691" formatCode="General">
                  <c:v>3.1</c:v>
                </c:pt>
                <c:pt idx="692" formatCode="General">
                  <c:v>3.08</c:v>
                </c:pt>
                <c:pt idx="693" formatCode="General">
                  <c:v>3.08</c:v>
                </c:pt>
                <c:pt idx="694" formatCode="General">
                  <c:v>3.04</c:v>
                </c:pt>
                <c:pt idx="695" formatCode="General">
                  <c:v>3.02</c:v>
                </c:pt>
                <c:pt idx="696" formatCode="General">
                  <c:v>2.9</c:v>
                </c:pt>
                <c:pt idx="697" formatCode="General">
                  <c:v>2.96</c:v>
                </c:pt>
                <c:pt idx="698" formatCode="General">
                  <c:v>2.88</c:v>
                </c:pt>
                <c:pt idx="699" formatCode="General">
                  <c:v>2.86</c:v>
                </c:pt>
                <c:pt idx="700" formatCode="General">
                  <c:v>2.79</c:v>
                </c:pt>
                <c:pt idx="701" formatCode="General">
                  <c:v>3.02</c:v>
                </c:pt>
                <c:pt idx="702" formatCode="General">
                  <c:v>2.92</c:v>
                </c:pt>
                <c:pt idx="703" formatCode="General">
                  <c:v>2.87</c:v>
                </c:pt>
                <c:pt idx="704" formatCode="General">
                  <c:v>2.88</c:v>
                </c:pt>
                <c:pt idx="705" formatCode="General">
                  <c:v>2.87</c:v>
                </c:pt>
                <c:pt idx="706" formatCode="General">
                  <c:v>2.91</c:v>
                </c:pt>
                <c:pt idx="707" formatCode="General">
                  <c:v>2.88</c:v>
                </c:pt>
                <c:pt idx="708" formatCode="General">
                  <c:v>2.87</c:v>
                </c:pt>
                <c:pt idx="709" formatCode="General">
                  <c:v>2.91</c:v>
                </c:pt>
                <c:pt idx="710" formatCode="General">
                  <c:v>2.82</c:v>
                </c:pt>
                <c:pt idx="711" formatCode="General">
                  <c:v>2.79</c:v>
                </c:pt>
                <c:pt idx="712" formatCode="General">
                  <c:v>2.82</c:v>
                </c:pt>
                <c:pt idx="713" formatCode="General">
                  <c:v>2.82</c:v>
                </c:pt>
                <c:pt idx="714" formatCode="General">
                  <c:v>2.86</c:v>
                </c:pt>
                <c:pt idx="715" formatCode="General">
                  <c:v>2.88</c:v>
                </c:pt>
                <c:pt idx="716" formatCode="General">
                  <c:v>2.82</c:v>
                </c:pt>
                <c:pt idx="717" formatCode="General">
                  <c:v>2.82</c:v>
                </c:pt>
                <c:pt idx="718" formatCode="General">
                  <c:v>2.77</c:v>
                </c:pt>
                <c:pt idx="719" formatCode="General">
                  <c:v>2.72</c:v>
                </c:pt>
                <c:pt idx="720" formatCode="General">
                  <c:v>2.71</c:v>
                </c:pt>
                <c:pt idx="721" formatCode="General">
                  <c:v>2.67</c:v>
                </c:pt>
                <c:pt idx="722" formatCode="General">
                  <c:v>2.62</c:v>
                </c:pt>
                <c:pt idx="723" formatCode="General">
                  <c:v>2.67</c:v>
                </c:pt>
                <c:pt idx="724" formatCode="General">
                  <c:v>2.67</c:v>
                </c:pt>
                <c:pt idx="725" formatCode="General">
                  <c:v>2.65</c:v>
                </c:pt>
                <c:pt idx="726" formatCode="General">
                  <c:v>2.63</c:v>
                </c:pt>
                <c:pt idx="727" formatCode="General">
                  <c:v>2.63</c:v>
                </c:pt>
                <c:pt idx="728" formatCode="General">
                  <c:v>2.58</c:v>
                </c:pt>
                <c:pt idx="729" formatCode="General">
                  <c:v>2.58</c:v>
                </c:pt>
                <c:pt idx="730" formatCode="General">
                  <c:v>2.54</c:v>
                </c:pt>
                <c:pt idx="731" formatCode="General">
                  <c:v>2.54</c:v>
                </c:pt>
                <c:pt idx="732" formatCode="General">
                  <c:v>2.57</c:v>
                </c:pt>
                <c:pt idx="733" formatCode="General">
                  <c:v>2.62</c:v>
                </c:pt>
                <c:pt idx="734" formatCode="General">
                  <c:v>2.62</c:v>
                </c:pt>
                <c:pt idx="735" formatCode="General">
                  <c:v>2.61</c:v>
                </c:pt>
                <c:pt idx="736" formatCode="General">
                  <c:v>2.61</c:v>
                </c:pt>
                <c:pt idx="737" formatCode="General">
                  <c:v>2.61</c:v>
                </c:pt>
                <c:pt idx="738" formatCode="General">
                  <c:v>2.62</c:v>
                </c:pt>
                <c:pt idx="739" formatCode="General">
                  <c:v>2.62</c:v>
                </c:pt>
                <c:pt idx="740" formatCode="General">
                  <c:v>2.57</c:v>
                </c:pt>
                <c:pt idx="741" formatCode="General">
                  <c:v>2.5499999999999998</c:v>
                </c:pt>
                <c:pt idx="742" formatCode="General">
                  <c:v>2.75</c:v>
                </c:pt>
                <c:pt idx="743" formatCode="General">
                  <c:v>2.95</c:v>
                </c:pt>
                <c:pt idx="744" formatCode="General">
                  <c:v>2.84</c:v>
                </c:pt>
                <c:pt idx="745" formatCode="General">
                  <c:v>2.84</c:v>
                </c:pt>
                <c:pt idx="746" formatCode="General">
                  <c:v>2.78</c:v>
                </c:pt>
                <c:pt idx="747" formatCode="General">
                  <c:v>2.75</c:v>
                </c:pt>
                <c:pt idx="748" formatCode="General">
                  <c:v>2.74</c:v>
                </c:pt>
                <c:pt idx="749" formatCode="General">
                  <c:v>2.72</c:v>
                </c:pt>
                <c:pt idx="750" formatCode="General">
                  <c:v>2.72</c:v>
                </c:pt>
                <c:pt idx="751" formatCode="General">
                  <c:v>2.63</c:v>
                </c:pt>
                <c:pt idx="752" formatCode="General">
                  <c:v>2.57</c:v>
                </c:pt>
                <c:pt idx="753" formatCode="General">
                  <c:v>2.5</c:v>
                </c:pt>
                <c:pt idx="754" formatCode="General">
                  <c:v>2.4900000000000002</c:v>
                </c:pt>
                <c:pt idx="755" formatCode="General">
                  <c:v>2.46</c:v>
                </c:pt>
                <c:pt idx="756" formatCode="General">
                  <c:v>2.41</c:v>
                </c:pt>
                <c:pt idx="757" formatCode="General">
                  <c:v>2.39</c:v>
                </c:pt>
                <c:pt idx="758" formatCode="General">
                  <c:v>2.3199999999999998</c:v>
                </c:pt>
                <c:pt idx="759" formatCode="General">
                  <c:v>2.2200000000000002</c:v>
                </c:pt>
                <c:pt idx="760" formatCode="General">
                  <c:v>2.2400000000000002</c:v>
                </c:pt>
                <c:pt idx="761" formatCode="General">
                  <c:v>2.2400000000000002</c:v>
                </c:pt>
                <c:pt idx="762" formatCode="General">
                  <c:v>2.2000000000000002</c:v>
                </c:pt>
                <c:pt idx="763" formatCode="General">
                  <c:v>2.25</c:v>
                </c:pt>
                <c:pt idx="764" formatCode="General">
                  <c:v>2.06</c:v>
                </c:pt>
                <c:pt idx="765" formatCode="General">
                  <c:v>2.0299999999999998</c:v>
                </c:pt>
                <c:pt idx="766" formatCode="General">
                  <c:v>2.04</c:v>
                </c:pt>
                <c:pt idx="767" formatCode="General">
                  <c:v>2.06</c:v>
                </c:pt>
                <c:pt idx="768" formatCode="General">
                  <c:v>2.0699999999999998</c:v>
                </c:pt>
                <c:pt idx="769" formatCode="General">
                  <c:v>2.09</c:v>
                </c:pt>
                <c:pt idx="770" formatCode="General">
                  <c:v>2.1</c:v>
                </c:pt>
                <c:pt idx="771" formatCode="General">
                  <c:v>2.08</c:v>
                </c:pt>
                <c:pt idx="772" formatCode="General">
                  <c:v>2.1</c:v>
                </c:pt>
                <c:pt idx="773" formatCode="General">
                  <c:v>2.14</c:v>
                </c:pt>
                <c:pt idx="774" formatCode="General">
                  <c:v>2.16</c:v>
                </c:pt>
                <c:pt idx="775" formatCode="General">
                  <c:v>2.1800000000000002</c:v>
                </c:pt>
                <c:pt idx="776" formatCode="General">
                  <c:v>2.1800000000000002</c:v>
                </c:pt>
                <c:pt idx="777" formatCode="General">
                  <c:v>2.21</c:v>
                </c:pt>
                <c:pt idx="778" formatCode="General">
                  <c:v>2.16</c:v>
                </c:pt>
                <c:pt idx="779" formatCode="General">
                  <c:v>2.14</c:v>
                </c:pt>
                <c:pt idx="780" formatCode="General">
                  <c:v>2.16</c:v>
                </c:pt>
                <c:pt idx="781" formatCode="General">
                  <c:v>2.2200000000000002</c:v>
                </c:pt>
                <c:pt idx="782" formatCode="General">
                  <c:v>2.37</c:v>
                </c:pt>
                <c:pt idx="783" formatCode="General">
                  <c:v>2.2400000000000002</c:v>
                </c:pt>
                <c:pt idx="784" formatCode="General">
                  <c:v>2.21</c:v>
                </c:pt>
                <c:pt idx="785" formatCode="General">
                  <c:v>2.1800000000000002</c:v>
                </c:pt>
                <c:pt idx="786" formatCode="General">
                  <c:v>2.12</c:v>
                </c:pt>
                <c:pt idx="787" formatCode="General">
                  <c:v>2.06</c:v>
                </c:pt>
                <c:pt idx="788" formatCode="General">
                  <c:v>1.98</c:v>
                </c:pt>
                <c:pt idx="789" formatCode="General">
                  <c:v>2.0099999999999998</c:v>
                </c:pt>
                <c:pt idx="790" formatCode="General">
                  <c:v>1.99</c:v>
                </c:pt>
                <c:pt idx="791" formatCode="General">
                  <c:v>2.0099999999999998</c:v>
                </c:pt>
                <c:pt idx="792" formatCode="General">
                  <c:v>2.0499999999999998</c:v>
                </c:pt>
                <c:pt idx="793" formatCode="General">
                  <c:v>2.1</c:v>
                </c:pt>
                <c:pt idx="794" formatCode="General">
                  <c:v>2.0699999999999998</c:v>
                </c:pt>
                <c:pt idx="795" formatCode="General">
                  <c:v>2.19</c:v>
                </c:pt>
                <c:pt idx="796" formatCode="General">
                  <c:v>2.3199999999999998</c:v>
                </c:pt>
                <c:pt idx="797" formatCode="General">
                  <c:v>2.3199999999999998</c:v>
                </c:pt>
                <c:pt idx="798" formatCode="General">
                  <c:v>2.27</c:v>
                </c:pt>
                <c:pt idx="799" formatCode="General">
                  <c:v>2.31</c:v>
                </c:pt>
                <c:pt idx="800" formatCode="General">
                  <c:v>2.31</c:v>
                </c:pt>
                <c:pt idx="801" formatCode="General">
                  <c:v>2.2799999999999998</c:v>
                </c:pt>
                <c:pt idx="802" formatCode="General">
                  <c:v>2.2799999999999998</c:v>
                </c:pt>
                <c:pt idx="803" formatCode="General">
                  <c:v>2.11</c:v>
                </c:pt>
                <c:pt idx="804" formatCode="General">
                  <c:v>2.09</c:v>
                </c:pt>
                <c:pt idx="805" formatCode="General">
                  <c:v>2.06</c:v>
                </c:pt>
                <c:pt idx="806" formatCode="General">
                  <c:v>2.0699999999999998</c:v>
                </c:pt>
                <c:pt idx="807" formatCode="General">
                  <c:v>2.0099999999999998</c:v>
                </c:pt>
                <c:pt idx="808" formatCode="General">
                  <c:v>2.11</c:v>
                </c:pt>
                <c:pt idx="809" formatCode="General">
                  <c:v>2.17</c:v>
                </c:pt>
                <c:pt idx="810" formatCode="General">
                  <c:v>2.13</c:v>
                </c:pt>
                <c:pt idx="811" formatCode="General">
                  <c:v>2.12</c:v>
                </c:pt>
                <c:pt idx="812" formatCode="General">
                  <c:v>2.15</c:v>
                </c:pt>
                <c:pt idx="813" formatCode="General">
                  <c:v>2.13</c:v>
                </c:pt>
                <c:pt idx="814" formatCode="General">
                  <c:v>2.14</c:v>
                </c:pt>
                <c:pt idx="815" formatCode="General">
                  <c:v>2.08</c:v>
                </c:pt>
                <c:pt idx="816" formatCode="General">
                  <c:v>2.0499999999999998</c:v>
                </c:pt>
                <c:pt idx="817" formatCode="General">
                  <c:v>2.11</c:v>
                </c:pt>
                <c:pt idx="818" formatCode="General">
                  <c:v>2.13</c:v>
                </c:pt>
                <c:pt idx="819" formatCode="General">
                  <c:v>2.12</c:v>
                </c:pt>
                <c:pt idx="820" formatCode="General">
                  <c:v>2.13</c:v>
                </c:pt>
                <c:pt idx="821" formatCode="General">
                  <c:v>2.13</c:v>
                </c:pt>
                <c:pt idx="822" formatCode="General">
                  <c:v>2.13</c:v>
                </c:pt>
                <c:pt idx="823" formatCode="General">
                  <c:v>2.14</c:v>
                </c:pt>
                <c:pt idx="824" formatCode="General">
                  <c:v>2.12</c:v>
                </c:pt>
                <c:pt idx="825" formatCode="General">
                  <c:v>2.14</c:v>
                </c:pt>
                <c:pt idx="826" formatCode="General">
                  <c:v>2.13</c:v>
                </c:pt>
                <c:pt idx="827" formatCode="General">
                  <c:v>2.1</c:v>
                </c:pt>
                <c:pt idx="828" formatCode="General">
                  <c:v>2.12</c:v>
                </c:pt>
                <c:pt idx="829" formatCode="General">
                  <c:v>2.12</c:v>
                </c:pt>
                <c:pt idx="830" formatCode="General">
                  <c:v>2.15</c:v>
                </c:pt>
                <c:pt idx="831" formatCode="General">
                  <c:v>2.2200000000000002</c:v>
                </c:pt>
                <c:pt idx="832" formatCode="General">
                  <c:v>2.2200000000000002</c:v>
                </c:pt>
                <c:pt idx="833" formatCode="General">
                  <c:v>2.2599999999999998</c:v>
                </c:pt>
                <c:pt idx="834" formatCode="General">
                  <c:v>2.35</c:v>
                </c:pt>
                <c:pt idx="835" formatCode="General">
                  <c:v>2.48</c:v>
                </c:pt>
                <c:pt idx="836" formatCode="General">
                  <c:v>2.37</c:v>
                </c:pt>
                <c:pt idx="837" formatCode="General">
                  <c:v>2.37</c:v>
                </c:pt>
                <c:pt idx="838" formatCode="General">
                  <c:v>2.52</c:v>
                </c:pt>
                <c:pt idx="839" formatCode="General">
                  <c:v>2.44</c:v>
                </c:pt>
                <c:pt idx="840" formatCode="General">
                  <c:v>2.4700000000000002</c:v>
                </c:pt>
                <c:pt idx="841" formatCode="General">
                  <c:v>2.4</c:v>
                </c:pt>
                <c:pt idx="842" formatCode="General">
                  <c:v>2.36</c:v>
                </c:pt>
                <c:pt idx="843" formatCode="General">
                  <c:v>2.36</c:v>
                </c:pt>
                <c:pt idx="844" formatCode="General">
                  <c:v>2.34</c:v>
                </c:pt>
                <c:pt idx="845" formatCode="General">
                  <c:v>2.34</c:v>
                </c:pt>
                <c:pt idx="846" formatCode="General">
                  <c:v>2.3199999999999998</c:v>
                </c:pt>
                <c:pt idx="847" formatCode="General">
                  <c:v>2.3199999999999998</c:v>
                </c:pt>
                <c:pt idx="848" formatCode="General">
                  <c:v>2.29</c:v>
                </c:pt>
                <c:pt idx="849" formatCode="General">
                  <c:v>2.2400000000000002</c:v>
                </c:pt>
                <c:pt idx="850" formatCode="General">
                  <c:v>2.23</c:v>
                </c:pt>
                <c:pt idx="851" formatCode="0.00">
                  <c:v>2.23</c:v>
                </c:pt>
                <c:pt idx="852" formatCode="0.00">
                  <c:v>2.15</c:v>
                </c:pt>
                <c:pt idx="853" formatCode="0.00">
                  <c:v>2.0499999999999998</c:v>
                </c:pt>
                <c:pt idx="854" formatCode="0.00">
                  <c:v>2.09</c:v>
                </c:pt>
                <c:pt idx="855" formatCode="0.00">
                  <c:v>2.02</c:v>
                </c:pt>
                <c:pt idx="856" formatCode="0.00">
                  <c:v>2.19</c:v>
                </c:pt>
                <c:pt idx="857" formatCode="0.00">
                  <c:v>2.21</c:v>
                </c:pt>
                <c:pt idx="858" formatCode="0.00">
                  <c:v>2.2400000000000002</c:v>
                </c:pt>
                <c:pt idx="859" formatCode="0.00">
                  <c:v>2.17</c:v>
                </c:pt>
                <c:pt idx="860" formatCode="0.00">
                  <c:v>2.15</c:v>
                </c:pt>
                <c:pt idx="861" formatCode="0.00">
                  <c:v>2.2000000000000002</c:v>
                </c:pt>
                <c:pt idx="862" formatCode="General">
                  <c:v>2.19</c:v>
                </c:pt>
                <c:pt idx="863" formatCode="General">
                  <c:v>2.1800000000000002</c:v>
                </c:pt>
                <c:pt idx="864" formatCode="General">
                  <c:v>2.13</c:v>
                </c:pt>
                <c:pt idx="865" formatCode="General">
                  <c:v>2.15</c:v>
                </c:pt>
                <c:pt idx="866" formatCode="0.00">
                  <c:v>2.1</c:v>
                </c:pt>
                <c:pt idx="867" formatCode="0.00">
                  <c:v>2.06</c:v>
                </c:pt>
                <c:pt idx="868" formatCode="0.00">
                  <c:v>2.06</c:v>
                </c:pt>
                <c:pt idx="869" formatCode="0.00">
                  <c:v>2.0499999999999998</c:v>
                </c:pt>
                <c:pt idx="870" formatCode="0.00">
                  <c:v>2.0299999999999998</c:v>
                </c:pt>
                <c:pt idx="871" formatCode="0.00">
                  <c:v>2.15</c:v>
                </c:pt>
                <c:pt idx="872" formatCode="0.00">
                  <c:v>2.11</c:v>
                </c:pt>
                <c:pt idx="873" formatCode="0.00">
                  <c:v>2.06</c:v>
                </c:pt>
                <c:pt idx="874" formatCode="0.00">
                  <c:v>2.0699999999999998</c:v>
                </c:pt>
                <c:pt idx="875" formatCode="0.00">
                  <c:v>2.0699999999999998</c:v>
                </c:pt>
                <c:pt idx="876" formatCode="0.00">
                  <c:v>2.09</c:v>
                </c:pt>
                <c:pt idx="877" formatCode="General">
                  <c:v>2.06</c:v>
                </c:pt>
                <c:pt idx="878" formatCode="General">
                  <c:v>2.08</c:v>
                </c:pt>
                <c:pt idx="879" formatCode="General">
                  <c:v>2.0299999999999998</c:v>
                </c:pt>
                <c:pt idx="880" formatCode="General">
                  <c:v>2.0099999999999998</c:v>
                </c:pt>
                <c:pt idx="881" formatCode="General">
                  <c:v>2.0099999999999998</c:v>
                </c:pt>
                <c:pt idx="882" formatCode="General">
                  <c:v>2.02</c:v>
                </c:pt>
                <c:pt idx="883" formatCode="General">
                  <c:v>2.0099999999999998</c:v>
                </c:pt>
                <c:pt idx="884" formatCode="General">
                  <c:v>2.0099999999999998</c:v>
                </c:pt>
                <c:pt idx="885" formatCode="General">
                  <c:v>2.0299999999999998</c:v>
                </c:pt>
                <c:pt idx="886" formatCode="General">
                  <c:v>2.0499999999999998</c:v>
                </c:pt>
                <c:pt idx="887" formatCode="General">
                  <c:v>2.11</c:v>
                </c:pt>
                <c:pt idx="888" formatCode="General">
                  <c:v>2.11</c:v>
                </c:pt>
                <c:pt idx="889" formatCode="General">
                  <c:v>2.08</c:v>
                </c:pt>
                <c:pt idx="890" formatCode="General">
                  <c:v>2.11</c:v>
                </c:pt>
                <c:pt idx="896" formatCode="0.00">
                  <c:v>2.1322727272727273</c:v>
                </c:pt>
                <c:pt idx="897" formatCode="0.00">
                  <c:v>2.056111111111111</c:v>
                </c:pt>
              </c:numCache>
            </c:numRef>
          </c:val>
          <c:smooth val="0"/>
        </c:ser>
        <c:ser>
          <c:idx val="1"/>
          <c:order val="5"/>
          <c:tx>
            <c:strRef>
              <c:f>yield_out!$F$1</c:f>
              <c:strCache>
                <c:ptCount val="1"/>
                <c:pt idx="0">
                  <c:v>5 éves</c:v>
                </c:pt>
              </c:strCache>
            </c:strRef>
          </c:tx>
          <c:spPr>
            <a:ln>
              <a:solidFill>
                <a:srgbClr val="C30C3E"/>
              </a:solidFill>
            </a:ln>
          </c:spPr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F$1012:$F$1980</c:f>
              <c:numCache>
                <c:formatCode>#\ ##0.00\ </c:formatCode>
                <c:ptCount val="969"/>
                <c:pt idx="0">
                  <c:v>9.9</c:v>
                </c:pt>
                <c:pt idx="1">
                  <c:v>10.31</c:v>
                </c:pt>
                <c:pt idx="2">
                  <c:v>10.52</c:v>
                </c:pt>
                <c:pt idx="3">
                  <c:v>10.66</c:v>
                </c:pt>
                <c:pt idx="4">
                  <c:v>9.98</c:v>
                </c:pt>
                <c:pt idx="5">
                  <c:v>9.7100000000000009</c:v>
                </c:pt>
                <c:pt idx="6">
                  <c:v>9.77</c:v>
                </c:pt>
                <c:pt idx="7">
                  <c:v>9.52</c:v>
                </c:pt>
                <c:pt idx="8">
                  <c:v>9.2899999999999991</c:v>
                </c:pt>
                <c:pt idx="9">
                  <c:v>9.51</c:v>
                </c:pt>
                <c:pt idx="10">
                  <c:v>9.61</c:v>
                </c:pt>
                <c:pt idx="11">
                  <c:v>9.77</c:v>
                </c:pt>
                <c:pt idx="12">
                  <c:v>9.49</c:v>
                </c:pt>
                <c:pt idx="13">
                  <c:v>9.2100000000000009</c:v>
                </c:pt>
                <c:pt idx="14">
                  <c:v>9.33</c:v>
                </c:pt>
                <c:pt idx="15">
                  <c:v>9.27</c:v>
                </c:pt>
                <c:pt idx="16">
                  <c:v>9.15</c:v>
                </c:pt>
                <c:pt idx="17">
                  <c:v>8.9</c:v>
                </c:pt>
                <c:pt idx="18">
                  <c:v>8.7100000000000009</c:v>
                </c:pt>
                <c:pt idx="19">
                  <c:v>8.7100000000000009</c:v>
                </c:pt>
                <c:pt idx="20">
                  <c:v>8.84</c:v>
                </c:pt>
                <c:pt idx="21">
                  <c:v>8.83</c:v>
                </c:pt>
                <c:pt idx="22">
                  <c:v>8.83</c:v>
                </c:pt>
                <c:pt idx="23">
                  <c:v>8.75</c:v>
                </c:pt>
                <c:pt idx="24">
                  <c:v>8.67</c:v>
                </c:pt>
                <c:pt idx="25">
                  <c:v>8.5399999999999991</c:v>
                </c:pt>
                <c:pt idx="26">
                  <c:v>8.5</c:v>
                </c:pt>
                <c:pt idx="27">
                  <c:v>8.27</c:v>
                </c:pt>
                <c:pt idx="28">
                  <c:v>8.43</c:v>
                </c:pt>
                <c:pt idx="29">
                  <c:v>8.64</c:v>
                </c:pt>
                <c:pt idx="30">
                  <c:v>8.48</c:v>
                </c:pt>
                <c:pt idx="31">
                  <c:v>8.57</c:v>
                </c:pt>
                <c:pt idx="32">
                  <c:v>8.2200000000000006</c:v>
                </c:pt>
                <c:pt idx="33">
                  <c:v>8.4600000000000009</c:v>
                </c:pt>
                <c:pt idx="34">
                  <c:v>8.3800000000000008</c:v>
                </c:pt>
                <c:pt idx="35">
                  <c:v>8.33</c:v>
                </c:pt>
                <c:pt idx="36">
                  <c:v>8.4</c:v>
                </c:pt>
                <c:pt idx="37">
                  <c:v>8.7100000000000009</c:v>
                </c:pt>
                <c:pt idx="38">
                  <c:v>8.73</c:v>
                </c:pt>
                <c:pt idx="39">
                  <c:v>8.58</c:v>
                </c:pt>
                <c:pt idx="40">
                  <c:v>8.77</c:v>
                </c:pt>
                <c:pt idx="41">
                  <c:v>8.64</c:v>
                </c:pt>
                <c:pt idx="42">
                  <c:v>8.42</c:v>
                </c:pt>
                <c:pt idx="43">
                  <c:v>8.35</c:v>
                </c:pt>
                <c:pt idx="44">
                  <c:v>8.35</c:v>
                </c:pt>
                <c:pt idx="45">
                  <c:v>8.5</c:v>
                </c:pt>
                <c:pt idx="46">
                  <c:v>8.5399999999999991</c:v>
                </c:pt>
                <c:pt idx="47">
                  <c:v>8.6199999999999992</c:v>
                </c:pt>
                <c:pt idx="48">
                  <c:v>8.56</c:v>
                </c:pt>
                <c:pt idx="49">
                  <c:v>8.59</c:v>
                </c:pt>
                <c:pt idx="50">
                  <c:v>8.59</c:v>
                </c:pt>
                <c:pt idx="51">
                  <c:v>8.5500000000000007</c:v>
                </c:pt>
                <c:pt idx="52">
                  <c:v>8.4700000000000006</c:v>
                </c:pt>
                <c:pt idx="53">
                  <c:v>8.4700000000000006</c:v>
                </c:pt>
                <c:pt idx="54">
                  <c:v>8.51</c:v>
                </c:pt>
                <c:pt idx="55">
                  <c:v>8.5500000000000007</c:v>
                </c:pt>
                <c:pt idx="56">
                  <c:v>8.6999999999999993</c:v>
                </c:pt>
                <c:pt idx="57">
                  <c:v>8.7899999999999991</c:v>
                </c:pt>
                <c:pt idx="58">
                  <c:v>8.84</c:v>
                </c:pt>
                <c:pt idx="59">
                  <c:v>8.7200000000000006</c:v>
                </c:pt>
                <c:pt idx="60">
                  <c:v>8.7899999999999991</c:v>
                </c:pt>
                <c:pt idx="61">
                  <c:v>8.85</c:v>
                </c:pt>
                <c:pt idx="62">
                  <c:v>8.93</c:v>
                </c:pt>
                <c:pt idx="63">
                  <c:v>8.81</c:v>
                </c:pt>
                <c:pt idx="64">
                  <c:v>8.76</c:v>
                </c:pt>
                <c:pt idx="65">
                  <c:v>8.84</c:v>
                </c:pt>
                <c:pt idx="66">
                  <c:v>8.9</c:v>
                </c:pt>
                <c:pt idx="67">
                  <c:v>8.94</c:v>
                </c:pt>
                <c:pt idx="68">
                  <c:v>8.91</c:v>
                </c:pt>
                <c:pt idx="69">
                  <c:v>8.85</c:v>
                </c:pt>
                <c:pt idx="70">
                  <c:v>8.8800000000000008</c:v>
                </c:pt>
                <c:pt idx="71">
                  <c:v>8.92</c:v>
                </c:pt>
                <c:pt idx="72">
                  <c:v>8.8800000000000008</c:v>
                </c:pt>
                <c:pt idx="73">
                  <c:v>8.82</c:v>
                </c:pt>
                <c:pt idx="74">
                  <c:v>8.8000000000000007</c:v>
                </c:pt>
                <c:pt idx="75">
                  <c:v>8.7799999999999994</c:v>
                </c:pt>
                <c:pt idx="76">
                  <c:v>8.8800000000000008</c:v>
                </c:pt>
                <c:pt idx="77">
                  <c:v>8.8699999999999992</c:v>
                </c:pt>
                <c:pt idx="78">
                  <c:v>7.94</c:v>
                </c:pt>
                <c:pt idx="79">
                  <c:v>7.98</c:v>
                </c:pt>
                <c:pt idx="80">
                  <c:v>7.95</c:v>
                </c:pt>
                <c:pt idx="81">
                  <c:v>7.88</c:v>
                </c:pt>
                <c:pt idx="82">
                  <c:v>7.83</c:v>
                </c:pt>
                <c:pt idx="83">
                  <c:v>7.84</c:v>
                </c:pt>
                <c:pt idx="84">
                  <c:v>7.94</c:v>
                </c:pt>
                <c:pt idx="85">
                  <c:v>7.94</c:v>
                </c:pt>
                <c:pt idx="86">
                  <c:v>8.1</c:v>
                </c:pt>
                <c:pt idx="87">
                  <c:v>8.06</c:v>
                </c:pt>
                <c:pt idx="88">
                  <c:v>8.11</c:v>
                </c:pt>
                <c:pt idx="89">
                  <c:v>8.15</c:v>
                </c:pt>
                <c:pt idx="90">
                  <c:v>8.14</c:v>
                </c:pt>
                <c:pt idx="91">
                  <c:v>8.35</c:v>
                </c:pt>
                <c:pt idx="92">
                  <c:v>8.42</c:v>
                </c:pt>
                <c:pt idx="93">
                  <c:v>8.4499999999999993</c:v>
                </c:pt>
                <c:pt idx="94">
                  <c:v>8.4</c:v>
                </c:pt>
                <c:pt idx="95">
                  <c:v>8.34</c:v>
                </c:pt>
                <c:pt idx="96">
                  <c:v>8.52</c:v>
                </c:pt>
                <c:pt idx="97">
                  <c:v>8.44</c:v>
                </c:pt>
                <c:pt idx="98">
                  <c:v>8.41</c:v>
                </c:pt>
                <c:pt idx="99">
                  <c:v>8.42</c:v>
                </c:pt>
                <c:pt idx="100">
                  <c:v>8.48</c:v>
                </c:pt>
                <c:pt idx="101">
                  <c:v>8.65</c:v>
                </c:pt>
                <c:pt idx="102">
                  <c:v>8.85</c:v>
                </c:pt>
                <c:pt idx="103">
                  <c:v>8.77</c:v>
                </c:pt>
                <c:pt idx="104">
                  <c:v>8.75</c:v>
                </c:pt>
                <c:pt idx="105">
                  <c:v>8.64</c:v>
                </c:pt>
                <c:pt idx="106">
                  <c:v>8.23</c:v>
                </c:pt>
                <c:pt idx="107">
                  <c:v>8.31</c:v>
                </c:pt>
                <c:pt idx="108">
                  <c:v>8.35</c:v>
                </c:pt>
                <c:pt idx="109">
                  <c:v>8.41</c:v>
                </c:pt>
                <c:pt idx="110">
                  <c:v>8.41</c:v>
                </c:pt>
                <c:pt idx="111">
                  <c:v>8.4600000000000009</c:v>
                </c:pt>
                <c:pt idx="112">
                  <c:v>8.4</c:v>
                </c:pt>
                <c:pt idx="113">
                  <c:v>8.16</c:v>
                </c:pt>
                <c:pt idx="114">
                  <c:v>8.01</c:v>
                </c:pt>
                <c:pt idx="115">
                  <c:v>7.92</c:v>
                </c:pt>
                <c:pt idx="116">
                  <c:v>7.8</c:v>
                </c:pt>
                <c:pt idx="117">
                  <c:v>7.9</c:v>
                </c:pt>
                <c:pt idx="118">
                  <c:v>7.91</c:v>
                </c:pt>
                <c:pt idx="119">
                  <c:v>7.87</c:v>
                </c:pt>
                <c:pt idx="120">
                  <c:v>7.89</c:v>
                </c:pt>
                <c:pt idx="121">
                  <c:v>7.77</c:v>
                </c:pt>
                <c:pt idx="122">
                  <c:v>7.8</c:v>
                </c:pt>
                <c:pt idx="123">
                  <c:v>7.7</c:v>
                </c:pt>
                <c:pt idx="124">
                  <c:v>7.73</c:v>
                </c:pt>
                <c:pt idx="125">
                  <c:v>7.65</c:v>
                </c:pt>
                <c:pt idx="126">
                  <c:v>7.67</c:v>
                </c:pt>
                <c:pt idx="127">
                  <c:v>7.79</c:v>
                </c:pt>
                <c:pt idx="128">
                  <c:v>7.83</c:v>
                </c:pt>
                <c:pt idx="129">
                  <c:v>7.8</c:v>
                </c:pt>
                <c:pt idx="130">
                  <c:v>7.82</c:v>
                </c:pt>
                <c:pt idx="131">
                  <c:v>7.75</c:v>
                </c:pt>
                <c:pt idx="132">
                  <c:v>7.58</c:v>
                </c:pt>
                <c:pt idx="133">
                  <c:v>7.2</c:v>
                </c:pt>
                <c:pt idx="134">
                  <c:v>7.18</c:v>
                </c:pt>
                <c:pt idx="135">
                  <c:v>7.27</c:v>
                </c:pt>
                <c:pt idx="136">
                  <c:v>7.07</c:v>
                </c:pt>
                <c:pt idx="137">
                  <c:v>7.1</c:v>
                </c:pt>
                <c:pt idx="138">
                  <c:v>7.23</c:v>
                </c:pt>
                <c:pt idx="139">
                  <c:v>7.25</c:v>
                </c:pt>
                <c:pt idx="140">
                  <c:v>7.53</c:v>
                </c:pt>
                <c:pt idx="141">
                  <c:v>7.52</c:v>
                </c:pt>
                <c:pt idx="142">
                  <c:v>7.39</c:v>
                </c:pt>
                <c:pt idx="143">
                  <c:v>7.32</c:v>
                </c:pt>
                <c:pt idx="144">
                  <c:v>7.29</c:v>
                </c:pt>
                <c:pt idx="145">
                  <c:v>7.31</c:v>
                </c:pt>
                <c:pt idx="146">
                  <c:v>7.3</c:v>
                </c:pt>
                <c:pt idx="147">
                  <c:v>7.28</c:v>
                </c:pt>
                <c:pt idx="148">
                  <c:v>7.13</c:v>
                </c:pt>
                <c:pt idx="149">
                  <c:v>7.15</c:v>
                </c:pt>
                <c:pt idx="150">
                  <c:v>7.22</c:v>
                </c:pt>
                <c:pt idx="151">
                  <c:v>7.08</c:v>
                </c:pt>
                <c:pt idx="152">
                  <c:v>7.11</c:v>
                </c:pt>
                <c:pt idx="153">
                  <c:v>7.1</c:v>
                </c:pt>
                <c:pt idx="154">
                  <c:v>7.12</c:v>
                </c:pt>
                <c:pt idx="155">
                  <c:v>7.13</c:v>
                </c:pt>
                <c:pt idx="156">
                  <c:v>7.11</c:v>
                </c:pt>
                <c:pt idx="157">
                  <c:v>7.1</c:v>
                </c:pt>
                <c:pt idx="158">
                  <c:v>7.06</c:v>
                </c:pt>
                <c:pt idx="159">
                  <c:v>7.08</c:v>
                </c:pt>
                <c:pt idx="160">
                  <c:v>7</c:v>
                </c:pt>
                <c:pt idx="161">
                  <c:v>7.05</c:v>
                </c:pt>
                <c:pt idx="162">
                  <c:v>7.06</c:v>
                </c:pt>
                <c:pt idx="163">
                  <c:v>7.07</c:v>
                </c:pt>
                <c:pt idx="164">
                  <c:v>7.03</c:v>
                </c:pt>
                <c:pt idx="165">
                  <c:v>7.04</c:v>
                </c:pt>
                <c:pt idx="166">
                  <c:v>6.94</c:v>
                </c:pt>
                <c:pt idx="167">
                  <c:v>6.95</c:v>
                </c:pt>
                <c:pt idx="168">
                  <c:v>6.95</c:v>
                </c:pt>
                <c:pt idx="169">
                  <c:v>7.01</c:v>
                </c:pt>
                <c:pt idx="170">
                  <c:v>6.99</c:v>
                </c:pt>
                <c:pt idx="171">
                  <c:v>7.07</c:v>
                </c:pt>
                <c:pt idx="172">
                  <c:v>6.97</c:v>
                </c:pt>
                <c:pt idx="173">
                  <c:v>6.95</c:v>
                </c:pt>
                <c:pt idx="174">
                  <c:v>6.88</c:v>
                </c:pt>
                <c:pt idx="175">
                  <c:v>6.86</c:v>
                </c:pt>
                <c:pt idx="176">
                  <c:v>6.73</c:v>
                </c:pt>
                <c:pt idx="177">
                  <c:v>6.76</c:v>
                </c:pt>
                <c:pt idx="178">
                  <c:v>6.79</c:v>
                </c:pt>
                <c:pt idx="179">
                  <c:v>6.79</c:v>
                </c:pt>
                <c:pt idx="180">
                  <c:v>6.81</c:v>
                </c:pt>
                <c:pt idx="181">
                  <c:v>6.79</c:v>
                </c:pt>
                <c:pt idx="182">
                  <c:v>6.79</c:v>
                </c:pt>
                <c:pt idx="183">
                  <c:v>6.67</c:v>
                </c:pt>
                <c:pt idx="184">
                  <c:v>6.74</c:v>
                </c:pt>
                <c:pt idx="185">
                  <c:v>6.73</c:v>
                </c:pt>
                <c:pt idx="186">
                  <c:v>6.72</c:v>
                </c:pt>
                <c:pt idx="187">
                  <c:v>6.78</c:v>
                </c:pt>
                <c:pt idx="188">
                  <c:v>6.81</c:v>
                </c:pt>
                <c:pt idx="189">
                  <c:v>6.83</c:v>
                </c:pt>
                <c:pt idx="190">
                  <c:v>6.86</c:v>
                </c:pt>
                <c:pt idx="191">
                  <c:v>6.76</c:v>
                </c:pt>
                <c:pt idx="192">
                  <c:v>6.66</c:v>
                </c:pt>
                <c:pt idx="193">
                  <c:v>6.67</c:v>
                </c:pt>
                <c:pt idx="194">
                  <c:v>6.65</c:v>
                </c:pt>
                <c:pt idx="195">
                  <c:v>6.58</c:v>
                </c:pt>
                <c:pt idx="196">
                  <c:v>6.38</c:v>
                </c:pt>
                <c:pt idx="197">
                  <c:v>6.3</c:v>
                </c:pt>
                <c:pt idx="198">
                  <c:v>6.13</c:v>
                </c:pt>
                <c:pt idx="199">
                  <c:v>6.35</c:v>
                </c:pt>
                <c:pt idx="200">
                  <c:v>6.16</c:v>
                </c:pt>
                <c:pt idx="201">
                  <c:v>6.24</c:v>
                </c:pt>
                <c:pt idx="202">
                  <c:v>6.19</c:v>
                </c:pt>
                <c:pt idx="203">
                  <c:v>6.19</c:v>
                </c:pt>
                <c:pt idx="204">
                  <c:v>6.36</c:v>
                </c:pt>
                <c:pt idx="205">
                  <c:v>6.54</c:v>
                </c:pt>
                <c:pt idx="206">
                  <c:v>6.41</c:v>
                </c:pt>
                <c:pt idx="207">
                  <c:v>6.35</c:v>
                </c:pt>
                <c:pt idx="208">
                  <c:v>6.34</c:v>
                </c:pt>
                <c:pt idx="209">
                  <c:v>6.27</c:v>
                </c:pt>
                <c:pt idx="210">
                  <c:v>6.22</c:v>
                </c:pt>
                <c:pt idx="211">
                  <c:v>6.45</c:v>
                </c:pt>
                <c:pt idx="212">
                  <c:v>6.41</c:v>
                </c:pt>
                <c:pt idx="213">
                  <c:v>6.35</c:v>
                </c:pt>
                <c:pt idx="214">
                  <c:v>6.34</c:v>
                </c:pt>
                <c:pt idx="215">
                  <c:v>6.3</c:v>
                </c:pt>
                <c:pt idx="216">
                  <c:v>6.32</c:v>
                </c:pt>
                <c:pt idx="217">
                  <c:v>6.3</c:v>
                </c:pt>
                <c:pt idx="218">
                  <c:v>6.31</c:v>
                </c:pt>
                <c:pt idx="219">
                  <c:v>6.31</c:v>
                </c:pt>
                <c:pt idx="220">
                  <c:v>6.35</c:v>
                </c:pt>
                <c:pt idx="221">
                  <c:v>6.32</c:v>
                </c:pt>
                <c:pt idx="222">
                  <c:v>6.32</c:v>
                </c:pt>
                <c:pt idx="223">
                  <c:v>6.39</c:v>
                </c:pt>
                <c:pt idx="224">
                  <c:v>6.38</c:v>
                </c:pt>
                <c:pt idx="225">
                  <c:v>6.39</c:v>
                </c:pt>
                <c:pt idx="226">
                  <c:v>6.33</c:v>
                </c:pt>
                <c:pt idx="227">
                  <c:v>6.31</c:v>
                </c:pt>
                <c:pt idx="228">
                  <c:v>6.31</c:v>
                </c:pt>
                <c:pt idx="229">
                  <c:v>6.34</c:v>
                </c:pt>
                <c:pt idx="230">
                  <c:v>6.34</c:v>
                </c:pt>
                <c:pt idx="231">
                  <c:v>6.28</c:v>
                </c:pt>
                <c:pt idx="232">
                  <c:v>6.21</c:v>
                </c:pt>
                <c:pt idx="233">
                  <c:v>6.2</c:v>
                </c:pt>
                <c:pt idx="234">
                  <c:v>6.08</c:v>
                </c:pt>
                <c:pt idx="235">
                  <c:v>6.14</c:v>
                </c:pt>
                <c:pt idx="236">
                  <c:v>6.06</c:v>
                </c:pt>
                <c:pt idx="237">
                  <c:v>6.1</c:v>
                </c:pt>
                <c:pt idx="238">
                  <c:v>6.15</c:v>
                </c:pt>
                <c:pt idx="239">
                  <c:v>6.17</c:v>
                </c:pt>
                <c:pt idx="240">
                  <c:v>6.07</c:v>
                </c:pt>
                <c:pt idx="241">
                  <c:v>5.91</c:v>
                </c:pt>
                <c:pt idx="242">
                  <c:v>5.85</c:v>
                </c:pt>
                <c:pt idx="243">
                  <c:v>5.89</c:v>
                </c:pt>
                <c:pt idx="244">
                  <c:v>5.89</c:v>
                </c:pt>
                <c:pt idx="245">
                  <c:v>5.85</c:v>
                </c:pt>
                <c:pt idx="246">
                  <c:v>5.73</c:v>
                </c:pt>
                <c:pt idx="247">
                  <c:v>6</c:v>
                </c:pt>
                <c:pt idx="248">
                  <c:v>5.88</c:v>
                </c:pt>
                <c:pt idx="249">
                  <c:v>5.86</c:v>
                </c:pt>
                <c:pt idx="250">
                  <c:v>5.82</c:v>
                </c:pt>
                <c:pt idx="251">
                  <c:v>5.72</c:v>
                </c:pt>
                <c:pt idx="252">
                  <c:v>5.89</c:v>
                </c:pt>
                <c:pt idx="253">
                  <c:v>5.85</c:v>
                </c:pt>
                <c:pt idx="254">
                  <c:v>5.76</c:v>
                </c:pt>
                <c:pt idx="255">
                  <c:v>5.8</c:v>
                </c:pt>
                <c:pt idx="256">
                  <c:v>5.8</c:v>
                </c:pt>
                <c:pt idx="257">
                  <c:v>5.79</c:v>
                </c:pt>
                <c:pt idx="258">
                  <c:v>5.82</c:v>
                </c:pt>
                <c:pt idx="259">
                  <c:v>5.85</c:v>
                </c:pt>
                <c:pt idx="260">
                  <c:v>5.87</c:v>
                </c:pt>
                <c:pt idx="261">
                  <c:v>5.83</c:v>
                </c:pt>
                <c:pt idx="262">
                  <c:v>5.92</c:v>
                </c:pt>
                <c:pt idx="263">
                  <c:v>5.95</c:v>
                </c:pt>
                <c:pt idx="264">
                  <c:v>5.93</c:v>
                </c:pt>
                <c:pt idx="265">
                  <c:v>5.99</c:v>
                </c:pt>
                <c:pt idx="266">
                  <c:v>5.89</c:v>
                </c:pt>
                <c:pt idx="267">
                  <c:v>5.88</c:v>
                </c:pt>
                <c:pt idx="268">
                  <c:v>5.87</c:v>
                </c:pt>
                <c:pt idx="269">
                  <c:v>5.93</c:v>
                </c:pt>
                <c:pt idx="270">
                  <c:v>5.99</c:v>
                </c:pt>
                <c:pt idx="271">
                  <c:v>5.99</c:v>
                </c:pt>
                <c:pt idx="272">
                  <c:v>5.95</c:v>
                </c:pt>
                <c:pt idx="273">
                  <c:v>5.9</c:v>
                </c:pt>
                <c:pt idx="274">
                  <c:v>5.86</c:v>
                </c:pt>
                <c:pt idx="275">
                  <c:v>5.75</c:v>
                </c:pt>
                <c:pt idx="276">
                  <c:v>5.74</c:v>
                </c:pt>
                <c:pt idx="277">
                  <c:v>5.76</c:v>
                </c:pt>
                <c:pt idx="278">
                  <c:v>5.69</c:v>
                </c:pt>
                <c:pt idx="279">
                  <c:v>5.55</c:v>
                </c:pt>
                <c:pt idx="280">
                  <c:v>5.63</c:v>
                </c:pt>
                <c:pt idx="281">
                  <c:v>5.66</c:v>
                </c:pt>
                <c:pt idx="282">
                  <c:v>5.65</c:v>
                </c:pt>
                <c:pt idx="283">
                  <c:v>5.64</c:v>
                </c:pt>
                <c:pt idx="284">
                  <c:v>5.66</c:v>
                </c:pt>
                <c:pt idx="285">
                  <c:v>5.66</c:v>
                </c:pt>
                <c:pt idx="286">
                  <c:v>5.66</c:v>
                </c:pt>
                <c:pt idx="287">
                  <c:v>5.53</c:v>
                </c:pt>
                <c:pt idx="288">
                  <c:v>5.56</c:v>
                </c:pt>
                <c:pt idx="289">
                  <c:v>5.65</c:v>
                </c:pt>
                <c:pt idx="290">
                  <c:v>5.65</c:v>
                </c:pt>
                <c:pt idx="291">
                  <c:v>5.64</c:v>
                </c:pt>
                <c:pt idx="292">
                  <c:v>5.61</c:v>
                </c:pt>
                <c:pt idx="293">
                  <c:v>5.7</c:v>
                </c:pt>
                <c:pt idx="294">
                  <c:v>5.72</c:v>
                </c:pt>
                <c:pt idx="295">
                  <c:v>5.78</c:v>
                </c:pt>
                <c:pt idx="296">
                  <c:v>5.76</c:v>
                </c:pt>
                <c:pt idx="297">
                  <c:v>5.77</c:v>
                </c:pt>
                <c:pt idx="298">
                  <c:v>5.8</c:v>
                </c:pt>
                <c:pt idx="299">
                  <c:v>5.79</c:v>
                </c:pt>
                <c:pt idx="300">
                  <c:v>5.77</c:v>
                </c:pt>
                <c:pt idx="301">
                  <c:v>5.84</c:v>
                </c:pt>
                <c:pt idx="302">
                  <c:v>5.78</c:v>
                </c:pt>
                <c:pt idx="303">
                  <c:v>5.69</c:v>
                </c:pt>
                <c:pt idx="304">
                  <c:v>5.62</c:v>
                </c:pt>
                <c:pt idx="305">
                  <c:v>5.61</c:v>
                </c:pt>
                <c:pt idx="306">
                  <c:v>5.6</c:v>
                </c:pt>
                <c:pt idx="307">
                  <c:v>5.46</c:v>
                </c:pt>
                <c:pt idx="308">
                  <c:v>5.29</c:v>
                </c:pt>
                <c:pt idx="309">
                  <c:v>5.31</c:v>
                </c:pt>
                <c:pt idx="310">
                  <c:v>5.14</c:v>
                </c:pt>
                <c:pt idx="311">
                  <c:v>5.12</c:v>
                </c:pt>
                <c:pt idx="312">
                  <c:v>5.16</c:v>
                </c:pt>
                <c:pt idx="313">
                  <c:v>5.2</c:v>
                </c:pt>
                <c:pt idx="314">
                  <c:v>5.18</c:v>
                </c:pt>
                <c:pt idx="315">
                  <c:v>5.17</c:v>
                </c:pt>
                <c:pt idx="316">
                  <c:v>5.19</c:v>
                </c:pt>
                <c:pt idx="317">
                  <c:v>5.19</c:v>
                </c:pt>
                <c:pt idx="318">
                  <c:v>5.1100000000000003</c:v>
                </c:pt>
                <c:pt idx="319">
                  <c:v>5.0199999999999996</c:v>
                </c:pt>
                <c:pt idx="320">
                  <c:v>5</c:v>
                </c:pt>
                <c:pt idx="321">
                  <c:v>4.9000000000000004</c:v>
                </c:pt>
                <c:pt idx="322">
                  <c:v>4.88</c:v>
                </c:pt>
                <c:pt idx="323">
                  <c:v>4.95</c:v>
                </c:pt>
                <c:pt idx="324">
                  <c:v>5</c:v>
                </c:pt>
                <c:pt idx="325">
                  <c:v>4.97</c:v>
                </c:pt>
                <c:pt idx="326">
                  <c:v>4.93</c:v>
                </c:pt>
                <c:pt idx="327">
                  <c:v>4.83</c:v>
                </c:pt>
                <c:pt idx="328">
                  <c:v>4.68</c:v>
                </c:pt>
                <c:pt idx="329">
                  <c:v>4.72</c:v>
                </c:pt>
                <c:pt idx="330">
                  <c:v>4.72</c:v>
                </c:pt>
                <c:pt idx="331">
                  <c:v>4.6100000000000003</c:v>
                </c:pt>
                <c:pt idx="332">
                  <c:v>4.54</c:v>
                </c:pt>
                <c:pt idx="333">
                  <c:v>4.68</c:v>
                </c:pt>
                <c:pt idx="334">
                  <c:v>4.66</c:v>
                </c:pt>
                <c:pt idx="335">
                  <c:v>4.68</c:v>
                </c:pt>
                <c:pt idx="336">
                  <c:v>4.58</c:v>
                </c:pt>
                <c:pt idx="337">
                  <c:v>4.49</c:v>
                </c:pt>
                <c:pt idx="338">
                  <c:v>4.49</c:v>
                </c:pt>
                <c:pt idx="339">
                  <c:v>4.6100000000000003</c:v>
                </c:pt>
                <c:pt idx="340">
                  <c:v>4.6500000000000004</c:v>
                </c:pt>
                <c:pt idx="341">
                  <c:v>4.7300000000000004</c:v>
                </c:pt>
                <c:pt idx="342">
                  <c:v>4.6399999999999997</c:v>
                </c:pt>
                <c:pt idx="343">
                  <c:v>4.6399999999999997</c:v>
                </c:pt>
                <c:pt idx="344">
                  <c:v>4.58</c:v>
                </c:pt>
                <c:pt idx="345">
                  <c:v>4.71</c:v>
                </c:pt>
                <c:pt idx="346">
                  <c:v>4.9800000000000004</c:v>
                </c:pt>
                <c:pt idx="347">
                  <c:v>5.0999999999999996</c:v>
                </c:pt>
                <c:pt idx="348">
                  <c:v>5.03</c:v>
                </c:pt>
                <c:pt idx="349">
                  <c:v>4.84</c:v>
                </c:pt>
                <c:pt idx="350">
                  <c:v>5.07</c:v>
                </c:pt>
                <c:pt idx="351">
                  <c:v>5.23</c:v>
                </c:pt>
                <c:pt idx="352">
                  <c:v>5.22</c:v>
                </c:pt>
                <c:pt idx="353">
                  <c:v>5.37</c:v>
                </c:pt>
                <c:pt idx="354">
                  <c:v>5.8</c:v>
                </c:pt>
                <c:pt idx="355">
                  <c:v>5.55</c:v>
                </c:pt>
                <c:pt idx="356">
                  <c:v>5.57</c:v>
                </c:pt>
                <c:pt idx="357">
                  <c:v>5.39</c:v>
                </c:pt>
                <c:pt idx="358">
                  <c:v>5.29</c:v>
                </c:pt>
                <c:pt idx="359">
                  <c:v>5.32</c:v>
                </c:pt>
                <c:pt idx="360">
                  <c:v>5.39</c:v>
                </c:pt>
                <c:pt idx="361">
                  <c:v>5.65</c:v>
                </c:pt>
                <c:pt idx="362">
                  <c:v>5.7</c:v>
                </c:pt>
                <c:pt idx="363">
                  <c:v>6.07</c:v>
                </c:pt>
                <c:pt idx="364">
                  <c:v>5.83</c:v>
                </c:pt>
                <c:pt idx="365">
                  <c:v>5.91</c:v>
                </c:pt>
                <c:pt idx="366">
                  <c:v>5.62</c:v>
                </c:pt>
                <c:pt idx="367">
                  <c:v>5.44</c:v>
                </c:pt>
                <c:pt idx="368">
                  <c:v>5.28</c:v>
                </c:pt>
                <c:pt idx="369">
                  <c:v>5</c:v>
                </c:pt>
                <c:pt idx="370">
                  <c:v>5.0199999999999996</c:v>
                </c:pt>
                <c:pt idx="371">
                  <c:v>5.0199999999999996</c:v>
                </c:pt>
                <c:pt idx="372">
                  <c:v>4.78</c:v>
                </c:pt>
                <c:pt idx="373">
                  <c:v>4.8600000000000003</c:v>
                </c:pt>
                <c:pt idx="374">
                  <c:v>4.84</c:v>
                </c:pt>
                <c:pt idx="375">
                  <c:v>4.88</c:v>
                </c:pt>
                <c:pt idx="376">
                  <c:v>4.92</c:v>
                </c:pt>
                <c:pt idx="377">
                  <c:v>4.8899999999999997</c:v>
                </c:pt>
                <c:pt idx="378">
                  <c:v>4.8899999999999997</c:v>
                </c:pt>
                <c:pt idx="379">
                  <c:v>4.88</c:v>
                </c:pt>
                <c:pt idx="380">
                  <c:v>4.93</c:v>
                </c:pt>
                <c:pt idx="381">
                  <c:v>4.91</c:v>
                </c:pt>
                <c:pt idx="382">
                  <c:v>5.01</c:v>
                </c:pt>
                <c:pt idx="383">
                  <c:v>5.04</c:v>
                </c:pt>
                <c:pt idx="384">
                  <c:v>5.0199999999999996</c:v>
                </c:pt>
                <c:pt idx="385">
                  <c:v>4.9800000000000004</c:v>
                </c:pt>
                <c:pt idx="386">
                  <c:v>5.08</c:v>
                </c:pt>
                <c:pt idx="387">
                  <c:v>5.08</c:v>
                </c:pt>
                <c:pt idx="388">
                  <c:v>5.25</c:v>
                </c:pt>
                <c:pt idx="389">
                  <c:v>5.4</c:v>
                </c:pt>
                <c:pt idx="390">
                  <c:v>5.45</c:v>
                </c:pt>
                <c:pt idx="391">
                  <c:v>5.26</c:v>
                </c:pt>
                <c:pt idx="392">
                  <c:v>5.36</c:v>
                </c:pt>
                <c:pt idx="393">
                  <c:v>5.26</c:v>
                </c:pt>
                <c:pt idx="394">
                  <c:v>5.18</c:v>
                </c:pt>
                <c:pt idx="395">
                  <c:v>5.18</c:v>
                </c:pt>
                <c:pt idx="396">
                  <c:v>5.23</c:v>
                </c:pt>
                <c:pt idx="397">
                  <c:v>5.19</c:v>
                </c:pt>
                <c:pt idx="398">
                  <c:v>5.19</c:v>
                </c:pt>
                <c:pt idx="399">
                  <c:v>5.29</c:v>
                </c:pt>
                <c:pt idx="400">
                  <c:v>5.38</c:v>
                </c:pt>
                <c:pt idx="401">
                  <c:v>5.37</c:v>
                </c:pt>
                <c:pt idx="402">
                  <c:v>5.59</c:v>
                </c:pt>
                <c:pt idx="403">
                  <c:v>5.59</c:v>
                </c:pt>
                <c:pt idx="404">
                  <c:v>5.59</c:v>
                </c:pt>
                <c:pt idx="405">
                  <c:v>5.6</c:v>
                </c:pt>
                <c:pt idx="406">
                  <c:v>5.64</c:v>
                </c:pt>
                <c:pt idx="407">
                  <c:v>5.64</c:v>
                </c:pt>
                <c:pt idx="408">
                  <c:v>5.66</c:v>
                </c:pt>
                <c:pt idx="409">
                  <c:v>5.67</c:v>
                </c:pt>
                <c:pt idx="410">
                  <c:v>5.9</c:v>
                </c:pt>
                <c:pt idx="411">
                  <c:v>5.82</c:v>
                </c:pt>
                <c:pt idx="412">
                  <c:v>5.79</c:v>
                </c:pt>
                <c:pt idx="413">
                  <c:v>5.78</c:v>
                </c:pt>
                <c:pt idx="414">
                  <c:v>5.82</c:v>
                </c:pt>
                <c:pt idx="415">
                  <c:v>5.81</c:v>
                </c:pt>
                <c:pt idx="416">
                  <c:v>5.92</c:v>
                </c:pt>
                <c:pt idx="417">
                  <c:v>5.91</c:v>
                </c:pt>
                <c:pt idx="418">
                  <c:v>5.81</c:v>
                </c:pt>
                <c:pt idx="419">
                  <c:v>5.73</c:v>
                </c:pt>
                <c:pt idx="420">
                  <c:v>5.67</c:v>
                </c:pt>
                <c:pt idx="421">
                  <c:v>5.65</c:v>
                </c:pt>
                <c:pt idx="422">
                  <c:v>5.51</c:v>
                </c:pt>
                <c:pt idx="423">
                  <c:v>5.4</c:v>
                </c:pt>
                <c:pt idx="424">
                  <c:v>5.44</c:v>
                </c:pt>
                <c:pt idx="425">
                  <c:v>5.38</c:v>
                </c:pt>
                <c:pt idx="426">
                  <c:v>5.0199999999999996</c:v>
                </c:pt>
                <c:pt idx="427">
                  <c:v>5.14</c:v>
                </c:pt>
                <c:pt idx="428">
                  <c:v>5.0999999999999996</c:v>
                </c:pt>
                <c:pt idx="429">
                  <c:v>5.03</c:v>
                </c:pt>
                <c:pt idx="430">
                  <c:v>4.97</c:v>
                </c:pt>
                <c:pt idx="431">
                  <c:v>5.03</c:v>
                </c:pt>
                <c:pt idx="432">
                  <c:v>5.0999999999999996</c:v>
                </c:pt>
                <c:pt idx="433">
                  <c:v>5.08</c:v>
                </c:pt>
                <c:pt idx="434">
                  <c:v>5.0199999999999996</c:v>
                </c:pt>
                <c:pt idx="435">
                  <c:v>5.0199999999999996</c:v>
                </c:pt>
                <c:pt idx="436">
                  <c:v>5</c:v>
                </c:pt>
                <c:pt idx="437">
                  <c:v>5.03</c:v>
                </c:pt>
                <c:pt idx="438">
                  <c:v>5.0199999999999996</c:v>
                </c:pt>
                <c:pt idx="439">
                  <c:v>4.9400000000000004</c:v>
                </c:pt>
                <c:pt idx="440">
                  <c:v>4.95</c:v>
                </c:pt>
                <c:pt idx="441">
                  <c:v>4.92</c:v>
                </c:pt>
                <c:pt idx="442">
                  <c:v>4.83</c:v>
                </c:pt>
                <c:pt idx="443">
                  <c:v>4.8600000000000003</c:v>
                </c:pt>
                <c:pt idx="444">
                  <c:v>4.87</c:v>
                </c:pt>
                <c:pt idx="445">
                  <c:v>4.88</c:v>
                </c:pt>
                <c:pt idx="446">
                  <c:v>4.8099999999999996</c:v>
                </c:pt>
                <c:pt idx="447">
                  <c:v>4.74</c:v>
                </c:pt>
                <c:pt idx="448">
                  <c:v>4.72</c:v>
                </c:pt>
                <c:pt idx="449">
                  <c:v>4.68</c:v>
                </c:pt>
                <c:pt idx="450">
                  <c:v>4.68</c:v>
                </c:pt>
                <c:pt idx="451">
                  <c:v>4.59</c:v>
                </c:pt>
                <c:pt idx="452">
                  <c:v>4.6100000000000003</c:v>
                </c:pt>
                <c:pt idx="453">
                  <c:v>4.62</c:v>
                </c:pt>
                <c:pt idx="454">
                  <c:v>4.55</c:v>
                </c:pt>
                <c:pt idx="455">
                  <c:v>4.57</c:v>
                </c:pt>
                <c:pt idx="456">
                  <c:v>4.6500000000000004</c:v>
                </c:pt>
                <c:pt idx="457">
                  <c:v>4.6500000000000004</c:v>
                </c:pt>
                <c:pt idx="458">
                  <c:v>4.72</c:v>
                </c:pt>
                <c:pt idx="459">
                  <c:v>4.7</c:v>
                </c:pt>
                <c:pt idx="460">
                  <c:v>4.78</c:v>
                </c:pt>
                <c:pt idx="461">
                  <c:v>4.68</c:v>
                </c:pt>
                <c:pt idx="462">
                  <c:v>4.75</c:v>
                </c:pt>
                <c:pt idx="463">
                  <c:v>4.8899999999999997</c:v>
                </c:pt>
                <c:pt idx="464">
                  <c:v>5.07</c:v>
                </c:pt>
                <c:pt idx="465">
                  <c:v>4.9400000000000004</c:v>
                </c:pt>
                <c:pt idx="466">
                  <c:v>4.83</c:v>
                </c:pt>
                <c:pt idx="467">
                  <c:v>4.84</c:v>
                </c:pt>
                <c:pt idx="468">
                  <c:v>4.79</c:v>
                </c:pt>
                <c:pt idx="469" formatCode="General">
                  <c:v>4.76</c:v>
                </c:pt>
                <c:pt idx="470" formatCode="General">
                  <c:v>4.8600000000000003</c:v>
                </c:pt>
                <c:pt idx="471" formatCode="General">
                  <c:v>4.88</c:v>
                </c:pt>
                <c:pt idx="472" formatCode="General">
                  <c:v>4.8899999999999997</c:v>
                </c:pt>
                <c:pt idx="473" formatCode="General">
                  <c:v>4.9400000000000004</c:v>
                </c:pt>
                <c:pt idx="474" formatCode="0.00">
                  <c:v>4.9000000000000004</c:v>
                </c:pt>
                <c:pt idx="475" formatCode="General">
                  <c:v>4.91</c:v>
                </c:pt>
                <c:pt idx="476" formatCode="General">
                  <c:v>4.96</c:v>
                </c:pt>
                <c:pt idx="477" formatCode="General">
                  <c:v>5.07</c:v>
                </c:pt>
                <c:pt idx="478" formatCode="General">
                  <c:v>5.08</c:v>
                </c:pt>
                <c:pt idx="479" formatCode="General">
                  <c:v>5.05</c:v>
                </c:pt>
                <c:pt idx="480" formatCode="0.00">
                  <c:v>5</c:v>
                </c:pt>
                <c:pt idx="481" formatCode="General">
                  <c:v>4.8899999999999997</c:v>
                </c:pt>
                <c:pt idx="482">
                  <c:v>4.83</c:v>
                </c:pt>
                <c:pt idx="483">
                  <c:v>4.78</c:v>
                </c:pt>
                <c:pt idx="484">
                  <c:v>4.78</c:v>
                </c:pt>
                <c:pt idx="485">
                  <c:v>4.8099999999999996</c:v>
                </c:pt>
                <c:pt idx="486">
                  <c:v>4.8099999999999996</c:v>
                </c:pt>
                <c:pt idx="487">
                  <c:v>4.82</c:v>
                </c:pt>
                <c:pt idx="488" formatCode="General">
                  <c:v>4.7</c:v>
                </c:pt>
                <c:pt idx="489" formatCode="General">
                  <c:v>4.67</c:v>
                </c:pt>
                <c:pt idx="490" formatCode="General">
                  <c:v>4.6500000000000004</c:v>
                </c:pt>
                <c:pt idx="491" formatCode="General">
                  <c:v>4.67</c:v>
                </c:pt>
                <c:pt idx="492" formatCode="General">
                  <c:v>4.7</c:v>
                </c:pt>
                <c:pt idx="493" formatCode="General">
                  <c:v>4.6100000000000003</c:v>
                </c:pt>
                <c:pt idx="494" formatCode="General">
                  <c:v>4.66</c:v>
                </c:pt>
                <c:pt idx="495" formatCode="General">
                  <c:v>4.66</c:v>
                </c:pt>
                <c:pt idx="496" formatCode="General">
                  <c:v>4.7</c:v>
                </c:pt>
                <c:pt idx="497" formatCode="General">
                  <c:v>4.66</c:v>
                </c:pt>
                <c:pt idx="498" formatCode="General">
                  <c:v>4.6500000000000004</c:v>
                </c:pt>
                <c:pt idx="499" formatCode="General">
                  <c:v>4.62</c:v>
                </c:pt>
                <c:pt idx="500" formatCode="General">
                  <c:v>4.57</c:v>
                </c:pt>
                <c:pt idx="501" formatCode="General">
                  <c:v>4.5</c:v>
                </c:pt>
                <c:pt idx="502" formatCode="General">
                  <c:v>4.51</c:v>
                </c:pt>
                <c:pt idx="503" formatCode="General">
                  <c:v>4.45</c:v>
                </c:pt>
                <c:pt idx="504" formatCode="General">
                  <c:v>4.47</c:v>
                </c:pt>
                <c:pt idx="505" formatCode="General">
                  <c:v>4.6399999999999997</c:v>
                </c:pt>
                <c:pt idx="506" formatCode="General">
                  <c:v>4.62</c:v>
                </c:pt>
                <c:pt idx="507" formatCode="General">
                  <c:v>4.5</c:v>
                </c:pt>
                <c:pt idx="508" formatCode="General">
                  <c:v>4.54</c:v>
                </c:pt>
                <c:pt idx="509" formatCode="General">
                  <c:v>4.6100000000000003</c:v>
                </c:pt>
                <c:pt idx="510" formatCode="General">
                  <c:v>4.51</c:v>
                </c:pt>
                <c:pt idx="511" formatCode="General">
                  <c:v>4.49</c:v>
                </c:pt>
                <c:pt idx="512" formatCode="General">
                  <c:v>4.72</c:v>
                </c:pt>
                <c:pt idx="513" formatCode="General">
                  <c:v>4.75</c:v>
                </c:pt>
                <c:pt idx="514" formatCode="General">
                  <c:v>4.78</c:v>
                </c:pt>
                <c:pt idx="515" formatCode="General">
                  <c:v>4.97</c:v>
                </c:pt>
                <c:pt idx="516" formatCode="General">
                  <c:v>5.19</c:v>
                </c:pt>
                <c:pt idx="517" formatCode="General">
                  <c:v>5.31</c:v>
                </c:pt>
                <c:pt idx="518" formatCode="General">
                  <c:v>5.23</c:v>
                </c:pt>
                <c:pt idx="519" formatCode="General">
                  <c:v>5.13</c:v>
                </c:pt>
                <c:pt idx="520" formatCode="General">
                  <c:v>4.99</c:v>
                </c:pt>
                <c:pt idx="521" formatCode="General">
                  <c:v>4.96</c:v>
                </c:pt>
                <c:pt idx="522" formatCode="General">
                  <c:v>5.01</c:v>
                </c:pt>
                <c:pt idx="523" formatCode="General">
                  <c:v>5.0599999999999996</c:v>
                </c:pt>
                <c:pt idx="524" formatCode="General">
                  <c:v>5.03</c:v>
                </c:pt>
                <c:pt idx="525" formatCode="General">
                  <c:v>4.9800000000000004</c:v>
                </c:pt>
                <c:pt idx="526" formatCode="General">
                  <c:v>5.0199999999999996</c:v>
                </c:pt>
                <c:pt idx="527" formatCode="General">
                  <c:v>4.9800000000000004</c:v>
                </c:pt>
                <c:pt idx="528" formatCode="General">
                  <c:v>5.03</c:v>
                </c:pt>
                <c:pt idx="529" formatCode="General">
                  <c:v>5.14</c:v>
                </c:pt>
                <c:pt idx="530" formatCode="General">
                  <c:v>5.36</c:v>
                </c:pt>
                <c:pt idx="531" formatCode="General">
                  <c:v>5.36</c:v>
                </c:pt>
                <c:pt idx="532" formatCode="General">
                  <c:v>5.23</c:v>
                </c:pt>
                <c:pt idx="533" formatCode="General">
                  <c:v>5.22</c:v>
                </c:pt>
                <c:pt idx="534" formatCode="General">
                  <c:v>5.0599999999999996</c:v>
                </c:pt>
                <c:pt idx="535" formatCode="General">
                  <c:v>5.0599999999999996</c:v>
                </c:pt>
                <c:pt idx="536" formatCode="General">
                  <c:v>5.0999999999999996</c:v>
                </c:pt>
                <c:pt idx="537" formatCode="General">
                  <c:v>5.08</c:v>
                </c:pt>
                <c:pt idx="538" formatCode="General">
                  <c:v>5.15</c:v>
                </c:pt>
                <c:pt idx="539" formatCode="General">
                  <c:v>4.96</c:v>
                </c:pt>
                <c:pt idx="540" formatCode="General">
                  <c:v>4.92</c:v>
                </c:pt>
                <c:pt idx="541" formatCode="General">
                  <c:v>4.8899999999999997</c:v>
                </c:pt>
                <c:pt idx="542" formatCode="General">
                  <c:v>4.93</c:v>
                </c:pt>
                <c:pt idx="543" formatCode="General">
                  <c:v>5.03</c:v>
                </c:pt>
                <c:pt idx="544" formatCode="General">
                  <c:v>5.0199999999999996</c:v>
                </c:pt>
                <c:pt idx="545" formatCode="General">
                  <c:v>5.0599999999999996</c:v>
                </c:pt>
                <c:pt idx="546" formatCode="General">
                  <c:v>4.99</c:v>
                </c:pt>
                <c:pt idx="547" formatCode="General">
                  <c:v>4.99</c:v>
                </c:pt>
                <c:pt idx="548" formatCode="General">
                  <c:v>4.9800000000000004</c:v>
                </c:pt>
                <c:pt idx="549" formatCode="General">
                  <c:v>4.9400000000000004</c:v>
                </c:pt>
                <c:pt idx="550" formatCode="General">
                  <c:v>4.91</c:v>
                </c:pt>
                <c:pt idx="551" formatCode="General">
                  <c:v>4.93</c:v>
                </c:pt>
                <c:pt idx="552" formatCode="General">
                  <c:v>4.9800000000000004</c:v>
                </c:pt>
                <c:pt idx="553" formatCode="General">
                  <c:v>5.01</c:v>
                </c:pt>
                <c:pt idx="554" formatCode="General">
                  <c:v>5.01</c:v>
                </c:pt>
                <c:pt idx="555" formatCode="General">
                  <c:v>5.01</c:v>
                </c:pt>
                <c:pt idx="556" formatCode="General">
                  <c:v>5.04</c:v>
                </c:pt>
                <c:pt idx="557" formatCode="General">
                  <c:v>4.88</c:v>
                </c:pt>
                <c:pt idx="558" formatCode="General">
                  <c:v>4.84</c:v>
                </c:pt>
                <c:pt idx="559" formatCode="General">
                  <c:v>4.83</c:v>
                </c:pt>
                <c:pt idx="560" formatCode="General">
                  <c:v>4.82</c:v>
                </c:pt>
                <c:pt idx="561" formatCode="General">
                  <c:v>4.8099999999999996</c:v>
                </c:pt>
                <c:pt idx="562">
                  <c:v>4.76</c:v>
                </c:pt>
                <c:pt idx="563" formatCode="General">
                  <c:v>4.75</c:v>
                </c:pt>
                <c:pt idx="564" formatCode="General">
                  <c:v>4.71</c:v>
                </c:pt>
                <c:pt idx="565" formatCode="General">
                  <c:v>4.7300000000000004</c:v>
                </c:pt>
                <c:pt idx="566" formatCode="General">
                  <c:v>4.6900000000000004</c:v>
                </c:pt>
                <c:pt idx="567" formatCode="General">
                  <c:v>4.71</c:v>
                </c:pt>
                <c:pt idx="568" formatCode="General">
                  <c:v>4.74</c:v>
                </c:pt>
                <c:pt idx="569" formatCode="General">
                  <c:v>4.7300000000000004</c:v>
                </c:pt>
                <c:pt idx="570" formatCode="General">
                  <c:v>4.7300000000000004</c:v>
                </c:pt>
                <c:pt idx="571" formatCode="General">
                  <c:v>4.68</c:v>
                </c:pt>
                <c:pt idx="572" formatCode="General">
                  <c:v>4.68</c:v>
                </c:pt>
                <c:pt idx="573" formatCode="General">
                  <c:v>4.68</c:v>
                </c:pt>
                <c:pt idx="574" formatCode="General">
                  <c:v>4.6500000000000004</c:v>
                </c:pt>
                <c:pt idx="575" formatCode="General">
                  <c:v>4.7</c:v>
                </c:pt>
                <c:pt idx="576" formatCode="General">
                  <c:v>4.57</c:v>
                </c:pt>
                <c:pt idx="577" formatCode="General">
                  <c:v>4.5599999999999996</c:v>
                </c:pt>
                <c:pt idx="578" formatCode="General">
                  <c:v>4.6500000000000004</c:v>
                </c:pt>
                <c:pt idx="579" formatCode="General">
                  <c:v>4.5199999999999996</c:v>
                </c:pt>
                <c:pt idx="580" formatCode="General">
                  <c:v>4.38</c:v>
                </c:pt>
                <c:pt idx="581" formatCode="General">
                  <c:v>4.38</c:v>
                </c:pt>
                <c:pt idx="582" formatCode="General">
                  <c:v>4.38</c:v>
                </c:pt>
                <c:pt idx="583" formatCode="General">
                  <c:v>4.3899999999999997</c:v>
                </c:pt>
                <c:pt idx="584" formatCode="General">
                  <c:v>4.37</c:v>
                </c:pt>
                <c:pt idx="585" formatCode="General">
                  <c:v>4.32</c:v>
                </c:pt>
                <c:pt idx="586" formatCode="General">
                  <c:v>4.2</c:v>
                </c:pt>
                <c:pt idx="587" formatCode="General">
                  <c:v>4.16</c:v>
                </c:pt>
                <c:pt idx="588" formatCode="General">
                  <c:v>4.1900000000000004</c:v>
                </c:pt>
                <c:pt idx="589" formatCode="General">
                  <c:v>4.16</c:v>
                </c:pt>
                <c:pt idx="590" formatCode="General">
                  <c:v>4.0199999999999996</c:v>
                </c:pt>
                <c:pt idx="591" formatCode="General">
                  <c:v>3.8</c:v>
                </c:pt>
                <c:pt idx="592" formatCode="General">
                  <c:v>3.93</c:v>
                </c:pt>
                <c:pt idx="593" formatCode="General">
                  <c:v>3.98</c:v>
                </c:pt>
                <c:pt idx="594" formatCode="General">
                  <c:v>4.01</c:v>
                </c:pt>
                <c:pt idx="595" formatCode="General">
                  <c:v>3.95</c:v>
                </c:pt>
                <c:pt idx="596" formatCode="General">
                  <c:v>3.9</c:v>
                </c:pt>
                <c:pt idx="597" formatCode="General">
                  <c:v>3.82</c:v>
                </c:pt>
                <c:pt idx="598" formatCode="General">
                  <c:v>3.69</c:v>
                </c:pt>
                <c:pt idx="599" formatCode="General">
                  <c:v>3.75</c:v>
                </c:pt>
                <c:pt idx="600" formatCode="General">
                  <c:v>3.78</c:v>
                </c:pt>
                <c:pt idx="601" formatCode="General">
                  <c:v>3.61</c:v>
                </c:pt>
                <c:pt idx="602" formatCode="General">
                  <c:v>3.66</c:v>
                </c:pt>
                <c:pt idx="603" formatCode="General">
                  <c:v>3.49</c:v>
                </c:pt>
                <c:pt idx="604" formatCode="General">
                  <c:v>3.62</c:v>
                </c:pt>
                <c:pt idx="605" formatCode="General">
                  <c:v>3.64</c:v>
                </c:pt>
                <c:pt idx="606" formatCode="General">
                  <c:v>3.56</c:v>
                </c:pt>
                <c:pt idx="607" formatCode="General">
                  <c:v>3.27</c:v>
                </c:pt>
                <c:pt idx="608" formatCode="General">
                  <c:v>3.27</c:v>
                </c:pt>
                <c:pt idx="609" formatCode="General">
                  <c:v>3.24</c:v>
                </c:pt>
                <c:pt idx="610" formatCode="General">
                  <c:v>3.3</c:v>
                </c:pt>
                <c:pt idx="611" formatCode="General">
                  <c:v>3.35</c:v>
                </c:pt>
                <c:pt idx="612" formatCode="General">
                  <c:v>3.37</c:v>
                </c:pt>
                <c:pt idx="613" formatCode="General">
                  <c:v>3.47</c:v>
                </c:pt>
                <c:pt idx="614" formatCode="General">
                  <c:v>3.45</c:v>
                </c:pt>
                <c:pt idx="615" formatCode="General">
                  <c:v>3.53</c:v>
                </c:pt>
                <c:pt idx="616" formatCode="General">
                  <c:v>3.5</c:v>
                </c:pt>
                <c:pt idx="617" formatCode="General">
                  <c:v>3.52</c:v>
                </c:pt>
                <c:pt idx="618" formatCode="General">
                  <c:v>3.55</c:v>
                </c:pt>
                <c:pt idx="619" formatCode="General">
                  <c:v>3.48</c:v>
                </c:pt>
                <c:pt idx="620" formatCode="General">
                  <c:v>3.47</c:v>
                </c:pt>
                <c:pt idx="621" formatCode="General">
                  <c:v>3.26</c:v>
                </c:pt>
                <c:pt idx="622" formatCode="General">
                  <c:v>3.2</c:v>
                </c:pt>
                <c:pt idx="623" formatCode="General">
                  <c:v>3.33</c:v>
                </c:pt>
                <c:pt idx="624" formatCode="General">
                  <c:v>3.36</c:v>
                </c:pt>
                <c:pt idx="625" formatCode="General">
                  <c:v>3.33</c:v>
                </c:pt>
                <c:pt idx="626" formatCode="General">
                  <c:v>3.37</c:v>
                </c:pt>
                <c:pt idx="627" formatCode="General">
                  <c:v>3.36</c:v>
                </c:pt>
                <c:pt idx="628" formatCode="General">
                  <c:v>3.38</c:v>
                </c:pt>
                <c:pt idx="629" formatCode="General">
                  <c:v>3.34</c:v>
                </c:pt>
                <c:pt idx="630" formatCode="General">
                  <c:v>3.29</c:v>
                </c:pt>
                <c:pt idx="631" formatCode="General">
                  <c:v>3.28</c:v>
                </c:pt>
                <c:pt idx="632" formatCode="General">
                  <c:v>3.36</c:v>
                </c:pt>
                <c:pt idx="633" formatCode="General">
                  <c:v>3.39</c:v>
                </c:pt>
                <c:pt idx="634" formatCode="General">
                  <c:v>3.45</c:v>
                </c:pt>
                <c:pt idx="635" formatCode="General">
                  <c:v>3.48</c:v>
                </c:pt>
                <c:pt idx="636" formatCode="General">
                  <c:v>3.47</c:v>
                </c:pt>
                <c:pt idx="637" formatCode="General">
                  <c:v>3.43</c:v>
                </c:pt>
                <c:pt idx="638" formatCode="General">
                  <c:v>3.36</c:v>
                </c:pt>
                <c:pt idx="639" formatCode="General">
                  <c:v>3.36</c:v>
                </c:pt>
                <c:pt idx="640" formatCode="General">
                  <c:v>3.34</c:v>
                </c:pt>
                <c:pt idx="641" formatCode="General">
                  <c:v>3.37</c:v>
                </c:pt>
                <c:pt idx="642" formatCode="General">
                  <c:v>3.35</c:v>
                </c:pt>
                <c:pt idx="643" formatCode="General">
                  <c:v>3.36</c:v>
                </c:pt>
                <c:pt idx="644" formatCode="General">
                  <c:v>3.45</c:v>
                </c:pt>
                <c:pt idx="645" formatCode="General">
                  <c:v>3.45</c:v>
                </c:pt>
                <c:pt idx="646" formatCode="General">
                  <c:v>3.68</c:v>
                </c:pt>
                <c:pt idx="647" formatCode="General">
                  <c:v>4.01</c:v>
                </c:pt>
                <c:pt idx="648" formatCode="General">
                  <c:v>3.87</c:v>
                </c:pt>
                <c:pt idx="649" formatCode="General">
                  <c:v>3.93</c:v>
                </c:pt>
                <c:pt idx="650" formatCode="General">
                  <c:v>4.17</c:v>
                </c:pt>
                <c:pt idx="651" formatCode="General">
                  <c:v>4.0199999999999996</c:v>
                </c:pt>
                <c:pt idx="652" formatCode="General">
                  <c:v>3.98</c:v>
                </c:pt>
                <c:pt idx="653" formatCode="0.00">
                  <c:v>3.96</c:v>
                </c:pt>
                <c:pt idx="654" formatCode="General">
                  <c:v>3.96</c:v>
                </c:pt>
                <c:pt idx="655" formatCode="General">
                  <c:v>3.97</c:v>
                </c:pt>
                <c:pt idx="656" formatCode="General">
                  <c:v>3.77</c:v>
                </c:pt>
                <c:pt idx="657" formatCode="General">
                  <c:v>3.77</c:v>
                </c:pt>
                <c:pt idx="658" formatCode="General">
                  <c:v>3.65</c:v>
                </c:pt>
                <c:pt idx="659" formatCode="General">
                  <c:v>3.52</c:v>
                </c:pt>
                <c:pt idx="660" formatCode="General">
                  <c:v>3.52</c:v>
                </c:pt>
                <c:pt idx="661" formatCode="General">
                  <c:v>3.48</c:v>
                </c:pt>
                <c:pt idx="662" formatCode="General">
                  <c:v>3.49</c:v>
                </c:pt>
                <c:pt idx="663" formatCode="General">
                  <c:v>3.48</c:v>
                </c:pt>
                <c:pt idx="664" formatCode="General">
                  <c:v>3.45</c:v>
                </c:pt>
                <c:pt idx="665" formatCode="General">
                  <c:v>3.4</c:v>
                </c:pt>
                <c:pt idx="666" formatCode="General">
                  <c:v>3.52</c:v>
                </c:pt>
                <c:pt idx="667" formatCode="General">
                  <c:v>3.52</c:v>
                </c:pt>
                <c:pt idx="668" formatCode="General">
                  <c:v>3.56</c:v>
                </c:pt>
                <c:pt idx="669" formatCode="General">
                  <c:v>3.62</c:v>
                </c:pt>
                <c:pt idx="670" formatCode="General">
                  <c:v>3.58</c:v>
                </c:pt>
                <c:pt idx="671" formatCode="General">
                  <c:v>3.55</c:v>
                </c:pt>
                <c:pt idx="672" formatCode="General">
                  <c:v>3.59</c:v>
                </c:pt>
                <c:pt idx="673" formatCode="General">
                  <c:v>3.45</c:v>
                </c:pt>
                <c:pt idx="674" formatCode="General">
                  <c:v>3.56</c:v>
                </c:pt>
                <c:pt idx="675" formatCode="General">
                  <c:v>3.61</c:v>
                </c:pt>
                <c:pt idx="676" formatCode="General">
                  <c:v>3.6</c:v>
                </c:pt>
                <c:pt idx="677" formatCode="General">
                  <c:v>3.79</c:v>
                </c:pt>
                <c:pt idx="678" formatCode="General">
                  <c:v>3.79</c:v>
                </c:pt>
                <c:pt idx="679" formatCode="General">
                  <c:v>3.72</c:v>
                </c:pt>
                <c:pt idx="680" formatCode="General">
                  <c:v>3.66</c:v>
                </c:pt>
                <c:pt idx="681" formatCode="General">
                  <c:v>3.63</c:v>
                </c:pt>
                <c:pt idx="682" formatCode="General">
                  <c:v>3.61</c:v>
                </c:pt>
                <c:pt idx="683" formatCode="General">
                  <c:v>3.61</c:v>
                </c:pt>
                <c:pt idx="684" formatCode="General">
                  <c:v>3.56</c:v>
                </c:pt>
                <c:pt idx="685" formatCode="General">
                  <c:v>3.56</c:v>
                </c:pt>
                <c:pt idx="686" formatCode="General">
                  <c:v>3.51</c:v>
                </c:pt>
                <c:pt idx="687" formatCode="General">
                  <c:v>3.57</c:v>
                </c:pt>
                <c:pt idx="688" formatCode="General">
                  <c:v>3.64</c:v>
                </c:pt>
                <c:pt idx="689" formatCode="General">
                  <c:v>3.63</c:v>
                </c:pt>
                <c:pt idx="690" formatCode="General">
                  <c:v>3.66</c:v>
                </c:pt>
                <c:pt idx="691" formatCode="General">
                  <c:v>3.58</c:v>
                </c:pt>
                <c:pt idx="692" formatCode="General">
                  <c:v>3.58</c:v>
                </c:pt>
                <c:pt idx="693" formatCode="General">
                  <c:v>3.59</c:v>
                </c:pt>
                <c:pt idx="694" formatCode="General">
                  <c:v>3.53</c:v>
                </c:pt>
                <c:pt idx="695" formatCode="General">
                  <c:v>3.74</c:v>
                </c:pt>
                <c:pt idx="696" formatCode="General">
                  <c:v>3.58</c:v>
                </c:pt>
                <c:pt idx="697" formatCode="General">
                  <c:v>3.68</c:v>
                </c:pt>
                <c:pt idx="698" formatCode="General">
                  <c:v>3.56</c:v>
                </c:pt>
                <c:pt idx="699" formatCode="General">
                  <c:v>3.54</c:v>
                </c:pt>
                <c:pt idx="700" formatCode="General">
                  <c:v>3.39</c:v>
                </c:pt>
                <c:pt idx="701" formatCode="General">
                  <c:v>3.64</c:v>
                </c:pt>
                <c:pt idx="702" formatCode="General">
                  <c:v>3.58</c:v>
                </c:pt>
                <c:pt idx="703" formatCode="General">
                  <c:v>3.51</c:v>
                </c:pt>
                <c:pt idx="704" formatCode="General">
                  <c:v>3.48</c:v>
                </c:pt>
                <c:pt idx="705" formatCode="General">
                  <c:v>3.48</c:v>
                </c:pt>
                <c:pt idx="706" formatCode="General">
                  <c:v>3.49</c:v>
                </c:pt>
                <c:pt idx="707" formatCode="General">
                  <c:v>3.42</c:v>
                </c:pt>
                <c:pt idx="708" formatCode="General">
                  <c:v>3.37</c:v>
                </c:pt>
                <c:pt idx="709" formatCode="General">
                  <c:v>3.38</c:v>
                </c:pt>
                <c:pt idx="710" formatCode="General">
                  <c:v>3.29</c:v>
                </c:pt>
                <c:pt idx="711" formatCode="General">
                  <c:v>3.26</c:v>
                </c:pt>
                <c:pt idx="712" formatCode="General">
                  <c:v>3.29</c:v>
                </c:pt>
                <c:pt idx="713" formatCode="General">
                  <c:v>3.25</c:v>
                </c:pt>
                <c:pt idx="714" formatCode="General">
                  <c:v>3.27</c:v>
                </c:pt>
                <c:pt idx="715" formatCode="General">
                  <c:v>3.27</c:v>
                </c:pt>
                <c:pt idx="716" formatCode="General">
                  <c:v>3.18</c:v>
                </c:pt>
                <c:pt idx="717" formatCode="General">
                  <c:v>3.19</c:v>
                </c:pt>
                <c:pt idx="718" formatCode="General">
                  <c:v>3.13</c:v>
                </c:pt>
                <c:pt idx="719" formatCode="General">
                  <c:v>3.06</c:v>
                </c:pt>
                <c:pt idx="720" formatCode="General">
                  <c:v>3.08</c:v>
                </c:pt>
                <c:pt idx="721" formatCode="General">
                  <c:v>3.01</c:v>
                </c:pt>
                <c:pt idx="722" formatCode="General">
                  <c:v>2.98</c:v>
                </c:pt>
                <c:pt idx="723" formatCode="General">
                  <c:v>3.08</c:v>
                </c:pt>
                <c:pt idx="724" formatCode="General">
                  <c:v>3.1</c:v>
                </c:pt>
                <c:pt idx="725" formatCode="General">
                  <c:v>3.01</c:v>
                </c:pt>
                <c:pt idx="726" formatCode="General">
                  <c:v>2.99</c:v>
                </c:pt>
                <c:pt idx="727" formatCode="General">
                  <c:v>3.02</c:v>
                </c:pt>
                <c:pt idx="728" formatCode="General">
                  <c:v>2.98</c:v>
                </c:pt>
                <c:pt idx="729" formatCode="General">
                  <c:v>3</c:v>
                </c:pt>
                <c:pt idx="730" formatCode="General">
                  <c:v>2.97</c:v>
                </c:pt>
                <c:pt idx="731" formatCode="General">
                  <c:v>2.98</c:v>
                </c:pt>
                <c:pt idx="732" formatCode="General">
                  <c:v>3.01</c:v>
                </c:pt>
                <c:pt idx="733" formatCode="General">
                  <c:v>3.08</c:v>
                </c:pt>
                <c:pt idx="734" formatCode="General">
                  <c:v>3.08</c:v>
                </c:pt>
                <c:pt idx="735" formatCode="General">
                  <c:v>3.05</c:v>
                </c:pt>
                <c:pt idx="736" formatCode="General">
                  <c:v>3.08</c:v>
                </c:pt>
                <c:pt idx="737" formatCode="General">
                  <c:v>3.05</c:v>
                </c:pt>
                <c:pt idx="738" formatCode="General">
                  <c:v>3.1</c:v>
                </c:pt>
                <c:pt idx="739" formatCode="General">
                  <c:v>3.09</c:v>
                </c:pt>
                <c:pt idx="740" formatCode="General">
                  <c:v>3.01</c:v>
                </c:pt>
                <c:pt idx="741" formatCode="General">
                  <c:v>2.96</c:v>
                </c:pt>
                <c:pt idx="742" formatCode="General">
                  <c:v>3.23</c:v>
                </c:pt>
                <c:pt idx="743" formatCode="General">
                  <c:v>3.43</c:v>
                </c:pt>
                <c:pt idx="744" formatCode="General">
                  <c:v>3.33</c:v>
                </c:pt>
                <c:pt idx="745" formatCode="General">
                  <c:v>3.29</c:v>
                </c:pt>
                <c:pt idx="746" formatCode="General">
                  <c:v>3.17</c:v>
                </c:pt>
                <c:pt idx="747" formatCode="General">
                  <c:v>3.16</c:v>
                </c:pt>
                <c:pt idx="748" formatCode="General">
                  <c:v>3.17</c:v>
                </c:pt>
                <c:pt idx="749" formatCode="General">
                  <c:v>3.15</c:v>
                </c:pt>
                <c:pt idx="750" formatCode="General">
                  <c:v>3.15</c:v>
                </c:pt>
                <c:pt idx="751" formatCode="General">
                  <c:v>3.11</c:v>
                </c:pt>
                <c:pt idx="752" formatCode="General">
                  <c:v>3.03</c:v>
                </c:pt>
                <c:pt idx="753" formatCode="General">
                  <c:v>2.96</c:v>
                </c:pt>
                <c:pt idx="754" formatCode="General">
                  <c:v>2.96</c:v>
                </c:pt>
                <c:pt idx="755" formatCode="General">
                  <c:v>2.94</c:v>
                </c:pt>
                <c:pt idx="756" formatCode="General">
                  <c:v>2.85</c:v>
                </c:pt>
                <c:pt idx="757" formatCode="General">
                  <c:v>2.85</c:v>
                </c:pt>
                <c:pt idx="758" formatCode="General">
                  <c:v>2.78</c:v>
                </c:pt>
                <c:pt idx="759" formatCode="General">
                  <c:v>2.66</c:v>
                </c:pt>
                <c:pt idx="760" formatCode="General">
                  <c:v>2.61</c:v>
                </c:pt>
                <c:pt idx="761" formatCode="General">
                  <c:v>2.6</c:v>
                </c:pt>
                <c:pt idx="762" formatCode="General">
                  <c:v>2.56</c:v>
                </c:pt>
                <c:pt idx="763" formatCode="General">
                  <c:v>2.65</c:v>
                </c:pt>
                <c:pt idx="764" formatCode="General">
                  <c:v>2.35</c:v>
                </c:pt>
                <c:pt idx="765" formatCode="General">
                  <c:v>2.34</c:v>
                </c:pt>
                <c:pt idx="766" formatCode="General">
                  <c:v>2.34</c:v>
                </c:pt>
                <c:pt idx="767" formatCode="General">
                  <c:v>2.31</c:v>
                </c:pt>
                <c:pt idx="768" formatCode="General">
                  <c:v>2.35</c:v>
                </c:pt>
                <c:pt idx="769" formatCode="General">
                  <c:v>2.38</c:v>
                </c:pt>
                <c:pt idx="770" formatCode="General">
                  <c:v>2.37</c:v>
                </c:pt>
                <c:pt idx="771" formatCode="General">
                  <c:v>2.37</c:v>
                </c:pt>
                <c:pt idx="772" formatCode="General">
                  <c:v>2.41</c:v>
                </c:pt>
                <c:pt idx="773" formatCode="General">
                  <c:v>2.5099999999999998</c:v>
                </c:pt>
                <c:pt idx="774" formatCode="General">
                  <c:v>2.56</c:v>
                </c:pt>
                <c:pt idx="775" formatCode="General">
                  <c:v>2.67</c:v>
                </c:pt>
                <c:pt idx="776" formatCode="General">
                  <c:v>2.69</c:v>
                </c:pt>
                <c:pt idx="777" formatCode="General">
                  <c:v>2.75</c:v>
                </c:pt>
                <c:pt idx="778" formatCode="General">
                  <c:v>2.69</c:v>
                </c:pt>
                <c:pt idx="779" formatCode="General">
                  <c:v>2.61</c:v>
                </c:pt>
                <c:pt idx="780" formatCode="General">
                  <c:v>2.62</c:v>
                </c:pt>
                <c:pt idx="781" formatCode="General">
                  <c:v>2.72</c:v>
                </c:pt>
                <c:pt idx="782" formatCode="General">
                  <c:v>2.87</c:v>
                </c:pt>
                <c:pt idx="783" formatCode="General">
                  <c:v>2.75</c:v>
                </c:pt>
                <c:pt idx="784" formatCode="General">
                  <c:v>2.74</c:v>
                </c:pt>
                <c:pt idx="785" formatCode="General">
                  <c:v>2.73</c:v>
                </c:pt>
                <c:pt idx="786" formatCode="General">
                  <c:v>2.66</c:v>
                </c:pt>
                <c:pt idx="787" formatCode="General">
                  <c:v>2.58</c:v>
                </c:pt>
                <c:pt idx="788" formatCode="General">
                  <c:v>2.4700000000000002</c:v>
                </c:pt>
                <c:pt idx="789" formatCode="General">
                  <c:v>2.4700000000000002</c:v>
                </c:pt>
                <c:pt idx="790" formatCode="General">
                  <c:v>2.42</c:v>
                </c:pt>
                <c:pt idx="791" formatCode="General">
                  <c:v>2.4500000000000002</c:v>
                </c:pt>
                <c:pt idx="792" formatCode="General">
                  <c:v>2.5299999999999998</c:v>
                </c:pt>
                <c:pt idx="793" formatCode="General">
                  <c:v>2.69</c:v>
                </c:pt>
                <c:pt idx="794" formatCode="General">
                  <c:v>2.67</c:v>
                </c:pt>
                <c:pt idx="795" formatCode="General">
                  <c:v>2.88</c:v>
                </c:pt>
                <c:pt idx="796" formatCode="General">
                  <c:v>3.1</c:v>
                </c:pt>
                <c:pt idx="797" formatCode="General">
                  <c:v>3.04</c:v>
                </c:pt>
                <c:pt idx="798" formatCode="General">
                  <c:v>2.9</c:v>
                </c:pt>
                <c:pt idx="799" formatCode="General">
                  <c:v>2.95</c:v>
                </c:pt>
                <c:pt idx="800" formatCode="General">
                  <c:v>2.94</c:v>
                </c:pt>
                <c:pt idx="801" formatCode="General">
                  <c:v>2.89</c:v>
                </c:pt>
                <c:pt idx="802" formatCode="General">
                  <c:v>2.84</c:v>
                </c:pt>
                <c:pt idx="803" formatCode="General">
                  <c:v>2.6</c:v>
                </c:pt>
                <c:pt idx="804" formatCode="General">
                  <c:v>2.54</c:v>
                </c:pt>
                <c:pt idx="805" formatCode="General">
                  <c:v>2.5</c:v>
                </c:pt>
                <c:pt idx="806" formatCode="General">
                  <c:v>2.5299999999999998</c:v>
                </c:pt>
                <c:pt idx="807" formatCode="General">
                  <c:v>2.4500000000000002</c:v>
                </c:pt>
                <c:pt idx="808" formatCode="General">
                  <c:v>2.54</c:v>
                </c:pt>
                <c:pt idx="809" formatCode="General">
                  <c:v>2.65</c:v>
                </c:pt>
                <c:pt idx="810" formatCode="General">
                  <c:v>2.57</c:v>
                </c:pt>
                <c:pt idx="811" formatCode="General">
                  <c:v>2.6</c:v>
                </c:pt>
                <c:pt idx="812" formatCode="General">
                  <c:v>2.65</c:v>
                </c:pt>
                <c:pt idx="813" formatCode="General">
                  <c:v>2.64</c:v>
                </c:pt>
                <c:pt idx="814" formatCode="General">
                  <c:v>2.62</c:v>
                </c:pt>
                <c:pt idx="815" formatCode="General">
                  <c:v>2.54</c:v>
                </c:pt>
                <c:pt idx="816" formatCode="General">
                  <c:v>2.4900000000000002</c:v>
                </c:pt>
                <c:pt idx="817" formatCode="General">
                  <c:v>2.56</c:v>
                </c:pt>
                <c:pt idx="818" formatCode="General">
                  <c:v>2.63</c:v>
                </c:pt>
                <c:pt idx="819" formatCode="General">
                  <c:v>2.6</c:v>
                </c:pt>
                <c:pt idx="820" formatCode="General">
                  <c:v>2.59</c:v>
                </c:pt>
                <c:pt idx="821" formatCode="General">
                  <c:v>2.61</c:v>
                </c:pt>
                <c:pt idx="822" formatCode="General">
                  <c:v>2.63</c:v>
                </c:pt>
                <c:pt idx="823" formatCode="General">
                  <c:v>2.65</c:v>
                </c:pt>
                <c:pt idx="824" formatCode="General">
                  <c:v>2.64</c:v>
                </c:pt>
                <c:pt idx="825" formatCode="General">
                  <c:v>2.67</c:v>
                </c:pt>
                <c:pt idx="826" formatCode="General">
                  <c:v>2.7</c:v>
                </c:pt>
                <c:pt idx="827" formatCode="General">
                  <c:v>2.64</c:v>
                </c:pt>
                <c:pt idx="828" formatCode="General">
                  <c:v>2.66</c:v>
                </c:pt>
                <c:pt idx="829" formatCode="General">
                  <c:v>2.67</c:v>
                </c:pt>
                <c:pt idx="830" formatCode="General">
                  <c:v>2.73</c:v>
                </c:pt>
                <c:pt idx="831" formatCode="General">
                  <c:v>2.88</c:v>
                </c:pt>
                <c:pt idx="832" formatCode="General">
                  <c:v>2.92</c:v>
                </c:pt>
                <c:pt idx="833" formatCode="General">
                  <c:v>2.9</c:v>
                </c:pt>
                <c:pt idx="834" formatCode="General">
                  <c:v>3.03</c:v>
                </c:pt>
                <c:pt idx="835" formatCode="General">
                  <c:v>3.14</c:v>
                </c:pt>
                <c:pt idx="836" formatCode="General">
                  <c:v>3.05</c:v>
                </c:pt>
                <c:pt idx="837" formatCode="General">
                  <c:v>3.02</c:v>
                </c:pt>
                <c:pt idx="838" formatCode="General">
                  <c:v>3.17</c:v>
                </c:pt>
                <c:pt idx="839" formatCode="General">
                  <c:v>3.13</c:v>
                </c:pt>
                <c:pt idx="840" formatCode="General">
                  <c:v>3.19</c:v>
                </c:pt>
                <c:pt idx="841" formatCode="General">
                  <c:v>3.05</c:v>
                </c:pt>
                <c:pt idx="842" formatCode="General">
                  <c:v>3.02</c:v>
                </c:pt>
                <c:pt idx="843" formatCode="General">
                  <c:v>3.02</c:v>
                </c:pt>
                <c:pt idx="844" formatCode="0.00">
                  <c:v>3</c:v>
                </c:pt>
                <c:pt idx="845" formatCode="0.00">
                  <c:v>2.99</c:v>
                </c:pt>
                <c:pt idx="846" formatCode="0.00">
                  <c:v>2.97</c:v>
                </c:pt>
                <c:pt idx="847" formatCode="0.00">
                  <c:v>2.96</c:v>
                </c:pt>
                <c:pt idx="848" formatCode="0.00">
                  <c:v>2.94</c:v>
                </c:pt>
                <c:pt idx="849" formatCode="0.00">
                  <c:v>2.87</c:v>
                </c:pt>
                <c:pt idx="850" formatCode="0.00">
                  <c:v>2.8</c:v>
                </c:pt>
                <c:pt idx="851" formatCode="0.00">
                  <c:v>2.82</c:v>
                </c:pt>
                <c:pt idx="852" formatCode="0.00">
                  <c:v>2.77</c:v>
                </c:pt>
                <c:pt idx="853" formatCode="0.00">
                  <c:v>2.75</c:v>
                </c:pt>
                <c:pt idx="854" formatCode="0.00">
                  <c:v>2.86</c:v>
                </c:pt>
                <c:pt idx="855" formatCode="0.00">
                  <c:v>2.78</c:v>
                </c:pt>
                <c:pt idx="856" formatCode="0.00">
                  <c:v>2.9</c:v>
                </c:pt>
                <c:pt idx="857" formatCode="0.00">
                  <c:v>2.93</c:v>
                </c:pt>
                <c:pt idx="858" formatCode="0.00">
                  <c:v>3.07</c:v>
                </c:pt>
                <c:pt idx="859" formatCode="0.00">
                  <c:v>3.06</c:v>
                </c:pt>
                <c:pt idx="860" formatCode="0.00">
                  <c:v>3.01</c:v>
                </c:pt>
                <c:pt idx="861" formatCode="0.00">
                  <c:v>3.17</c:v>
                </c:pt>
                <c:pt idx="862" formatCode="0.00">
                  <c:v>3.17</c:v>
                </c:pt>
                <c:pt idx="863" formatCode="0.00">
                  <c:v>3.12</c:v>
                </c:pt>
                <c:pt idx="864" formatCode="0.00">
                  <c:v>3.07</c:v>
                </c:pt>
                <c:pt idx="865" formatCode="0.00">
                  <c:v>3.09</c:v>
                </c:pt>
                <c:pt idx="866" formatCode="0.00">
                  <c:v>3.01</c:v>
                </c:pt>
                <c:pt idx="867" formatCode="0.00">
                  <c:v>2.93</c:v>
                </c:pt>
                <c:pt idx="868" formatCode="0.00">
                  <c:v>2.91</c:v>
                </c:pt>
                <c:pt idx="869" formatCode="0.00">
                  <c:v>2.92</c:v>
                </c:pt>
                <c:pt idx="870" formatCode="0.00">
                  <c:v>2.88</c:v>
                </c:pt>
                <c:pt idx="871" formatCode="0.00">
                  <c:v>3.02</c:v>
                </c:pt>
                <c:pt idx="872" formatCode="0.00">
                  <c:v>2.98</c:v>
                </c:pt>
                <c:pt idx="873" formatCode="0.00">
                  <c:v>2.93</c:v>
                </c:pt>
                <c:pt idx="874" formatCode="0.00">
                  <c:v>2.97</c:v>
                </c:pt>
                <c:pt idx="875" formatCode="0.00">
                  <c:v>2.92</c:v>
                </c:pt>
                <c:pt idx="876" formatCode="0.00">
                  <c:v>2.95</c:v>
                </c:pt>
                <c:pt idx="877" formatCode="General">
                  <c:v>2.84</c:v>
                </c:pt>
                <c:pt idx="878" formatCode="General">
                  <c:v>2.89</c:v>
                </c:pt>
                <c:pt idx="879" formatCode="General">
                  <c:v>2.79</c:v>
                </c:pt>
                <c:pt idx="880" formatCode="General">
                  <c:v>2.76</c:v>
                </c:pt>
                <c:pt idx="881" formatCode="General">
                  <c:v>2.76</c:v>
                </c:pt>
                <c:pt idx="882" formatCode="General">
                  <c:v>2.78</c:v>
                </c:pt>
                <c:pt idx="883" formatCode="General">
                  <c:v>2.77</c:v>
                </c:pt>
                <c:pt idx="884" formatCode="General">
                  <c:v>2.71</c:v>
                </c:pt>
                <c:pt idx="885" formatCode="General">
                  <c:v>2.75</c:v>
                </c:pt>
                <c:pt idx="886" formatCode="General">
                  <c:v>2.75</c:v>
                </c:pt>
                <c:pt idx="887" formatCode="General">
                  <c:v>2.81</c:v>
                </c:pt>
                <c:pt idx="888" formatCode="General">
                  <c:v>2.8</c:v>
                </c:pt>
                <c:pt idx="889" formatCode="General">
                  <c:v>2.68</c:v>
                </c:pt>
                <c:pt idx="890" formatCode="General">
                  <c:v>2.72</c:v>
                </c:pt>
                <c:pt idx="896" formatCode="0.00">
                  <c:v>2.9645454545454544</c:v>
                </c:pt>
                <c:pt idx="897" formatCode="0.00">
                  <c:v>2.8099999999999996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yield_out!$G$1</c:f>
              <c:strCache>
                <c:ptCount val="1"/>
                <c:pt idx="0">
                  <c:v>10 éves</c:v>
                </c:pt>
              </c:strCache>
            </c:strRef>
          </c:tx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G$1012:$G$1980</c:f>
              <c:numCache>
                <c:formatCode>#\ ##0.00\ </c:formatCode>
                <c:ptCount val="969"/>
                <c:pt idx="0">
                  <c:v>10.039999999999999</c:v>
                </c:pt>
                <c:pt idx="1">
                  <c:v>10.32</c:v>
                </c:pt>
                <c:pt idx="2">
                  <c:v>10.58</c:v>
                </c:pt>
                <c:pt idx="3">
                  <c:v>10.69</c:v>
                </c:pt>
                <c:pt idx="4">
                  <c:v>9.98</c:v>
                </c:pt>
                <c:pt idx="5">
                  <c:v>9.69</c:v>
                </c:pt>
                <c:pt idx="6">
                  <c:v>9.73</c:v>
                </c:pt>
                <c:pt idx="7">
                  <c:v>9.48</c:v>
                </c:pt>
                <c:pt idx="8">
                  <c:v>9.2899999999999991</c:v>
                </c:pt>
                <c:pt idx="9">
                  <c:v>9.48</c:v>
                </c:pt>
                <c:pt idx="10">
                  <c:v>9.6</c:v>
                </c:pt>
                <c:pt idx="11">
                  <c:v>9.7100000000000009</c:v>
                </c:pt>
                <c:pt idx="12">
                  <c:v>9.48</c:v>
                </c:pt>
                <c:pt idx="13">
                  <c:v>9.18</c:v>
                </c:pt>
                <c:pt idx="14">
                  <c:v>9.31</c:v>
                </c:pt>
                <c:pt idx="15">
                  <c:v>9.26</c:v>
                </c:pt>
                <c:pt idx="16">
                  <c:v>9.14</c:v>
                </c:pt>
                <c:pt idx="17">
                  <c:v>8.9</c:v>
                </c:pt>
                <c:pt idx="18">
                  <c:v>8.75</c:v>
                </c:pt>
                <c:pt idx="19">
                  <c:v>8.77</c:v>
                </c:pt>
                <c:pt idx="20">
                  <c:v>8.93</c:v>
                </c:pt>
                <c:pt idx="21">
                  <c:v>8.89</c:v>
                </c:pt>
                <c:pt idx="22">
                  <c:v>8.8800000000000008</c:v>
                </c:pt>
                <c:pt idx="23">
                  <c:v>8.7899999999999991</c:v>
                </c:pt>
                <c:pt idx="24">
                  <c:v>8.6999999999999993</c:v>
                </c:pt>
                <c:pt idx="25">
                  <c:v>8.6</c:v>
                </c:pt>
                <c:pt idx="26">
                  <c:v>8.5299999999999994</c:v>
                </c:pt>
                <c:pt idx="27">
                  <c:v>8.31</c:v>
                </c:pt>
                <c:pt idx="28">
                  <c:v>8.4499999999999993</c:v>
                </c:pt>
                <c:pt idx="29">
                  <c:v>8.65</c:v>
                </c:pt>
                <c:pt idx="30">
                  <c:v>8.5</c:v>
                </c:pt>
                <c:pt idx="31">
                  <c:v>8.61</c:v>
                </c:pt>
                <c:pt idx="32">
                  <c:v>8.27</c:v>
                </c:pt>
                <c:pt idx="33">
                  <c:v>8.5</c:v>
                </c:pt>
                <c:pt idx="34">
                  <c:v>8.42</c:v>
                </c:pt>
                <c:pt idx="35">
                  <c:v>8.3800000000000008</c:v>
                </c:pt>
                <c:pt idx="36">
                  <c:v>8.49</c:v>
                </c:pt>
                <c:pt idx="37">
                  <c:v>8.82</c:v>
                </c:pt>
                <c:pt idx="38">
                  <c:v>8.83</c:v>
                </c:pt>
                <c:pt idx="39">
                  <c:v>8.65</c:v>
                </c:pt>
                <c:pt idx="40">
                  <c:v>8.86</c:v>
                </c:pt>
                <c:pt idx="41">
                  <c:v>8.73</c:v>
                </c:pt>
                <c:pt idx="42">
                  <c:v>8.57</c:v>
                </c:pt>
                <c:pt idx="43">
                  <c:v>8.4</c:v>
                </c:pt>
                <c:pt idx="44">
                  <c:v>8.43</c:v>
                </c:pt>
                <c:pt idx="45">
                  <c:v>8.6</c:v>
                </c:pt>
                <c:pt idx="46">
                  <c:v>8.64</c:v>
                </c:pt>
                <c:pt idx="47">
                  <c:v>8.6999999999999993</c:v>
                </c:pt>
                <c:pt idx="48">
                  <c:v>8.6300000000000008</c:v>
                </c:pt>
                <c:pt idx="49">
                  <c:v>8.65</c:v>
                </c:pt>
                <c:pt idx="50">
                  <c:v>8.68</c:v>
                </c:pt>
                <c:pt idx="51">
                  <c:v>8.66</c:v>
                </c:pt>
                <c:pt idx="52">
                  <c:v>8.61</c:v>
                </c:pt>
                <c:pt idx="53">
                  <c:v>8.6199999999999992</c:v>
                </c:pt>
                <c:pt idx="54">
                  <c:v>8.69</c:v>
                </c:pt>
                <c:pt idx="55">
                  <c:v>8.73</c:v>
                </c:pt>
                <c:pt idx="56">
                  <c:v>8.8800000000000008</c:v>
                </c:pt>
                <c:pt idx="57">
                  <c:v>8.93</c:v>
                </c:pt>
                <c:pt idx="58">
                  <c:v>8.94</c:v>
                </c:pt>
                <c:pt idx="59">
                  <c:v>8.82</c:v>
                </c:pt>
                <c:pt idx="60">
                  <c:v>8.93</c:v>
                </c:pt>
                <c:pt idx="61">
                  <c:v>9.01</c:v>
                </c:pt>
                <c:pt idx="62">
                  <c:v>9.06</c:v>
                </c:pt>
                <c:pt idx="63">
                  <c:v>8.89</c:v>
                </c:pt>
                <c:pt idx="64">
                  <c:v>8.86</c:v>
                </c:pt>
                <c:pt idx="65">
                  <c:v>8.9700000000000006</c:v>
                </c:pt>
                <c:pt idx="66">
                  <c:v>9.0299999999999994</c:v>
                </c:pt>
                <c:pt idx="67">
                  <c:v>9.0399999999999991</c:v>
                </c:pt>
                <c:pt idx="68">
                  <c:v>8.9700000000000006</c:v>
                </c:pt>
                <c:pt idx="69">
                  <c:v>8.91</c:v>
                </c:pt>
                <c:pt idx="70">
                  <c:v>8.9700000000000006</c:v>
                </c:pt>
                <c:pt idx="71">
                  <c:v>8.98</c:v>
                </c:pt>
                <c:pt idx="72">
                  <c:v>8.9600000000000009</c:v>
                </c:pt>
                <c:pt idx="73">
                  <c:v>8.8800000000000008</c:v>
                </c:pt>
                <c:pt idx="74">
                  <c:v>8.8699999999999992</c:v>
                </c:pt>
                <c:pt idx="75">
                  <c:v>8.83</c:v>
                </c:pt>
                <c:pt idx="76">
                  <c:v>8.89</c:v>
                </c:pt>
                <c:pt idx="77">
                  <c:v>8.9</c:v>
                </c:pt>
                <c:pt idx="78">
                  <c:v>7.97</c:v>
                </c:pt>
                <c:pt idx="79">
                  <c:v>7.97</c:v>
                </c:pt>
                <c:pt idx="80">
                  <c:v>7.98</c:v>
                </c:pt>
                <c:pt idx="81">
                  <c:v>7.98</c:v>
                </c:pt>
                <c:pt idx="82">
                  <c:v>7.96</c:v>
                </c:pt>
                <c:pt idx="83">
                  <c:v>7.99</c:v>
                </c:pt>
                <c:pt idx="84">
                  <c:v>8.1</c:v>
                </c:pt>
                <c:pt idx="85">
                  <c:v>8.08</c:v>
                </c:pt>
                <c:pt idx="86">
                  <c:v>8.19</c:v>
                </c:pt>
                <c:pt idx="87">
                  <c:v>8.1999999999999993</c:v>
                </c:pt>
                <c:pt idx="88">
                  <c:v>8.1999999999999993</c:v>
                </c:pt>
                <c:pt idx="89">
                  <c:v>8.24</c:v>
                </c:pt>
                <c:pt idx="90">
                  <c:v>8.2200000000000006</c:v>
                </c:pt>
                <c:pt idx="91">
                  <c:v>8.43</c:v>
                </c:pt>
                <c:pt idx="92">
                  <c:v>8.49</c:v>
                </c:pt>
                <c:pt idx="93">
                  <c:v>8.5399999999999991</c:v>
                </c:pt>
                <c:pt idx="94">
                  <c:v>8.4700000000000006</c:v>
                </c:pt>
                <c:pt idx="95">
                  <c:v>8.41</c:v>
                </c:pt>
                <c:pt idx="96">
                  <c:v>8.6199999999999992</c:v>
                </c:pt>
                <c:pt idx="97">
                  <c:v>8.5399999999999991</c:v>
                </c:pt>
                <c:pt idx="98">
                  <c:v>8.48</c:v>
                </c:pt>
                <c:pt idx="99">
                  <c:v>8.4700000000000006</c:v>
                </c:pt>
                <c:pt idx="100">
                  <c:v>8.5299999999999994</c:v>
                </c:pt>
                <c:pt idx="101">
                  <c:v>8.7100000000000009</c:v>
                </c:pt>
                <c:pt idx="102">
                  <c:v>8.9499999999999993</c:v>
                </c:pt>
                <c:pt idx="103">
                  <c:v>8.86</c:v>
                </c:pt>
                <c:pt idx="104">
                  <c:v>8.83</c:v>
                </c:pt>
                <c:pt idx="105">
                  <c:v>8.73</c:v>
                </c:pt>
                <c:pt idx="106">
                  <c:v>8.2799999999999994</c:v>
                </c:pt>
                <c:pt idx="107">
                  <c:v>8.3699999999999992</c:v>
                </c:pt>
                <c:pt idx="108">
                  <c:v>8.43</c:v>
                </c:pt>
                <c:pt idx="109">
                  <c:v>8.4600000000000009</c:v>
                </c:pt>
                <c:pt idx="110">
                  <c:v>8.49</c:v>
                </c:pt>
                <c:pt idx="111">
                  <c:v>8.51</c:v>
                </c:pt>
                <c:pt idx="112">
                  <c:v>8.4499999999999993</c:v>
                </c:pt>
                <c:pt idx="113">
                  <c:v>8.19</c:v>
                </c:pt>
                <c:pt idx="114">
                  <c:v>8.08</c:v>
                </c:pt>
                <c:pt idx="115">
                  <c:v>8.0500000000000007</c:v>
                </c:pt>
                <c:pt idx="116">
                  <c:v>7.93</c:v>
                </c:pt>
                <c:pt idx="117">
                  <c:v>8.01</c:v>
                </c:pt>
                <c:pt idx="118">
                  <c:v>8.02</c:v>
                </c:pt>
                <c:pt idx="119">
                  <c:v>7.97</c:v>
                </c:pt>
                <c:pt idx="120">
                  <c:v>8</c:v>
                </c:pt>
                <c:pt idx="121">
                  <c:v>7.87</c:v>
                </c:pt>
                <c:pt idx="122">
                  <c:v>7.9</c:v>
                </c:pt>
                <c:pt idx="123">
                  <c:v>7.8</c:v>
                </c:pt>
                <c:pt idx="124">
                  <c:v>7.82</c:v>
                </c:pt>
                <c:pt idx="125">
                  <c:v>7.75</c:v>
                </c:pt>
                <c:pt idx="126">
                  <c:v>7.75</c:v>
                </c:pt>
                <c:pt idx="127">
                  <c:v>7.85</c:v>
                </c:pt>
                <c:pt idx="128">
                  <c:v>7.9</c:v>
                </c:pt>
                <c:pt idx="129">
                  <c:v>7.89</c:v>
                </c:pt>
                <c:pt idx="130">
                  <c:v>7.91</c:v>
                </c:pt>
                <c:pt idx="131">
                  <c:v>7.85</c:v>
                </c:pt>
                <c:pt idx="132">
                  <c:v>7.62</c:v>
                </c:pt>
                <c:pt idx="133">
                  <c:v>7.31</c:v>
                </c:pt>
                <c:pt idx="134">
                  <c:v>7.25</c:v>
                </c:pt>
                <c:pt idx="135">
                  <c:v>7.34</c:v>
                </c:pt>
                <c:pt idx="136">
                  <c:v>7.13</c:v>
                </c:pt>
                <c:pt idx="137">
                  <c:v>7.18</c:v>
                </c:pt>
                <c:pt idx="138">
                  <c:v>7.3</c:v>
                </c:pt>
                <c:pt idx="139">
                  <c:v>7.32</c:v>
                </c:pt>
                <c:pt idx="140">
                  <c:v>7.64</c:v>
                </c:pt>
                <c:pt idx="141">
                  <c:v>7.6</c:v>
                </c:pt>
                <c:pt idx="142">
                  <c:v>7.47</c:v>
                </c:pt>
                <c:pt idx="143">
                  <c:v>7.36</c:v>
                </c:pt>
                <c:pt idx="144">
                  <c:v>7.37</c:v>
                </c:pt>
                <c:pt idx="145">
                  <c:v>7.4</c:v>
                </c:pt>
                <c:pt idx="146">
                  <c:v>7.39</c:v>
                </c:pt>
                <c:pt idx="147">
                  <c:v>7.42</c:v>
                </c:pt>
                <c:pt idx="148">
                  <c:v>7.29</c:v>
                </c:pt>
                <c:pt idx="149">
                  <c:v>7.31</c:v>
                </c:pt>
                <c:pt idx="150">
                  <c:v>7.42</c:v>
                </c:pt>
                <c:pt idx="151">
                  <c:v>7.3</c:v>
                </c:pt>
                <c:pt idx="152">
                  <c:v>7.36</c:v>
                </c:pt>
                <c:pt idx="153">
                  <c:v>7.37</c:v>
                </c:pt>
                <c:pt idx="154">
                  <c:v>7.39</c:v>
                </c:pt>
                <c:pt idx="155">
                  <c:v>7.38</c:v>
                </c:pt>
                <c:pt idx="156">
                  <c:v>7.39</c:v>
                </c:pt>
                <c:pt idx="157">
                  <c:v>7.39</c:v>
                </c:pt>
                <c:pt idx="158">
                  <c:v>7.35</c:v>
                </c:pt>
                <c:pt idx="159">
                  <c:v>7.36</c:v>
                </c:pt>
                <c:pt idx="160">
                  <c:v>7.31</c:v>
                </c:pt>
                <c:pt idx="161">
                  <c:v>7.36</c:v>
                </c:pt>
                <c:pt idx="162">
                  <c:v>7.37</c:v>
                </c:pt>
                <c:pt idx="163">
                  <c:v>7.4</c:v>
                </c:pt>
                <c:pt idx="164">
                  <c:v>7.4</c:v>
                </c:pt>
                <c:pt idx="165">
                  <c:v>7.4</c:v>
                </c:pt>
                <c:pt idx="166">
                  <c:v>7.25</c:v>
                </c:pt>
                <c:pt idx="167">
                  <c:v>7.28</c:v>
                </c:pt>
                <c:pt idx="168">
                  <c:v>7.27</c:v>
                </c:pt>
                <c:pt idx="169">
                  <c:v>7.33</c:v>
                </c:pt>
                <c:pt idx="170">
                  <c:v>7.35</c:v>
                </c:pt>
                <c:pt idx="171">
                  <c:v>7.47</c:v>
                </c:pt>
                <c:pt idx="172">
                  <c:v>7.37</c:v>
                </c:pt>
                <c:pt idx="173">
                  <c:v>7.35</c:v>
                </c:pt>
                <c:pt idx="174">
                  <c:v>7.27</c:v>
                </c:pt>
                <c:pt idx="175">
                  <c:v>7.29</c:v>
                </c:pt>
                <c:pt idx="176">
                  <c:v>7.16</c:v>
                </c:pt>
                <c:pt idx="177">
                  <c:v>7.24</c:v>
                </c:pt>
                <c:pt idx="178">
                  <c:v>7.28</c:v>
                </c:pt>
                <c:pt idx="179">
                  <c:v>7.27</c:v>
                </c:pt>
                <c:pt idx="180">
                  <c:v>7.29</c:v>
                </c:pt>
                <c:pt idx="181">
                  <c:v>7.25</c:v>
                </c:pt>
                <c:pt idx="182">
                  <c:v>7.24</c:v>
                </c:pt>
                <c:pt idx="183">
                  <c:v>7.18</c:v>
                </c:pt>
                <c:pt idx="184">
                  <c:v>7.24</c:v>
                </c:pt>
                <c:pt idx="185">
                  <c:v>7.26</c:v>
                </c:pt>
                <c:pt idx="186">
                  <c:v>7.24</c:v>
                </c:pt>
                <c:pt idx="187">
                  <c:v>7.31</c:v>
                </c:pt>
                <c:pt idx="188">
                  <c:v>7.36</c:v>
                </c:pt>
                <c:pt idx="189">
                  <c:v>7.37</c:v>
                </c:pt>
                <c:pt idx="190">
                  <c:v>7.39</c:v>
                </c:pt>
                <c:pt idx="191">
                  <c:v>7.26</c:v>
                </c:pt>
                <c:pt idx="192">
                  <c:v>7.2</c:v>
                </c:pt>
                <c:pt idx="193">
                  <c:v>7.17</c:v>
                </c:pt>
                <c:pt idx="194">
                  <c:v>7.15</c:v>
                </c:pt>
                <c:pt idx="195">
                  <c:v>7.07</c:v>
                </c:pt>
                <c:pt idx="196">
                  <c:v>6.8</c:v>
                </c:pt>
                <c:pt idx="197">
                  <c:v>6.69</c:v>
                </c:pt>
                <c:pt idx="198">
                  <c:v>6.49</c:v>
                </c:pt>
                <c:pt idx="199">
                  <c:v>6.68</c:v>
                </c:pt>
                <c:pt idx="200">
                  <c:v>6.51</c:v>
                </c:pt>
                <c:pt idx="201">
                  <c:v>6.6</c:v>
                </c:pt>
                <c:pt idx="202">
                  <c:v>6.55</c:v>
                </c:pt>
                <c:pt idx="203">
                  <c:v>6.56</c:v>
                </c:pt>
                <c:pt idx="204">
                  <c:v>6.75</c:v>
                </c:pt>
                <c:pt idx="205">
                  <c:v>7.12</c:v>
                </c:pt>
                <c:pt idx="206">
                  <c:v>6.92</c:v>
                </c:pt>
                <c:pt idx="207">
                  <c:v>6.88</c:v>
                </c:pt>
                <c:pt idx="208">
                  <c:v>6.87</c:v>
                </c:pt>
                <c:pt idx="209">
                  <c:v>6.86</c:v>
                </c:pt>
                <c:pt idx="210">
                  <c:v>6.8</c:v>
                </c:pt>
                <c:pt idx="211">
                  <c:v>6.95</c:v>
                </c:pt>
                <c:pt idx="212">
                  <c:v>6.91</c:v>
                </c:pt>
                <c:pt idx="213">
                  <c:v>6.85</c:v>
                </c:pt>
                <c:pt idx="214">
                  <c:v>6.89</c:v>
                </c:pt>
                <c:pt idx="215">
                  <c:v>6.83</c:v>
                </c:pt>
                <c:pt idx="216">
                  <c:v>6.81</c:v>
                </c:pt>
                <c:pt idx="217">
                  <c:v>6.81</c:v>
                </c:pt>
                <c:pt idx="218">
                  <c:v>6.84</c:v>
                </c:pt>
                <c:pt idx="219">
                  <c:v>6.82</c:v>
                </c:pt>
                <c:pt idx="220">
                  <c:v>6.9</c:v>
                </c:pt>
                <c:pt idx="221">
                  <c:v>6.88</c:v>
                </c:pt>
                <c:pt idx="222">
                  <c:v>6.86</c:v>
                </c:pt>
                <c:pt idx="223">
                  <c:v>6.93</c:v>
                </c:pt>
                <c:pt idx="224">
                  <c:v>6.91</c:v>
                </c:pt>
                <c:pt idx="225">
                  <c:v>6.91</c:v>
                </c:pt>
                <c:pt idx="226">
                  <c:v>6.86</c:v>
                </c:pt>
                <c:pt idx="227">
                  <c:v>6.82</c:v>
                </c:pt>
                <c:pt idx="228">
                  <c:v>6.82</c:v>
                </c:pt>
                <c:pt idx="229">
                  <c:v>6.84</c:v>
                </c:pt>
                <c:pt idx="230">
                  <c:v>6.8</c:v>
                </c:pt>
                <c:pt idx="231">
                  <c:v>6.75</c:v>
                </c:pt>
                <c:pt idx="232">
                  <c:v>6.69</c:v>
                </c:pt>
                <c:pt idx="233">
                  <c:v>6.55</c:v>
                </c:pt>
                <c:pt idx="234">
                  <c:v>6.27</c:v>
                </c:pt>
                <c:pt idx="235">
                  <c:v>6.39</c:v>
                </c:pt>
                <c:pt idx="236">
                  <c:v>6.34</c:v>
                </c:pt>
                <c:pt idx="237">
                  <c:v>6.39</c:v>
                </c:pt>
                <c:pt idx="238">
                  <c:v>6.4</c:v>
                </c:pt>
                <c:pt idx="239">
                  <c:v>6.44</c:v>
                </c:pt>
                <c:pt idx="240">
                  <c:v>6.33</c:v>
                </c:pt>
                <c:pt idx="241">
                  <c:v>6.16</c:v>
                </c:pt>
                <c:pt idx="242">
                  <c:v>6.1</c:v>
                </c:pt>
                <c:pt idx="243">
                  <c:v>6.12</c:v>
                </c:pt>
                <c:pt idx="244">
                  <c:v>6.11</c:v>
                </c:pt>
                <c:pt idx="245">
                  <c:v>6.08</c:v>
                </c:pt>
                <c:pt idx="246">
                  <c:v>5.93</c:v>
                </c:pt>
                <c:pt idx="247">
                  <c:v>6.33</c:v>
                </c:pt>
                <c:pt idx="248">
                  <c:v>6.15</c:v>
                </c:pt>
                <c:pt idx="249">
                  <c:v>6.13</c:v>
                </c:pt>
                <c:pt idx="250">
                  <c:v>6.12</c:v>
                </c:pt>
                <c:pt idx="251">
                  <c:v>6.05</c:v>
                </c:pt>
                <c:pt idx="252">
                  <c:v>6.22</c:v>
                </c:pt>
                <c:pt idx="253">
                  <c:v>6.17</c:v>
                </c:pt>
                <c:pt idx="254">
                  <c:v>6.1</c:v>
                </c:pt>
                <c:pt idx="255">
                  <c:v>6.17</c:v>
                </c:pt>
                <c:pt idx="256">
                  <c:v>6.19</c:v>
                </c:pt>
                <c:pt idx="257">
                  <c:v>6.22</c:v>
                </c:pt>
                <c:pt idx="258">
                  <c:v>6.24</c:v>
                </c:pt>
                <c:pt idx="259">
                  <c:v>6.29</c:v>
                </c:pt>
                <c:pt idx="260">
                  <c:v>6.3</c:v>
                </c:pt>
                <c:pt idx="261">
                  <c:v>6.27</c:v>
                </c:pt>
                <c:pt idx="262">
                  <c:v>6.41</c:v>
                </c:pt>
                <c:pt idx="263">
                  <c:v>6.44</c:v>
                </c:pt>
                <c:pt idx="264">
                  <c:v>6.42</c:v>
                </c:pt>
                <c:pt idx="265">
                  <c:v>6.4</c:v>
                </c:pt>
                <c:pt idx="266">
                  <c:v>6.34</c:v>
                </c:pt>
                <c:pt idx="267">
                  <c:v>6.34</c:v>
                </c:pt>
                <c:pt idx="268">
                  <c:v>6.31</c:v>
                </c:pt>
                <c:pt idx="269">
                  <c:v>6.38</c:v>
                </c:pt>
                <c:pt idx="270">
                  <c:v>6.46</c:v>
                </c:pt>
                <c:pt idx="271">
                  <c:v>6.46</c:v>
                </c:pt>
                <c:pt idx="272">
                  <c:v>6.43</c:v>
                </c:pt>
                <c:pt idx="273">
                  <c:v>6.37</c:v>
                </c:pt>
                <c:pt idx="274">
                  <c:v>6.35</c:v>
                </c:pt>
                <c:pt idx="275">
                  <c:v>6.28</c:v>
                </c:pt>
                <c:pt idx="276">
                  <c:v>6.28</c:v>
                </c:pt>
                <c:pt idx="277">
                  <c:v>6.32</c:v>
                </c:pt>
                <c:pt idx="278">
                  <c:v>6.26</c:v>
                </c:pt>
                <c:pt idx="279">
                  <c:v>6.05</c:v>
                </c:pt>
                <c:pt idx="280">
                  <c:v>6.19</c:v>
                </c:pt>
                <c:pt idx="281">
                  <c:v>6.22</c:v>
                </c:pt>
                <c:pt idx="282">
                  <c:v>6.19</c:v>
                </c:pt>
                <c:pt idx="283">
                  <c:v>6.19</c:v>
                </c:pt>
                <c:pt idx="284">
                  <c:v>6.24</c:v>
                </c:pt>
                <c:pt idx="285">
                  <c:v>6.26</c:v>
                </c:pt>
                <c:pt idx="286">
                  <c:v>6.25</c:v>
                </c:pt>
                <c:pt idx="287">
                  <c:v>6.14</c:v>
                </c:pt>
                <c:pt idx="288">
                  <c:v>6.2</c:v>
                </c:pt>
                <c:pt idx="289">
                  <c:v>6.31</c:v>
                </c:pt>
                <c:pt idx="290">
                  <c:v>6.3</c:v>
                </c:pt>
                <c:pt idx="291">
                  <c:v>6.33</c:v>
                </c:pt>
                <c:pt idx="292">
                  <c:v>6.33</c:v>
                </c:pt>
                <c:pt idx="293">
                  <c:v>6.41</c:v>
                </c:pt>
                <c:pt idx="294">
                  <c:v>6.42</c:v>
                </c:pt>
                <c:pt idx="295">
                  <c:v>6.52</c:v>
                </c:pt>
                <c:pt idx="296">
                  <c:v>6.5</c:v>
                </c:pt>
                <c:pt idx="297">
                  <c:v>6.53</c:v>
                </c:pt>
                <c:pt idx="298">
                  <c:v>6.49</c:v>
                </c:pt>
                <c:pt idx="299">
                  <c:v>6.47</c:v>
                </c:pt>
                <c:pt idx="300">
                  <c:v>6.43</c:v>
                </c:pt>
                <c:pt idx="301">
                  <c:v>6.51</c:v>
                </c:pt>
                <c:pt idx="302">
                  <c:v>6.45</c:v>
                </c:pt>
                <c:pt idx="303">
                  <c:v>6.38</c:v>
                </c:pt>
                <c:pt idx="304">
                  <c:v>6.27</c:v>
                </c:pt>
                <c:pt idx="305">
                  <c:v>6.27</c:v>
                </c:pt>
                <c:pt idx="306">
                  <c:v>6.23</c:v>
                </c:pt>
                <c:pt idx="307">
                  <c:v>6.11</c:v>
                </c:pt>
                <c:pt idx="308">
                  <c:v>5.99</c:v>
                </c:pt>
                <c:pt idx="309">
                  <c:v>6.02</c:v>
                </c:pt>
                <c:pt idx="310">
                  <c:v>5.83</c:v>
                </c:pt>
                <c:pt idx="311">
                  <c:v>5.8</c:v>
                </c:pt>
                <c:pt idx="312">
                  <c:v>5.79</c:v>
                </c:pt>
                <c:pt idx="313">
                  <c:v>5.75</c:v>
                </c:pt>
                <c:pt idx="314">
                  <c:v>5.68</c:v>
                </c:pt>
                <c:pt idx="315">
                  <c:v>5.56</c:v>
                </c:pt>
                <c:pt idx="316">
                  <c:v>5.53</c:v>
                </c:pt>
                <c:pt idx="317">
                  <c:v>5.56</c:v>
                </c:pt>
                <c:pt idx="318">
                  <c:v>5.53</c:v>
                </c:pt>
                <c:pt idx="319">
                  <c:v>5.49</c:v>
                </c:pt>
                <c:pt idx="320">
                  <c:v>5.5</c:v>
                </c:pt>
                <c:pt idx="321">
                  <c:v>5.33</c:v>
                </c:pt>
                <c:pt idx="322">
                  <c:v>5.31</c:v>
                </c:pt>
                <c:pt idx="323">
                  <c:v>5.37</c:v>
                </c:pt>
                <c:pt idx="324">
                  <c:v>5.49</c:v>
                </c:pt>
                <c:pt idx="325">
                  <c:v>5.42</c:v>
                </c:pt>
                <c:pt idx="326">
                  <c:v>5.32</c:v>
                </c:pt>
                <c:pt idx="327">
                  <c:v>5.19</c:v>
                </c:pt>
                <c:pt idx="328">
                  <c:v>4.95</c:v>
                </c:pt>
                <c:pt idx="329">
                  <c:v>5.03</c:v>
                </c:pt>
                <c:pt idx="330">
                  <c:v>5.04</c:v>
                </c:pt>
                <c:pt idx="331">
                  <c:v>4.9800000000000004</c:v>
                </c:pt>
                <c:pt idx="332">
                  <c:v>4.9400000000000004</c:v>
                </c:pt>
                <c:pt idx="333">
                  <c:v>5.09</c:v>
                </c:pt>
                <c:pt idx="334">
                  <c:v>5.09</c:v>
                </c:pt>
                <c:pt idx="335">
                  <c:v>5.1100000000000003</c:v>
                </c:pt>
                <c:pt idx="336">
                  <c:v>4.97</c:v>
                </c:pt>
                <c:pt idx="337">
                  <c:v>4.8899999999999997</c:v>
                </c:pt>
                <c:pt idx="338">
                  <c:v>4.88</c:v>
                </c:pt>
                <c:pt idx="339">
                  <c:v>4.9800000000000004</c:v>
                </c:pt>
                <c:pt idx="340">
                  <c:v>5</c:v>
                </c:pt>
                <c:pt idx="341">
                  <c:v>5.09</c:v>
                </c:pt>
                <c:pt idx="342">
                  <c:v>5.04</c:v>
                </c:pt>
                <c:pt idx="343">
                  <c:v>5.0999999999999996</c:v>
                </c:pt>
                <c:pt idx="344">
                  <c:v>5.04</c:v>
                </c:pt>
                <c:pt idx="345">
                  <c:v>5.17</c:v>
                </c:pt>
                <c:pt idx="346">
                  <c:v>5.48</c:v>
                </c:pt>
                <c:pt idx="347">
                  <c:v>5.64</c:v>
                </c:pt>
                <c:pt idx="348">
                  <c:v>5.6</c:v>
                </c:pt>
                <c:pt idx="349">
                  <c:v>5.37</c:v>
                </c:pt>
                <c:pt idx="350">
                  <c:v>5.6</c:v>
                </c:pt>
                <c:pt idx="351">
                  <c:v>5.8</c:v>
                </c:pt>
                <c:pt idx="352">
                  <c:v>5.83</c:v>
                </c:pt>
                <c:pt idx="353">
                  <c:v>5.93</c:v>
                </c:pt>
                <c:pt idx="354">
                  <c:v>6.38</c:v>
                </c:pt>
                <c:pt idx="355">
                  <c:v>6.04</c:v>
                </c:pt>
                <c:pt idx="356">
                  <c:v>6.06</c:v>
                </c:pt>
                <c:pt idx="357">
                  <c:v>5.71</c:v>
                </c:pt>
                <c:pt idx="358">
                  <c:v>5.65</c:v>
                </c:pt>
                <c:pt idx="359">
                  <c:v>5.75</c:v>
                </c:pt>
                <c:pt idx="360">
                  <c:v>5.83</c:v>
                </c:pt>
                <c:pt idx="361">
                  <c:v>6.19</c:v>
                </c:pt>
                <c:pt idx="362">
                  <c:v>6.33</c:v>
                </c:pt>
                <c:pt idx="363">
                  <c:v>6.75</c:v>
                </c:pt>
                <c:pt idx="364">
                  <c:v>6.56</c:v>
                </c:pt>
                <c:pt idx="365">
                  <c:v>6.65</c:v>
                </c:pt>
                <c:pt idx="366">
                  <c:v>6.32</c:v>
                </c:pt>
                <c:pt idx="367">
                  <c:v>6.12</c:v>
                </c:pt>
                <c:pt idx="368">
                  <c:v>5.94</c:v>
                </c:pt>
                <c:pt idx="369">
                  <c:v>5.56</c:v>
                </c:pt>
                <c:pt idx="370">
                  <c:v>5.61</c:v>
                </c:pt>
                <c:pt idx="371">
                  <c:v>5.57</c:v>
                </c:pt>
                <c:pt idx="372">
                  <c:v>5.44</c:v>
                </c:pt>
                <c:pt idx="373">
                  <c:v>5.55</c:v>
                </c:pt>
                <c:pt idx="374">
                  <c:v>5.55</c:v>
                </c:pt>
                <c:pt idx="375">
                  <c:v>5.61</c:v>
                </c:pt>
                <c:pt idx="376">
                  <c:v>5.65</c:v>
                </c:pt>
                <c:pt idx="377">
                  <c:v>5.62</c:v>
                </c:pt>
                <c:pt idx="378">
                  <c:v>5.6</c:v>
                </c:pt>
                <c:pt idx="379">
                  <c:v>5.59</c:v>
                </c:pt>
                <c:pt idx="380">
                  <c:v>5.69</c:v>
                </c:pt>
                <c:pt idx="381">
                  <c:v>5.7</c:v>
                </c:pt>
                <c:pt idx="382">
                  <c:v>5.86</c:v>
                </c:pt>
                <c:pt idx="383">
                  <c:v>5.85</c:v>
                </c:pt>
                <c:pt idx="384">
                  <c:v>5.83</c:v>
                </c:pt>
                <c:pt idx="385">
                  <c:v>5.85</c:v>
                </c:pt>
                <c:pt idx="386">
                  <c:v>6.01</c:v>
                </c:pt>
                <c:pt idx="387">
                  <c:v>5.96</c:v>
                </c:pt>
                <c:pt idx="388">
                  <c:v>6.15</c:v>
                </c:pt>
                <c:pt idx="389">
                  <c:v>6.35</c:v>
                </c:pt>
                <c:pt idx="390">
                  <c:v>6.41</c:v>
                </c:pt>
                <c:pt idx="391">
                  <c:v>6.17</c:v>
                </c:pt>
                <c:pt idx="392">
                  <c:v>6.32</c:v>
                </c:pt>
                <c:pt idx="393">
                  <c:v>6.22</c:v>
                </c:pt>
                <c:pt idx="394">
                  <c:v>6.12</c:v>
                </c:pt>
                <c:pt idx="395">
                  <c:v>6.14</c:v>
                </c:pt>
                <c:pt idx="396">
                  <c:v>6.17</c:v>
                </c:pt>
                <c:pt idx="397">
                  <c:v>6.09</c:v>
                </c:pt>
                <c:pt idx="398">
                  <c:v>6.09</c:v>
                </c:pt>
                <c:pt idx="399">
                  <c:v>6.16</c:v>
                </c:pt>
                <c:pt idx="400">
                  <c:v>6.22</c:v>
                </c:pt>
                <c:pt idx="401">
                  <c:v>6.23</c:v>
                </c:pt>
                <c:pt idx="402">
                  <c:v>6.48</c:v>
                </c:pt>
                <c:pt idx="403">
                  <c:v>6.48</c:v>
                </c:pt>
                <c:pt idx="404">
                  <c:v>6.48</c:v>
                </c:pt>
                <c:pt idx="405">
                  <c:v>6.39</c:v>
                </c:pt>
                <c:pt idx="406">
                  <c:v>6.4</c:v>
                </c:pt>
                <c:pt idx="407">
                  <c:v>6.4</c:v>
                </c:pt>
                <c:pt idx="408">
                  <c:v>6.42</c:v>
                </c:pt>
                <c:pt idx="409">
                  <c:v>6.42</c:v>
                </c:pt>
                <c:pt idx="410">
                  <c:v>6.64</c:v>
                </c:pt>
                <c:pt idx="411">
                  <c:v>6.61</c:v>
                </c:pt>
                <c:pt idx="412">
                  <c:v>6.58</c:v>
                </c:pt>
                <c:pt idx="413">
                  <c:v>6.56</c:v>
                </c:pt>
                <c:pt idx="414">
                  <c:v>6.6</c:v>
                </c:pt>
                <c:pt idx="415">
                  <c:v>6.59</c:v>
                </c:pt>
                <c:pt idx="416">
                  <c:v>6.73</c:v>
                </c:pt>
                <c:pt idx="417">
                  <c:v>6.73</c:v>
                </c:pt>
                <c:pt idx="418">
                  <c:v>6.64</c:v>
                </c:pt>
                <c:pt idx="419">
                  <c:v>6.52</c:v>
                </c:pt>
                <c:pt idx="420">
                  <c:v>6.35</c:v>
                </c:pt>
                <c:pt idx="421">
                  <c:v>6.33</c:v>
                </c:pt>
                <c:pt idx="422">
                  <c:v>6.17</c:v>
                </c:pt>
                <c:pt idx="423">
                  <c:v>5.99</c:v>
                </c:pt>
                <c:pt idx="424">
                  <c:v>6.05</c:v>
                </c:pt>
                <c:pt idx="425">
                  <c:v>5.98</c:v>
                </c:pt>
                <c:pt idx="426">
                  <c:v>5.61</c:v>
                </c:pt>
                <c:pt idx="427">
                  <c:v>5.8</c:v>
                </c:pt>
                <c:pt idx="428">
                  <c:v>5.81</c:v>
                </c:pt>
                <c:pt idx="429">
                  <c:v>5.76</c:v>
                </c:pt>
                <c:pt idx="430">
                  <c:v>5.72</c:v>
                </c:pt>
                <c:pt idx="431">
                  <c:v>5.78</c:v>
                </c:pt>
                <c:pt idx="432">
                  <c:v>5.85</c:v>
                </c:pt>
                <c:pt idx="433">
                  <c:v>5.83</c:v>
                </c:pt>
                <c:pt idx="434">
                  <c:v>5.78</c:v>
                </c:pt>
                <c:pt idx="435">
                  <c:v>5.77</c:v>
                </c:pt>
                <c:pt idx="436">
                  <c:v>5.74</c:v>
                </c:pt>
                <c:pt idx="437">
                  <c:v>5.8</c:v>
                </c:pt>
                <c:pt idx="438">
                  <c:v>5.78</c:v>
                </c:pt>
                <c:pt idx="439">
                  <c:v>5.71</c:v>
                </c:pt>
                <c:pt idx="440">
                  <c:v>5.74</c:v>
                </c:pt>
                <c:pt idx="441">
                  <c:v>5.68</c:v>
                </c:pt>
                <c:pt idx="442">
                  <c:v>5.6</c:v>
                </c:pt>
                <c:pt idx="443">
                  <c:v>5.62</c:v>
                </c:pt>
                <c:pt idx="444">
                  <c:v>5.63</c:v>
                </c:pt>
                <c:pt idx="445">
                  <c:v>5.64</c:v>
                </c:pt>
                <c:pt idx="446">
                  <c:v>5.55</c:v>
                </c:pt>
                <c:pt idx="447">
                  <c:v>5.5</c:v>
                </c:pt>
                <c:pt idx="448">
                  <c:v>5.46</c:v>
                </c:pt>
                <c:pt idx="449">
                  <c:v>5.46</c:v>
                </c:pt>
                <c:pt idx="450">
                  <c:v>5.46</c:v>
                </c:pt>
                <c:pt idx="451">
                  <c:v>5.35</c:v>
                </c:pt>
                <c:pt idx="452">
                  <c:v>5.36</c:v>
                </c:pt>
                <c:pt idx="453">
                  <c:v>5.36</c:v>
                </c:pt>
                <c:pt idx="454">
                  <c:v>5.32</c:v>
                </c:pt>
                <c:pt idx="455">
                  <c:v>5.36</c:v>
                </c:pt>
                <c:pt idx="456">
                  <c:v>5.45</c:v>
                </c:pt>
                <c:pt idx="457">
                  <c:v>5.45</c:v>
                </c:pt>
                <c:pt idx="458">
                  <c:v>5.53</c:v>
                </c:pt>
                <c:pt idx="459">
                  <c:v>5.54</c:v>
                </c:pt>
                <c:pt idx="460">
                  <c:v>5.65</c:v>
                </c:pt>
                <c:pt idx="461">
                  <c:v>5.6</c:v>
                </c:pt>
                <c:pt idx="462">
                  <c:v>5.69</c:v>
                </c:pt>
                <c:pt idx="463">
                  <c:v>5.86</c:v>
                </c:pt>
                <c:pt idx="464">
                  <c:v>6.07</c:v>
                </c:pt>
                <c:pt idx="465">
                  <c:v>5.86</c:v>
                </c:pt>
                <c:pt idx="466">
                  <c:v>5.79</c:v>
                </c:pt>
                <c:pt idx="467">
                  <c:v>5.8</c:v>
                </c:pt>
                <c:pt idx="468">
                  <c:v>5.75</c:v>
                </c:pt>
                <c:pt idx="469" formatCode="General">
                  <c:v>5.74</c:v>
                </c:pt>
                <c:pt idx="470" formatCode="General">
                  <c:v>5.85</c:v>
                </c:pt>
                <c:pt idx="471" formatCode="General">
                  <c:v>5.91</c:v>
                </c:pt>
                <c:pt idx="472" formatCode="General">
                  <c:v>5.89</c:v>
                </c:pt>
                <c:pt idx="473" formatCode="General">
                  <c:v>5.94</c:v>
                </c:pt>
                <c:pt idx="474" formatCode="General">
                  <c:v>5.91</c:v>
                </c:pt>
                <c:pt idx="475" formatCode="General">
                  <c:v>5.91</c:v>
                </c:pt>
                <c:pt idx="476" formatCode="General">
                  <c:v>5.99</c:v>
                </c:pt>
                <c:pt idx="477" formatCode="General">
                  <c:v>6.07</c:v>
                </c:pt>
                <c:pt idx="478" formatCode="General">
                  <c:v>6.07</c:v>
                </c:pt>
                <c:pt idx="479" formatCode="General">
                  <c:v>6.06</c:v>
                </c:pt>
                <c:pt idx="480" formatCode="0.00">
                  <c:v>6</c:v>
                </c:pt>
                <c:pt idx="481" formatCode="General">
                  <c:v>5.86</c:v>
                </c:pt>
                <c:pt idx="482">
                  <c:v>5.8</c:v>
                </c:pt>
                <c:pt idx="483">
                  <c:v>5.74</c:v>
                </c:pt>
                <c:pt idx="484">
                  <c:v>5.75</c:v>
                </c:pt>
                <c:pt idx="485">
                  <c:v>5.79</c:v>
                </c:pt>
                <c:pt idx="486">
                  <c:v>5.81</c:v>
                </c:pt>
                <c:pt idx="487">
                  <c:v>5.82</c:v>
                </c:pt>
                <c:pt idx="488" formatCode="General">
                  <c:v>5.68</c:v>
                </c:pt>
                <c:pt idx="489" formatCode="General">
                  <c:v>5.65</c:v>
                </c:pt>
                <c:pt idx="490" formatCode="General">
                  <c:v>5.65</c:v>
                </c:pt>
                <c:pt idx="491" formatCode="General">
                  <c:v>5.67</c:v>
                </c:pt>
                <c:pt idx="492" formatCode="General">
                  <c:v>5.7</c:v>
                </c:pt>
                <c:pt idx="493" formatCode="General">
                  <c:v>5.54</c:v>
                </c:pt>
                <c:pt idx="494" formatCode="General">
                  <c:v>5.61</c:v>
                </c:pt>
                <c:pt idx="495" formatCode="General">
                  <c:v>5.61</c:v>
                </c:pt>
                <c:pt idx="496" formatCode="General">
                  <c:v>5.64</c:v>
                </c:pt>
                <c:pt idx="497" formatCode="General">
                  <c:v>5.6</c:v>
                </c:pt>
                <c:pt idx="498" formatCode="General">
                  <c:v>5.59</c:v>
                </c:pt>
                <c:pt idx="499" formatCode="General">
                  <c:v>5.58</c:v>
                </c:pt>
                <c:pt idx="500" formatCode="General">
                  <c:v>5.56</c:v>
                </c:pt>
                <c:pt idx="501" formatCode="General">
                  <c:v>5.46</c:v>
                </c:pt>
                <c:pt idx="502" formatCode="General">
                  <c:v>5.5</c:v>
                </c:pt>
                <c:pt idx="503" formatCode="General">
                  <c:v>5.43</c:v>
                </c:pt>
                <c:pt idx="504" formatCode="General">
                  <c:v>5.46</c:v>
                </c:pt>
                <c:pt idx="505" formatCode="General">
                  <c:v>5.44</c:v>
                </c:pt>
                <c:pt idx="506" formatCode="General">
                  <c:v>5.44</c:v>
                </c:pt>
                <c:pt idx="507" formatCode="General">
                  <c:v>5.34</c:v>
                </c:pt>
                <c:pt idx="508" formatCode="General">
                  <c:v>5.41</c:v>
                </c:pt>
                <c:pt idx="509" formatCode="General">
                  <c:v>5.47</c:v>
                </c:pt>
                <c:pt idx="510" formatCode="General">
                  <c:v>5.4</c:v>
                </c:pt>
                <c:pt idx="511" formatCode="General">
                  <c:v>5.41</c:v>
                </c:pt>
                <c:pt idx="512" formatCode="General">
                  <c:v>5.66</c:v>
                </c:pt>
                <c:pt idx="513" formatCode="General">
                  <c:v>5.7</c:v>
                </c:pt>
                <c:pt idx="514" formatCode="General">
                  <c:v>5.68</c:v>
                </c:pt>
                <c:pt idx="515" formatCode="General">
                  <c:v>6.03</c:v>
                </c:pt>
                <c:pt idx="516" formatCode="General">
                  <c:v>6.19</c:v>
                </c:pt>
                <c:pt idx="517" formatCode="General">
                  <c:v>6.2</c:v>
                </c:pt>
                <c:pt idx="518" formatCode="General">
                  <c:v>6.17</c:v>
                </c:pt>
                <c:pt idx="519" formatCode="General">
                  <c:v>6.07</c:v>
                </c:pt>
                <c:pt idx="520" formatCode="General">
                  <c:v>5.93</c:v>
                </c:pt>
                <c:pt idx="521" formatCode="General">
                  <c:v>5.95</c:v>
                </c:pt>
                <c:pt idx="522" formatCode="General">
                  <c:v>5.99</c:v>
                </c:pt>
                <c:pt idx="523" formatCode="General">
                  <c:v>6.05</c:v>
                </c:pt>
                <c:pt idx="524" formatCode="General">
                  <c:v>6.03</c:v>
                </c:pt>
                <c:pt idx="525" formatCode="General">
                  <c:v>5.98</c:v>
                </c:pt>
                <c:pt idx="526" formatCode="General">
                  <c:v>5.99</c:v>
                </c:pt>
                <c:pt idx="527" formatCode="General">
                  <c:v>5.95</c:v>
                </c:pt>
                <c:pt idx="528" formatCode="General">
                  <c:v>6.01</c:v>
                </c:pt>
                <c:pt idx="529" formatCode="General">
                  <c:v>6.08</c:v>
                </c:pt>
                <c:pt idx="530" formatCode="General">
                  <c:v>6.21</c:v>
                </c:pt>
                <c:pt idx="531" formatCode="General">
                  <c:v>6.2</c:v>
                </c:pt>
                <c:pt idx="532" formatCode="General">
                  <c:v>6.02</c:v>
                </c:pt>
                <c:pt idx="533" formatCode="General">
                  <c:v>6.01</c:v>
                </c:pt>
                <c:pt idx="534" formatCode="General">
                  <c:v>5.96</c:v>
                </c:pt>
                <c:pt idx="535" formatCode="General">
                  <c:v>5.98</c:v>
                </c:pt>
                <c:pt idx="536" formatCode="General">
                  <c:v>6.03</c:v>
                </c:pt>
                <c:pt idx="537" formatCode="General">
                  <c:v>6.01</c:v>
                </c:pt>
                <c:pt idx="538" formatCode="General">
                  <c:v>6.11</c:v>
                </c:pt>
                <c:pt idx="539" formatCode="General">
                  <c:v>5.86</c:v>
                </c:pt>
                <c:pt idx="540" formatCode="General">
                  <c:v>5.81</c:v>
                </c:pt>
                <c:pt idx="541" formatCode="General">
                  <c:v>5.75</c:v>
                </c:pt>
                <c:pt idx="542" formatCode="General">
                  <c:v>5.81</c:v>
                </c:pt>
                <c:pt idx="543" formatCode="General">
                  <c:v>5.91</c:v>
                </c:pt>
                <c:pt idx="544" formatCode="General">
                  <c:v>5.92</c:v>
                </c:pt>
                <c:pt idx="545" formatCode="General">
                  <c:v>5.98</c:v>
                </c:pt>
                <c:pt idx="546" formatCode="General">
                  <c:v>5.92</c:v>
                </c:pt>
                <c:pt idx="547" formatCode="General">
                  <c:v>5.94</c:v>
                </c:pt>
                <c:pt idx="548" formatCode="General">
                  <c:v>5.88</c:v>
                </c:pt>
                <c:pt idx="549" formatCode="General">
                  <c:v>5.81</c:v>
                </c:pt>
                <c:pt idx="550" formatCode="General">
                  <c:v>5.78</c:v>
                </c:pt>
                <c:pt idx="551" formatCode="General">
                  <c:v>5.75</c:v>
                </c:pt>
                <c:pt idx="552" formatCode="General">
                  <c:v>5.77</c:v>
                </c:pt>
                <c:pt idx="553" formatCode="General">
                  <c:v>5.82</c:v>
                </c:pt>
                <c:pt idx="554" formatCode="General">
                  <c:v>5.82</c:v>
                </c:pt>
                <c:pt idx="555" formatCode="General">
                  <c:v>5.79</c:v>
                </c:pt>
                <c:pt idx="556" formatCode="General">
                  <c:v>5.79</c:v>
                </c:pt>
                <c:pt idx="557" formatCode="General">
                  <c:v>5.58</c:v>
                </c:pt>
                <c:pt idx="558" formatCode="General">
                  <c:v>5.54</c:v>
                </c:pt>
                <c:pt idx="559" formatCode="General">
                  <c:v>5.54</c:v>
                </c:pt>
                <c:pt idx="560" formatCode="General">
                  <c:v>5.58</c:v>
                </c:pt>
                <c:pt idx="561" formatCode="General">
                  <c:v>5.61</c:v>
                </c:pt>
                <c:pt idx="562">
                  <c:v>5.57</c:v>
                </c:pt>
                <c:pt idx="563" formatCode="General">
                  <c:v>5.54</c:v>
                </c:pt>
                <c:pt idx="564" formatCode="General">
                  <c:v>5.51</c:v>
                </c:pt>
                <c:pt idx="565" formatCode="General">
                  <c:v>5.64</c:v>
                </c:pt>
                <c:pt idx="566" formatCode="General">
                  <c:v>5.58</c:v>
                </c:pt>
                <c:pt idx="567" formatCode="General">
                  <c:v>5.58</c:v>
                </c:pt>
                <c:pt idx="568" formatCode="General">
                  <c:v>5.63</c:v>
                </c:pt>
                <c:pt idx="569" formatCode="General">
                  <c:v>5.64</c:v>
                </c:pt>
                <c:pt idx="570" formatCode="General">
                  <c:v>5.63</c:v>
                </c:pt>
                <c:pt idx="571" formatCode="General">
                  <c:v>5.58</c:v>
                </c:pt>
                <c:pt idx="572" formatCode="General">
                  <c:v>5.58</c:v>
                </c:pt>
                <c:pt idx="573" formatCode="General">
                  <c:v>5.58</c:v>
                </c:pt>
                <c:pt idx="574" formatCode="General">
                  <c:v>5.56</c:v>
                </c:pt>
                <c:pt idx="575" formatCode="General">
                  <c:v>5.59</c:v>
                </c:pt>
                <c:pt idx="576" formatCode="General">
                  <c:v>5.49</c:v>
                </c:pt>
                <c:pt idx="577" formatCode="General">
                  <c:v>5.55</c:v>
                </c:pt>
                <c:pt idx="578" formatCode="General">
                  <c:v>5.61</c:v>
                </c:pt>
                <c:pt idx="579" formatCode="General">
                  <c:v>5.46</c:v>
                </c:pt>
                <c:pt idx="580" formatCode="General">
                  <c:v>5.35</c:v>
                </c:pt>
                <c:pt idx="581" formatCode="General">
                  <c:v>5.35</c:v>
                </c:pt>
                <c:pt idx="582" formatCode="General">
                  <c:v>5.35</c:v>
                </c:pt>
                <c:pt idx="583" formatCode="General">
                  <c:v>5.35</c:v>
                </c:pt>
                <c:pt idx="584" formatCode="General">
                  <c:v>5.33</c:v>
                </c:pt>
                <c:pt idx="585" formatCode="General">
                  <c:v>5.3</c:v>
                </c:pt>
                <c:pt idx="586" formatCode="General">
                  <c:v>5.19</c:v>
                </c:pt>
                <c:pt idx="587" formatCode="General">
                  <c:v>5.16</c:v>
                </c:pt>
                <c:pt idx="588" formatCode="General">
                  <c:v>5.15</c:v>
                </c:pt>
                <c:pt idx="589" formatCode="General">
                  <c:v>5.14</c:v>
                </c:pt>
                <c:pt idx="590" formatCode="General">
                  <c:v>5</c:v>
                </c:pt>
                <c:pt idx="591" formatCode="General">
                  <c:v>4.8</c:v>
                </c:pt>
                <c:pt idx="592" formatCode="General">
                  <c:v>4.93</c:v>
                </c:pt>
                <c:pt idx="593" formatCode="General">
                  <c:v>4.99</c:v>
                </c:pt>
                <c:pt idx="594" formatCode="General">
                  <c:v>5.04</c:v>
                </c:pt>
                <c:pt idx="595" formatCode="General">
                  <c:v>5.05</c:v>
                </c:pt>
                <c:pt idx="596" formatCode="General">
                  <c:v>5</c:v>
                </c:pt>
                <c:pt idx="597" formatCode="General">
                  <c:v>4.88</c:v>
                </c:pt>
                <c:pt idx="598" formatCode="General">
                  <c:v>4.79</c:v>
                </c:pt>
                <c:pt idx="599" formatCode="General">
                  <c:v>4.83</c:v>
                </c:pt>
                <c:pt idx="600" formatCode="General">
                  <c:v>4.8600000000000003</c:v>
                </c:pt>
                <c:pt idx="601" formatCode="General">
                  <c:v>4.68</c:v>
                </c:pt>
                <c:pt idx="602" formatCode="General">
                  <c:v>4.71</c:v>
                </c:pt>
                <c:pt idx="603" formatCode="General">
                  <c:v>4.5599999999999996</c:v>
                </c:pt>
                <c:pt idx="604" formatCode="General">
                  <c:v>4.68</c:v>
                </c:pt>
                <c:pt idx="605" formatCode="General">
                  <c:v>4.79</c:v>
                </c:pt>
                <c:pt idx="606" formatCode="General">
                  <c:v>4.72</c:v>
                </c:pt>
                <c:pt idx="607" formatCode="General">
                  <c:v>4.4000000000000004</c:v>
                </c:pt>
                <c:pt idx="608" formatCode="General">
                  <c:v>4.4000000000000004</c:v>
                </c:pt>
                <c:pt idx="609" formatCode="General">
                  <c:v>4.3899999999999997</c:v>
                </c:pt>
                <c:pt idx="610" formatCode="General">
                  <c:v>4.42</c:v>
                </c:pt>
                <c:pt idx="611" formatCode="General">
                  <c:v>4.46</c:v>
                </c:pt>
                <c:pt idx="612" formatCode="General">
                  <c:v>4.46</c:v>
                </c:pt>
                <c:pt idx="613" formatCode="General">
                  <c:v>4.5199999999999996</c:v>
                </c:pt>
                <c:pt idx="614" formatCode="General">
                  <c:v>4.4800000000000004</c:v>
                </c:pt>
                <c:pt idx="615" formatCode="General">
                  <c:v>4.57</c:v>
                </c:pt>
                <c:pt idx="616" formatCode="General">
                  <c:v>4.51</c:v>
                </c:pt>
                <c:pt idx="617" formatCode="General">
                  <c:v>4.55</c:v>
                </c:pt>
                <c:pt idx="618" formatCode="General">
                  <c:v>4.57</c:v>
                </c:pt>
                <c:pt idx="619" formatCode="General">
                  <c:v>4.49</c:v>
                </c:pt>
                <c:pt idx="620" formatCode="General">
                  <c:v>4.4800000000000004</c:v>
                </c:pt>
                <c:pt idx="621" formatCode="General">
                  <c:v>4.25</c:v>
                </c:pt>
                <c:pt idx="622" formatCode="General">
                  <c:v>4.21</c:v>
                </c:pt>
                <c:pt idx="623" formatCode="General">
                  <c:v>4.3899999999999997</c:v>
                </c:pt>
                <c:pt idx="624" formatCode="General">
                  <c:v>4.43</c:v>
                </c:pt>
                <c:pt idx="625" formatCode="General">
                  <c:v>4.3499999999999996</c:v>
                </c:pt>
                <c:pt idx="626" formatCode="General">
                  <c:v>4.3899999999999997</c:v>
                </c:pt>
                <c:pt idx="627" formatCode="General">
                  <c:v>4.37</c:v>
                </c:pt>
                <c:pt idx="628" formatCode="General">
                  <c:v>4.37</c:v>
                </c:pt>
                <c:pt idx="629" formatCode="General">
                  <c:v>4.32</c:v>
                </c:pt>
                <c:pt idx="630" formatCode="General">
                  <c:v>4.28</c:v>
                </c:pt>
                <c:pt idx="631" formatCode="General">
                  <c:v>4.2699999999999996</c:v>
                </c:pt>
                <c:pt idx="632" formatCode="General">
                  <c:v>4.3099999999999996</c:v>
                </c:pt>
                <c:pt idx="633" formatCode="General">
                  <c:v>4.3499999999999996</c:v>
                </c:pt>
                <c:pt idx="634" formatCode="General">
                  <c:v>4.3899999999999997</c:v>
                </c:pt>
                <c:pt idx="635" formatCode="General">
                  <c:v>4.4000000000000004</c:v>
                </c:pt>
                <c:pt idx="636" formatCode="General">
                  <c:v>4.38</c:v>
                </c:pt>
                <c:pt idx="637" formatCode="General">
                  <c:v>4.32</c:v>
                </c:pt>
                <c:pt idx="638" formatCode="General">
                  <c:v>4.1900000000000004</c:v>
                </c:pt>
                <c:pt idx="639" formatCode="General">
                  <c:v>4.18</c:v>
                </c:pt>
                <c:pt idx="640" formatCode="General">
                  <c:v>4.1500000000000004</c:v>
                </c:pt>
                <c:pt idx="641" formatCode="General">
                  <c:v>4.22</c:v>
                </c:pt>
                <c:pt idx="642" formatCode="General">
                  <c:v>4.2</c:v>
                </c:pt>
                <c:pt idx="643" formatCode="General">
                  <c:v>4.2300000000000004</c:v>
                </c:pt>
                <c:pt idx="644" formatCode="General">
                  <c:v>4.43</c:v>
                </c:pt>
                <c:pt idx="645" formatCode="General">
                  <c:v>4.42</c:v>
                </c:pt>
                <c:pt idx="646" formatCode="General">
                  <c:v>4.7300000000000004</c:v>
                </c:pt>
                <c:pt idx="647" formatCode="General">
                  <c:v>4.96</c:v>
                </c:pt>
                <c:pt idx="648" formatCode="General">
                  <c:v>4.79</c:v>
                </c:pt>
                <c:pt idx="649" formatCode="General">
                  <c:v>4.99</c:v>
                </c:pt>
                <c:pt idx="650" formatCode="General">
                  <c:v>5.18</c:v>
                </c:pt>
                <c:pt idx="651" formatCode="General">
                  <c:v>5.0199999999999996</c:v>
                </c:pt>
                <c:pt idx="652" formatCode="General">
                  <c:v>4.99</c:v>
                </c:pt>
                <c:pt idx="653" formatCode="0.00">
                  <c:v>4.9800000000000004</c:v>
                </c:pt>
                <c:pt idx="654" formatCode="General">
                  <c:v>4.97</c:v>
                </c:pt>
                <c:pt idx="655" formatCode="General">
                  <c:v>4.9800000000000004</c:v>
                </c:pt>
                <c:pt idx="656" formatCode="General">
                  <c:v>4.7699999999999996</c:v>
                </c:pt>
                <c:pt idx="657" formatCode="General">
                  <c:v>4.78</c:v>
                </c:pt>
                <c:pt idx="658" formatCode="General">
                  <c:v>4.6500000000000004</c:v>
                </c:pt>
                <c:pt idx="659" formatCode="General">
                  <c:v>4.5</c:v>
                </c:pt>
                <c:pt idx="660" formatCode="General">
                  <c:v>4.5</c:v>
                </c:pt>
                <c:pt idx="661" formatCode="General">
                  <c:v>4.46</c:v>
                </c:pt>
                <c:pt idx="662" formatCode="General">
                  <c:v>4.47</c:v>
                </c:pt>
                <c:pt idx="663" formatCode="General">
                  <c:v>4.47</c:v>
                </c:pt>
                <c:pt idx="664" formatCode="General">
                  <c:v>4.43</c:v>
                </c:pt>
                <c:pt idx="665" formatCode="General">
                  <c:v>4.33</c:v>
                </c:pt>
                <c:pt idx="666" formatCode="General">
                  <c:v>4.45</c:v>
                </c:pt>
                <c:pt idx="667" formatCode="General">
                  <c:v>4.45</c:v>
                </c:pt>
                <c:pt idx="668" formatCode="General">
                  <c:v>4.46</c:v>
                </c:pt>
                <c:pt idx="669" formatCode="General">
                  <c:v>4.54</c:v>
                </c:pt>
                <c:pt idx="670" formatCode="General">
                  <c:v>4.47</c:v>
                </c:pt>
                <c:pt idx="671" formatCode="General">
                  <c:v>4.41</c:v>
                </c:pt>
                <c:pt idx="672" formatCode="General">
                  <c:v>4.4800000000000004</c:v>
                </c:pt>
                <c:pt idx="673" formatCode="General">
                  <c:v>4.34</c:v>
                </c:pt>
                <c:pt idx="674" formatCode="General">
                  <c:v>4.51</c:v>
                </c:pt>
                <c:pt idx="675" formatCode="General">
                  <c:v>4.6100000000000003</c:v>
                </c:pt>
                <c:pt idx="676" formatCode="General">
                  <c:v>4.6900000000000004</c:v>
                </c:pt>
                <c:pt idx="677" formatCode="General">
                  <c:v>4.83</c:v>
                </c:pt>
                <c:pt idx="678" formatCode="General">
                  <c:v>4.84</c:v>
                </c:pt>
                <c:pt idx="679" formatCode="General">
                  <c:v>4.7300000000000004</c:v>
                </c:pt>
                <c:pt idx="680" formatCode="General">
                  <c:v>4.6900000000000004</c:v>
                </c:pt>
                <c:pt idx="681" formatCode="General">
                  <c:v>4.66</c:v>
                </c:pt>
                <c:pt idx="682" formatCode="General">
                  <c:v>4.63</c:v>
                </c:pt>
                <c:pt idx="683" formatCode="General">
                  <c:v>4.62</c:v>
                </c:pt>
                <c:pt idx="684" formatCode="General">
                  <c:v>4.6100000000000003</c:v>
                </c:pt>
                <c:pt idx="685" formatCode="General">
                  <c:v>4.5999999999999996</c:v>
                </c:pt>
                <c:pt idx="686" formatCode="General">
                  <c:v>4.4800000000000004</c:v>
                </c:pt>
                <c:pt idx="687" formatCode="General">
                  <c:v>4.53</c:v>
                </c:pt>
                <c:pt idx="688" formatCode="General">
                  <c:v>4.62</c:v>
                </c:pt>
                <c:pt idx="689" formatCode="General">
                  <c:v>4.63</c:v>
                </c:pt>
                <c:pt idx="690" formatCode="General">
                  <c:v>4.6500000000000004</c:v>
                </c:pt>
                <c:pt idx="691" formatCode="General">
                  <c:v>4.55</c:v>
                </c:pt>
                <c:pt idx="692" formatCode="General">
                  <c:v>4.55</c:v>
                </c:pt>
                <c:pt idx="693" formatCode="General">
                  <c:v>4.55</c:v>
                </c:pt>
                <c:pt idx="694" formatCode="General">
                  <c:v>4.49</c:v>
                </c:pt>
                <c:pt idx="695" formatCode="General">
                  <c:v>4.41</c:v>
                </c:pt>
                <c:pt idx="696" formatCode="General">
                  <c:v>4.1500000000000004</c:v>
                </c:pt>
                <c:pt idx="697" formatCode="General">
                  <c:v>4.24</c:v>
                </c:pt>
                <c:pt idx="698" formatCode="General">
                  <c:v>4.1100000000000003</c:v>
                </c:pt>
                <c:pt idx="699" formatCode="General">
                  <c:v>4.08</c:v>
                </c:pt>
                <c:pt idx="700" formatCode="General">
                  <c:v>3.95</c:v>
                </c:pt>
                <c:pt idx="701" formatCode="General">
                  <c:v>4.25</c:v>
                </c:pt>
                <c:pt idx="702" formatCode="General">
                  <c:v>4.1900000000000004</c:v>
                </c:pt>
                <c:pt idx="703" formatCode="General">
                  <c:v>4.07</c:v>
                </c:pt>
                <c:pt idx="704" formatCode="General">
                  <c:v>4.07</c:v>
                </c:pt>
                <c:pt idx="705" formatCode="General">
                  <c:v>4.09</c:v>
                </c:pt>
                <c:pt idx="706" formatCode="General">
                  <c:v>4.13</c:v>
                </c:pt>
                <c:pt idx="707" formatCode="General">
                  <c:v>4.03</c:v>
                </c:pt>
                <c:pt idx="708" formatCode="General">
                  <c:v>3.98</c:v>
                </c:pt>
                <c:pt idx="709" formatCode="General">
                  <c:v>4</c:v>
                </c:pt>
                <c:pt idx="710" formatCode="General">
                  <c:v>3.9</c:v>
                </c:pt>
                <c:pt idx="711" formatCode="General">
                  <c:v>3.84</c:v>
                </c:pt>
                <c:pt idx="712" formatCode="General">
                  <c:v>3.86</c:v>
                </c:pt>
                <c:pt idx="713" formatCode="General">
                  <c:v>3.83</c:v>
                </c:pt>
                <c:pt idx="714" formatCode="General">
                  <c:v>3.86</c:v>
                </c:pt>
                <c:pt idx="715" formatCode="General">
                  <c:v>3.85</c:v>
                </c:pt>
                <c:pt idx="716" formatCode="General">
                  <c:v>3.77</c:v>
                </c:pt>
                <c:pt idx="717" formatCode="General">
                  <c:v>3.79</c:v>
                </c:pt>
                <c:pt idx="718" formatCode="General">
                  <c:v>3.74</c:v>
                </c:pt>
                <c:pt idx="719" formatCode="General">
                  <c:v>3.69</c:v>
                </c:pt>
                <c:pt idx="720" formatCode="General">
                  <c:v>3.69</c:v>
                </c:pt>
                <c:pt idx="721" formatCode="General">
                  <c:v>3.63</c:v>
                </c:pt>
                <c:pt idx="722" formatCode="General">
                  <c:v>3.56</c:v>
                </c:pt>
                <c:pt idx="723" formatCode="General">
                  <c:v>3.65</c:v>
                </c:pt>
                <c:pt idx="724" formatCode="General">
                  <c:v>3.71</c:v>
                </c:pt>
                <c:pt idx="725" formatCode="General">
                  <c:v>3.61</c:v>
                </c:pt>
                <c:pt idx="726" formatCode="General">
                  <c:v>3.59</c:v>
                </c:pt>
                <c:pt idx="727" formatCode="General">
                  <c:v>3.61</c:v>
                </c:pt>
                <c:pt idx="728" formatCode="General">
                  <c:v>3.56</c:v>
                </c:pt>
                <c:pt idx="729" formatCode="General">
                  <c:v>3.56</c:v>
                </c:pt>
                <c:pt idx="730" formatCode="General">
                  <c:v>3.52</c:v>
                </c:pt>
                <c:pt idx="731" formatCode="General">
                  <c:v>3.52</c:v>
                </c:pt>
                <c:pt idx="732" formatCode="General">
                  <c:v>3.56</c:v>
                </c:pt>
                <c:pt idx="733" formatCode="General">
                  <c:v>3.62</c:v>
                </c:pt>
                <c:pt idx="734" formatCode="General">
                  <c:v>3.62</c:v>
                </c:pt>
                <c:pt idx="735" formatCode="General">
                  <c:v>3.59</c:v>
                </c:pt>
                <c:pt idx="736" formatCode="General">
                  <c:v>3.59</c:v>
                </c:pt>
                <c:pt idx="737" formatCode="General">
                  <c:v>3.52</c:v>
                </c:pt>
                <c:pt idx="738" formatCode="General">
                  <c:v>3.55</c:v>
                </c:pt>
                <c:pt idx="739" formatCode="General">
                  <c:v>3.54</c:v>
                </c:pt>
                <c:pt idx="740" formatCode="General">
                  <c:v>3.47</c:v>
                </c:pt>
                <c:pt idx="741" formatCode="General">
                  <c:v>3.45</c:v>
                </c:pt>
                <c:pt idx="742" formatCode="General">
                  <c:v>3.77</c:v>
                </c:pt>
                <c:pt idx="743" formatCode="General">
                  <c:v>3.98</c:v>
                </c:pt>
                <c:pt idx="744" formatCode="General">
                  <c:v>3.82</c:v>
                </c:pt>
                <c:pt idx="745" formatCode="General">
                  <c:v>3.73</c:v>
                </c:pt>
                <c:pt idx="746" formatCode="General">
                  <c:v>3.63</c:v>
                </c:pt>
                <c:pt idx="747" formatCode="General">
                  <c:v>3.6</c:v>
                </c:pt>
                <c:pt idx="748" formatCode="General">
                  <c:v>3.6</c:v>
                </c:pt>
                <c:pt idx="749" formatCode="General">
                  <c:v>3.6</c:v>
                </c:pt>
                <c:pt idx="750" formatCode="General">
                  <c:v>3.64</c:v>
                </c:pt>
                <c:pt idx="751" formatCode="General">
                  <c:v>3.56</c:v>
                </c:pt>
                <c:pt idx="752" formatCode="General">
                  <c:v>3.49</c:v>
                </c:pt>
                <c:pt idx="753" formatCode="General">
                  <c:v>3.43</c:v>
                </c:pt>
                <c:pt idx="754" formatCode="General">
                  <c:v>3.48</c:v>
                </c:pt>
                <c:pt idx="755" formatCode="General">
                  <c:v>3.49</c:v>
                </c:pt>
                <c:pt idx="756" formatCode="General">
                  <c:v>3.39</c:v>
                </c:pt>
                <c:pt idx="757" formatCode="General">
                  <c:v>3.36</c:v>
                </c:pt>
                <c:pt idx="758" formatCode="General">
                  <c:v>3.34</c:v>
                </c:pt>
                <c:pt idx="759" formatCode="General">
                  <c:v>3.21</c:v>
                </c:pt>
                <c:pt idx="760" formatCode="General">
                  <c:v>3.14</c:v>
                </c:pt>
                <c:pt idx="761" formatCode="General">
                  <c:v>3.14</c:v>
                </c:pt>
                <c:pt idx="762" formatCode="General">
                  <c:v>3.1</c:v>
                </c:pt>
                <c:pt idx="763" formatCode="General">
                  <c:v>3.18</c:v>
                </c:pt>
                <c:pt idx="764" formatCode="General">
                  <c:v>2.84</c:v>
                </c:pt>
                <c:pt idx="765" formatCode="General">
                  <c:v>2.81</c:v>
                </c:pt>
                <c:pt idx="766" formatCode="General">
                  <c:v>2.79</c:v>
                </c:pt>
                <c:pt idx="767" formatCode="General">
                  <c:v>2.72</c:v>
                </c:pt>
                <c:pt idx="768" formatCode="General">
                  <c:v>2.74</c:v>
                </c:pt>
                <c:pt idx="769" formatCode="General">
                  <c:v>2.78</c:v>
                </c:pt>
                <c:pt idx="770" formatCode="General">
                  <c:v>2.77</c:v>
                </c:pt>
                <c:pt idx="771" formatCode="General">
                  <c:v>2.77</c:v>
                </c:pt>
                <c:pt idx="772" formatCode="General">
                  <c:v>2.82</c:v>
                </c:pt>
                <c:pt idx="773" formatCode="General">
                  <c:v>2.93</c:v>
                </c:pt>
                <c:pt idx="774" formatCode="General">
                  <c:v>3</c:v>
                </c:pt>
                <c:pt idx="775" formatCode="General">
                  <c:v>3.15</c:v>
                </c:pt>
                <c:pt idx="776" formatCode="General">
                  <c:v>3.14</c:v>
                </c:pt>
                <c:pt idx="777" formatCode="General">
                  <c:v>3.23</c:v>
                </c:pt>
                <c:pt idx="778" formatCode="General">
                  <c:v>3.12</c:v>
                </c:pt>
                <c:pt idx="779" formatCode="General">
                  <c:v>3.03</c:v>
                </c:pt>
                <c:pt idx="780" formatCode="General">
                  <c:v>3.06</c:v>
                </c:pt>
                <c:pt idx="781" formatCode="General">
                  <c:v>3.15</c:v>
                </c:pt>
                <c:pt idx="782" formatCode="General">
                  <c:v>3.37</c:v>
                </c:pt>
                <c:pt idx="783" formatCode="General">
                  <c:v>3.25</c:v>
                </c:pt>
                <c:pt idx="784" formatCode="General">
                  <c:v>3.26</c:v>
                </c:pt>
                <c:pt idx="785" formatCode="General">
                  <c:v>3.24</c:v>
                </c:pt>
                <c:pt idx="786" formatCode="General">
                  <c:v>3.15</c:v>
                </c:pt>
                <c:pt idx="787" formatCode="General">
                  <c:v>3.07</c:v>
                </c:pt>
                <c:pt idx="788" formatCode="General">
                  <c:v>2.91</c:v>
                </c:pt>
                <c:pt idx="789" formatCode="General">
                  <c:v>2.91</c:v>
                </c:pt>
                <c:pt idx="790" formatCode="General">
                  <c:v>2.83</c:v>
                </c:pt>
                <c:pt idx="791" formatCode="General">
                  <c:v>2.87</c:v>
                </c:pt>
                <c:pt idx="792" formatCode="General">
                  <c:v>2.99</c:v>
                </c:pt>
                <c:pt idx="793" formatCode="General">
                  <c:v>3.16</c:v>
                </c:pt>
                <c:pt idx="794" formatCode="General">
                  <c:v>3.09</c:v>
                </c:pt>
                <c:pt idx="795" formatCode="General">
                  <c:v>3.3</c:v>
                </c:pt>
                <c:pt idx="796" formatCode="General">
                  <c:v>3.49</c:v>
                </c:pt>
                <c:pt idx="797" formatCode="General">
                  <c:v>3.49</c:v>
                </c:pt>
                <c:pt idx="798" formatCode="General">
                  <c:v>3.43</c:v>
                </c:pt>
                <c:pt idx="799" formatCode="General">
                  <c:v>3.58</c:v>
                </c:pt>
                <c:pt idx="800" formatCode="General">
                  <c:v>3.61</c:v>
                </c:pt>
                <c:pt idx="801" formatCode="General">
                  <c:v>3.65</c:v>
                </c:pt>
                <c:pt idx="802" formatCode="General">
                  <c:v>3.57</c:v>
                </c:pt>
                <c:pt idx="803" formatCode="General">
                  <c:v>3.32</c:v>
                </c:pt>
                <c:pt idx="804" formatCode="General">
                  <c:v>3.24</c:v>
                </c:pt>
                <c:pt idx="805" formatCode="General">
                  <c:v>3.2</c:v>
                </c:pt>
                <c:pt idx="806" formatCode="General">
                  <c:v>3.23</c:v>
                </c:pt>
                <c:pt idx="807" formatCode="General">
                  <c:v>3.15</c:v>
                </c:pt>
                <c:pt idx="808" formatCode="General">
                  <c:v>3.25</c:v>
                </c:pt>
                <c:pt idx="809" formatCode="General">
                  <c:v>3.35</c:v>
                </c:pt>
                <c:pt idx="810" formatCode="General">
                  <c:v>3.26</c:v>
                </c:pt>
                <c:pt idx="811" formatCode="General">
                  <c:v>3.28</c:v>
                </c:pt>
                <c:pt idx="812" formatCode="General">
                  <c:v>3.33</c:v>
                </c:pt>
                <c:pt idx="813" formatCode="General">
                  <c:v>3.28</c:v>
                </c:pt>
                <c:pt idx="814" formatCode="General">
                  <c:v>3.28</c:v>
                </c:pt>
                <c:pt idx="815" formatCode="General">
                  <c:v>3.2</c:v>
                </c:pt>
                <c:pt idx="816" formatCode="General">
                  <c:v>3.15</c:v>
                </c:pt>
                <c:pt idx="817" formatCode="General">
                  <c:v>3.25</c:v>
                </c:pt>
                <c:pt idx="818" formatCode="General">
                  <c:v>3.29</c:v>
                </c:pt>
                <c:pt idx="819" formatCode="General">
                  <c:v>3.26</c:v>
                </c:pt>
                <c:pt idx="820" formatCode="General">
                  <c:v>3.24</c:v>
                </c:pt>
                <c:pt idx="821" formatCode="General">
                  <c:v>3.28</c:v>
                </c:pt>
                <c:pt idx="822" formatCode="General">
                  <c:v>3.28</c:v>
                </c:pt>
                <c:pt idx="823" formatCode="General">
                  <c:v>3.27</c:v>
                </c:pt>
                <c:pt idx="824" formatCode="General">
                  <c:v>3.26</c:v>
                </c:pt>
                <c:pt idx="825" formatCode="General">
                  <c:v>3.27</c:v>
                </c:pt>
                <c:pt idx="826" formatCode="General">
                  <c:v>3.29</c:v>
                </c:pt>
                <c:pt idx="827" formatCode="General">
                  <c:v>3.25</c:v>
                </c:pt>
                <c:pt idx="828" formatCode="General">
                  <c:v>3.27</c:v>
                </c:pt>
                <c:pt idx="829" formatCode="General">
                  <c:v>3.28</c:v>
                </c:pt>
                <c:pt idx="830" formatCode="General">
                  <c:v>3.35</c:v>
                </c:pt>
                <c:pt idx="831" formatCode="General">
                  <c:v>3.44</c:v>
                </c:pt>
                <c:pt idx="832" formatCode="General">
                  <c:v>3.48</c:v>
                </c:pt>
                <c:pt idx="833" formatCode="General">
                  <c:v>3.48</c:v>
                </c:pt>
                <c:pt idx="834" formatCode="General">
                  <c:v>3.63</c:v>
                </c:pt>
                <c:pt idx="835" formatCode="General">
                  <c:v>3.82</c:v>
                </c:pt>
                <c:pt idx="836" formatCode="General">
                  <c:v>3.7</c:v>
                </c:pt>
                <c:pt idx="837" formatCode="General">
                  <c:v>3.64</c:v>
                </c:pt>
                <c:pt idx="838" formatCode="General">
                  <c:v>3.78</c:v>
                </c:pt>
                <c:pt idx="839" formatCode="General">
                  <c:v>3.7</c:v>
                </c:pt>
                <c:pt idx="840" formatCode="General">
                  <c:v>3.76</c:v>
                </c:pt>
                <c:pt idx="841" formatCode="General">
                  <c:v>3.61</c:v>
                </c:pt>
                <c:pt idx="842" formatCode="General">
                  <c:v>3.56</c:v>
                </c:pt>
                <c:pt idx="843" formatCode="General">
                  <c:v>3.57</c:v>
                </c:pt>
                <c:pt idx="844" formatCode="0.00">
                  <c:v>3.55</c:v>
                </c:pt>
                <c:pt idx="845" formatCode="0.00">
                  <c:v>3.54</c:v>
                </c:pt>
                <c:pt idx="846" formatCode="0.00">
                  <c:v>3.51</c:v>
                </c:pt>
                <c:pt idx="847" formatCode="0.00">
                  <c:v>3.5</c:v>
                </c:pt>
                <c:pt idx="848" formatCode="0.00">
                  <c:v>3.52</c:v>
                </c:pt>
                <c:pt idx="849" formatCode="0.00">
                  <c:v>3.43</c:v>
                </c:pt>
                <c:pt idx="850" formatCode="0.00">
                  <c:v>3.4</c:v>
                </c:pt>
                <c:pt idx="851" formatCode="0.00">
                  <c:v>3.45</c:v>
                </c:pt>
                <c:pt idx="852" formatCode="0.00">
                  <c:v>3.49</c:v>
                </c:pt>
                <c:pt idx="853" formatCode="0.00">
                  <c:v>3.54</c:v>
                </c:pt>
                <c:pt idx="854" formatCode="0.00">
                  <c:v>3.67</c:v>
                </c:pt>
                <c:pt idx="855" formatCode="0.00">
                  <c:v>3.61</c:v>
                </c:pt>
                <c:pt idx="856" formatCode="0.00">
                  <c:v>3.75</c:v>
                </c:pt>
                <c:pt idx="857" formatCode="0.00">
                  <c:v>3.83</c:v>
                </c:pt>
                <c:pt idx="858" formatCode="0.00">
                  <c:v>3.97</c:v>
                </c:pt>
                <c:pt idx="859" formatCode="0.00">
                  <c:v>3.96</c:v>
                </c:pt>
                <c:pt idx="860" formatCode="0.00">
                  <c:v>3.95</c:v>
                </c:pt>
                <c:pt idx="861" formatCode="0.00">
                  <c:v>4.21</c:v>
                </c:pt>
                <c:pt idx="862" formatCode="0.00">
                  <c:v>4.17</c:v>
                </c:pt>
                <c:pt idx="863" formatCode="0.00">
                  <c:v>4.13</c:v>
                </c:pt>
                <c:pt idx="864" formatCode="0.00">
                  <c:v>4.05</c:v>
                </c:pt>
                <c:pt idx="865" formatCode="0.00">
                  <c:v>4.09</c:v>
                </c:pt>
                <c:pt idx="866" formatCode="0.00">
                  <c:v>3.95</c:v>
                </c:pt>
                <c:pt idx="867" formatCode="0.00">
                  <c:v>3.85</c:v>
                </c:pt>
                <c:pt idx="868" formatCode="0.00">
                  <c:v>3.81</c:v>
                </c:pt>
                <c:pt idx="869" formatCode="0.00">
                  <c:v>3.85</c:v>
                </c:pt>
                <c:pt idx="870" formatCode="0.00">
                  <c:v>3.83</c:v>
                </c:pt>
                <c:pt idx="871" formatCode="0.00">
                  <c:v>3.9</c:v>
                </c:pt>
                <c:pt idx="872" formatCode="0.00">
                  <c:v>3.88</c:v>
                </c:pt>
                <c:pt idx="873" formatCode="0.00">
                  <c:v>3.84</c:v>
                </c:pt>
                <c:pt idx="874" formatCode="0.00">
                  <c:v>3.91</c:v>
                </c:pt>
                <c:pt idx="875" formatCode="0.00">
                  <c:v>3.84</c:v>
                </c:pt>
                <c:pt idx="876" formatCode="0.00">
                  <c:v>3.92</c:v>
                </c:pt>
                <c:pt idx="877" formatCode="General">
                  <c:v>3.82</c:v>
                </c:pt>
                <c:pt idx="878" formatCode="General">
                  <c:v>3.91</c:v>
                </c:pt>
                <c:pt idx="879" formatCode="General">
                  <c:v>3.78</c:v>
                </c:pt>
                <c:pt idx="880" formatCode="General">
                  <c:v>3.72</c:v>
                </c:pt>
                <c:pt idx="881" formatCode="0.00">
                  <c:v>3.7</c:v>
                </c:pt>
                <c:pt idx="882" formatCode="General">
                  <c:v>3.76</c:v>
                </c:pt>
                <c:pt idx="883" formatCode="General">
                  <c:v>3.74</c:v>
                </c:pt>
                <c:pt idx="884" formatCode="General">
                  <c:v>3.67</c:v>
                </c:pt>
                <c:pt idx="885" formatCode="General">
                  <c:v>3.66</c:v>
                </c:pt>
                <c:pt idx="886" formatCode="General">
                  <c:v>3.63</c:v>
                </c:pt>
                <c:pt idx="887" formatCode="General">
                  <c:v>3.62</c:v>
                </c:pt>
                <c:pt idx="888" formatCode="General">
                  <c:v>3.58</c:v>
                </c:pt>
                <c:pt idx="889" formatCode="General">
                  <c:v>3.48</c:v>
                </c:pt>
                <c:pt idx="890" formatCode="General">
                  <c:v>3.55</c:v>
                </c:pt>
                <c:pt idx="896" formatCode="0.00">
                  <c:v>3.8609090909090908</c:v>
                </c:pt>
                <c:pt idx="897" formatCode="0.00">
                  <c:v>3.7294444444444443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yield_out!$H$1</c:f>
              <c:strCache>
                <c:ptCount val="1"/>
                <c:pt idx="0">
                  <c:v>15 éves</c:v>
                </c:pt>
              </c:strCache>
            </c:strRef>
          </c:tx>
          <c:spPr>
            <a:ln>
              <a:solidFill>
                <a:srgbClr val="006666"/>
              </a:solidFill>
            </a:ln>
          </c:spPr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H$1012:$H$1980</c:f>
              <c:numCache>
                <c:formatCode>#\ ##0.00\ </c:formatCode>
                <c:ptCount val="969"/>
                <c:pt idx="0">
                  <c:v>10.02</c:v>
                </c:pt>
                <c:pt idx="1">
                  <c:v>10.31</c:v>
                </c:pt>
                <c:pt idx="2">
                  <c:v>10.57</c:v>
                </c:pt>
                <c:pt idx="3">
                  <c:v>10.66</c:v>
                </c:pt>
                <c:pt idx="4">
                  <c:v>9.9</c:v>
                </c:pt>
                <c:pt idx="5">
                  <c:v>9.67</c:v>
                </c:pt>
                <c:pt idx="6">
                  <c:v>9.66</c:v>
                </c:pt>
                <c:pt idx="7">
                  <c:v>9.4499999999999993</c:v>
                </c:pt>
                <c:pt idx="8">
                  <c:v>9.27</c:v>
                </c:pt>
                <c:pt idx="9">
                  <c:v>9.4600000000000009</c:v>
                </c:pt>
                <c:pt idx="10">
                  <c:v>9.57</c:v>
                </c:pt>
                <c:pt idx="11">
                  <c:v>9.67</c:v>
                </c:pt>
                <c:pt idx="12">
                  <c:v>9.43</c:v>
                </c:pt>
                <c:pt idx="13">
                  <c:v>9.16</c:v>
                </c:pt>
                <c:pt idx="14">
                  <c:v>9.23</c:v>
                </c:pt>
                <c:pt idx="15">
                  <c:v>9.2100000000000009</c:v>
                </c:pt>
                <c:pt idx="16">
                  <c:v>9.1199999999999992</c:v>
                </c:pt>
                <c:pt idx="17">
                  <c:v>8.83</c:v>
                </c:pt>
                <c:pt idx="18">
                  <c:v>8.69</c:v>
                </c:pt>
                <c:pt idx="19">
                  <c:v>8.73</c:v>
                </c:pt>
                <c:pt idx="20">
                  <c:v>8.83</c:v>
                </c:pt>
                <c:pt idx="21">
                  <c:v>8.86</c:v>
                </c:pt>
                <c:pt idx="22">
                  <c:v>8.83</c:v>
                </c:pt>
                <c:pt idx="23">
                  <c:v>8.73</c:v>
                </c:pt>
                <c:pt idx="24">
                  <c:v>8.67</c:v>
                </c:pt>
                <c:pt idx="25">
                  <c:v>8.52</c:v>
                </c:pt>
                <c:pt idx="26">
                  <c:v>8.48</c:v>
                </c:pt>
                <c:pt idx="27">
                  <c:v>8.23</c:v>
                </c:pt>
                <c:pt idx="28">
                  <c:v>8.35</c:v>
                </c:pt>
                <c:pt idx="29">
                  <c:v>8.5399999999999991</c:v>
                </c:pt>
                <c:pt idx="30">
                  <c:v>8.4499999999999993</c:v>
                </c:pt>
                <c:pt idx="31">
                  <c:v>8.5299999999999994</c:v>
                </c:pt>
                <c:pt idx="32">
                  <c:v>8.24</c:v>
                </c:pt>
                <c:pt idx="33">
                  <c:v>8.4</c:v>
                </c:pt>
                <c:pt idx="34">
                  <c:v>8.36</c:v>
                </c:pt>
                <c:pt idx="35">
                  <c:v>8.31</c:v>
                </c:pt>
                <c:pt idx="36">
                  <c:v>8.4600000000000009</c:v>
                </c:pt>
                <c:pt idx="37">
                  <c:v>8.7200000000000006</c:v>
                </c:pt>
                <c:pt idx="38">
                  <c:v>8.77</c:v>
                </c:pt>
                <c:pt idx="39">
                  <c:v>8.6199999999999992</c:v>
                </c:pt>
                <c:pt idx="40">
                  <c:v>8.81</c:v>
                </c:pt>
                <c:pt idx="41">
                  <c:v>8.6999999999999993</c:v>
                </c:pt>
                <c:pt idx="42">
                  <c:v>8.5500000000000007</c:v>
                </c:pt>
                <c:pt idx="43">
                  <c:v>8.3800000000000008</c:v>
                </c:pt>
                <c:pt idx="44">
                  <c:v>8.36</c:v>
                </c:pt>
                <c:pt idx="45">
                  <c:v>8.51</c:v>
                </c:pt>
                <c:pt idx="46">
                  <c:v>8.59</c:v>
                </c:pt>
                <c:pt idx="47">
                  <c:v>8.61</c:v>
                </c:pt>
                <c:pt idx="48">
                  <c:v>8.6</c:v>
                </c:pt>
                <c:pt idx="49">
                  <c:v>8.61</c:v>
                </c:pt>
                <c:pt idx="50">
                  <c:v>8.6300000000000008</c:v>
                </c:pt>
                <c:pt idx="51">
                  <c:v>8.6</c:v>
                </c:pt>
                <c:pt idx="52">
                  <c:v>8.57</c:v>
                </c:pt>
                <c:pt idx="53">
                  <c:v>8.57</c:v>
                </c:pt>
                <c:pt idx="54">
                  <c:v>8.61</c:v>
                </c:pt>
                <c:pt idx="55">
                  <c:v>8.65</c:v>
                </c:pt>
                <c:pt idx="56">
                  <c:v>8.7799999999999994</c:v>
                </c:pt>
                <c:pt idx="57">
                  <c:v>8.8000000000000007</c:v>
                </c:pt>
                <c:pt idx="58">
                  <c:v>8.8699999999999992</c:v>
                </c:pt>
                <c:pt idx="59">
                  <c:v>8.77</c:v>
                </c:pt>
                <c:pt idx="60">
                  <c:v>8.86</c:v>
                </c:pt>
                <c:pt idx="61">
                  <c:v>8.91</c:v>
                </c:pt>
                <c:pt idx="62">
                  <c:v>8.9700000000000006</c:v>
                </c:pt>
                <c:pt idx="63">
                  <c:v>8.84</c:v>
                </c:pt>
                <c:pt idx="64">
                  <c:v>8.82</c:v>
                </c:pt>
                <c:pt idx="65">
                  <c:v>8.89</c:v>
                </c:pt>
                <c:pt idx="66">
                  <c:v>8.9600000000000009</c:v>
                </c:pt>
                <c:pt idx="67">
                  <c:v>8.9700000000000006</c:v>
                </c:pt>
                <c:pt idx="68">
                  <c:v>8.93</c:v>
                </c:pt>
                <c:pt idx="69">
                  <c:v>8.8699999999999992</c:v>
                </c:pt>
                <c:pt idx="70">
                  <c:v>8.93</c:v>
                </c:pt>
                <c:pt idx="71">
                  <c:v>8.94</c:v>
                </c:pt>
                <c:pt idx="72">
                  <c:v>8.92</c:v>
                </c:pt>
                <c:pt idx="73">
                  <c:v>8.8699999999999992</c:v>
                </c:pt>
                <c:pt idx="74">
                  <c:v>8.84</c:v>
                </c:pt>
                <c:pt idx="75">
                  <c:v>8.81</c:v>
                </c:pt>
                <c:pt idx="76">
                  <c:v>8.8699999999999992</c:v>
                </c:pt>
                <c:pt idx="77">
                  <c:v>8.8699999999999992</c:v>
                </c:pt>
                <c:pt idx="78">
                  <c:v>7.95</c:v>
                </c:pt>
                <c:pt idx="79">
                  <c:v>7.93</c:v>
                </c:pt>
                <c:pt idx="80">
                  <c:v>7.94</c:v>
                </c:pt>
                <c:pt idx="81">
                  <c:v>7.92</c:v>
                </c:pt>
                <c:pt idx="82">
                  <c:v>7.94</c:v>
                </c:pt>
                <c:pt idx="83">
                  <c:v>7.97</c:v>
                </c:pt>
                <c:pt idx="84">
                  <c:v>8.07</c:v>
                </c:pt>
                <c:pt idx="85">
                  <c:v>8.0399999999999991</c:v>
                </c:pt>
                <c:pt idx="86">
                  <c:v>8.17</c:v>
                </c:pt>
                <c:pt idx="87">
                  <c:v>8.1300000000000008</c:v>
                </c:pt>
                <c:pt idx="88">
                  <c:v>8.18</c:v>
                </c:pt>
                <c:pt idx="89">
                  <c:v>8.19</c:v>
                </c:pt>
                <c:pt idx="90">
                  <c:v>8.17</c:v>
                </c:pt>
                <c:pt idx="91">
                  <c:v>8.36</c:v>
                </c:pt>
                <c:pt idx="92">
                  <c:v>8.44</c:v>
                </c:pt>
                <c:pt idx="93">
                  <c:v>8.5</c:v>
                </c:pt>
                <c:pt idx="94">
                  <c:v>8.42</c:v>
                </c:pt>
                <c:pt idx="95">
                  <c:v>8.35</c:v>
                </c:pt>
                <c:pt idx="96">
                  <c:v>8.57</c:v>
                </c:pt>
                <c:pt idx="97">
                  <c:v>8.49</c:v>
                </c:pt>
                <c:pt idx="98">
                  <c:v>8.43</c:v>
                </c:pt>
                <c:pt idx="99">
                  <c:v>8.44</c:v>
                </c:pt>
                <c:pt idx="100">
                  <c:v>8.48</c:v>
                </c:pt>
                <c:pt idx="101">
                  <c:v>8.65</c:v>
                </c:pt>
                <c:pt idx="102">
                  <c:v>8.92</c:v>
                </c:pt>
                <c:pt idx="103">
                  <c:v>8.84</c:v>
                </c:pt>
                <c:pt idx="104">
                  <c:v>8.81</c:v>
                </c:pt>
                <c:pt idx="105">
                  <c:v>8.7100000000000009</c:v>
                </c:pt>
                <c:pt idx="106">
                  <c:v>8.25</c:v>
                </c:pt>
                <c:pt idx="107">
                  <c:v>8.35</c:v>
                </c:pt>
                <c:pt idx="108">
                  <c:v>8.39</c:v>
                </c:pt>
                <c:pt idx="109">
                  <c:v>8.44</c:v>
                </c:pt>
                <c:pt idx="110">
                  <c:v>8.4600000000000009</c:v>
                </c:pt>
                <c:pt idx="111">
                  <c:v>8.49</c:v>
                </c:pt>
                <c:pt idx="112">
                  <c:v>8.43</c:v>
                </c:pt>
                <c:pt idx="113">
                  <c:v>8.18</c:v>
                </c:pt>
                <c:pt idx="114">
                  <c:v>8.08</c:v>
                </c:pt>
                <c:pt idx="115">
                  <c:v>8.0299999999999994</c:v>
                </c:pt>
                <c:pt idx="116">
                  <c:v>7.92</c:v>
                </c:pt>
                <c:pt idx="117">
                  <c:v>8.01</c:v>
                </c:pt>
                <c:pt idx="118">
                  <c:v>8</c:v>
                </c:pt>
                <c:pt idx="119">
                  <c:v>7.95</c:v>
                </c:pt>
                <c:pt idx="120">
                  <c:v>7.97</c:v>
                </c:pt>
                <c:pt idx="121">
                  <c:v>7.89</c:v>
                </c:pt>
                <c:pt idx="122">
                  <c:v>7.89</c:v>
                </c:pt>
                <c:pt idx="123">
                  <c:v>7.8</c:v>
                </c:pt>
                <c:pt idx="124">
                  <c:v>7.82</c:v>
                </c:pt>
                <c:pt idx="125">
                  <c:v>7.77</c:v>
                </c:pt>
                <c:pt idx="126">
                  <c:v>7.76</c:v>
                </c:pt>
                <c:pt idx="127">
                  <c:v>7.85</c:v>
                </c:pt>
                <c:pt idx="128">
                  <c:v>7.9</c:v>
                </c:pt>
                <c:pt idx="129">
                  <c:v>7.89</c:v>
                </c:pt>
                <c:pt idx="130">
                  <c:v>7.91</c:v>
                </c:pt>
                <c:pt idx="131">
                  <c:v>7.85</c:v>
                </c:pt>
                <c:pt idx="132">
                  <c:v>7.64</c:v>
                </c:pt>
                <c:pt idx="133">
                  <c:v>7.31</c:v>
                </c:pt>
                <c:pt idx="134">
                  <c:v>7.26</c:v>
                </c:pt>
                <c:pt idx="135">
                  <c:v>7.35</c:v>
                </c:pt>
                <c:pt idx="136">
                  <c:v>7.15</c:v>
                </c:pt>
                <c:pt idx="137">
                  <c:v>7.19</c:v>
                </c:pt>
                <c:pt idx="138">
                  <c:v>7.31</c:v>
                </c:pt>
                <c:pt idx="139">
                  <c:v>7.32</c:v>
                </c:pt>
                <c:pt idx="140">
                  <c:v>7.66</c:v>
                </c:pt>
                <c:pt idx="141">
                  <c:v>7.62</c:v>
                </c:pt>
                <c:pt idx="142">
                  <c:v>7.49</c:v>
                </c:pt>
                <c:pt idx="143">
                  <c:v>7.39</c:v>
                </c:pt>
                <c:pt idx="144">
                  <c:v>7.38</c:v>
                </c:pt>
                <c:pt idx="145">
                  <c:v>7.4</c:v>
                </c:pt>
                <c:pt idx="146">
                  <c:v>7.4</c:v>
                </c:pt>
                <c:pt idx="147">
                  <c:v>7.45</c:v>
                </c:pt>
                <c:pt idx="148">
                  <c:v>7.31</c:v>
                </c:pt>
                <c:pt idx="149">
                  <c:v>7.32</c:v>
                </c:pt>
                <c:pt idx="150">
                  <c:v>7.44</c:v>
                </c:pt>
                <c:pt idx="151">
                  <c:v>7.32</c:v>
                </c:pt>
                <c:pt idx="152">
                  <c:v>7.39</c:v>
                </c:pt>
                <c:pt idx="153">
                  <c:v>7.4</c:v>
                </c:pt>
                <c:pt idx="154">
                  <c:v>7.42</c:v>
                </c:pt>
                <c:pt idx="155">
                  <c:v>7.41</c:v>
                </c:pt>
                <c:pt idx="156">
                  <c:v>7.41</c:v>
                </c:pt>
                <c:pt idx="157">
                  <c:v>7.41</c:v>
                </c:pt>
                <c:pt idx="158">
                  <c:v>7.37</c:v>
                </c:pt>
                <c:pt idx="159">
                  <c:v>7.38</c:v>
                </c:pt>
                <c:pt idx="160">
                  <c:v>7.34</c:v>
                </c:pt>
                <c:pt idx="161">
                  <c:v>7.39</c:v>
                </c:pt>
                <c:pt idx="162">
                  <c:v>7.4</c:v>
                </c:pt>
                <c:pt idx="163">
                  <c:v>7.43</c:v>
                </c:pt>
                <c:pt idx="164">
                  <c:v>7.43</c:v>
                </c:pt>
                <c:pt idx="165">
                  <c:v>7.43</c:v>
                </c:pt>
                <c:pt idx="166">
                  <c:v>7.32</c:v>
                </c:pt>
                <c:pt idx="167">
                  <c:v>7.33</c:v>
                </c:pt>
                <c:pt idx="168">
                  <c:v>7.34</c:v>
                </c:pt>
                <c:pt idx="169">
                  <c:v>7.41</c:v>
                </c:pt>
                <c:pt idx="170">
                  <c:v>7.38</c:v>
                </c:pt>
                <c:pt idx="171">
                  <c:v>7.5</c:v>
                </c:pt>
                <c:pt idx="172">
                  <c:v>7.42</c:v>
                </c:pt>
                <c:pt idx="173">
                  <c:v>7.4</c:v>
                </c:pt>
                <c:pt idx="174">
                  <c:v>7.34</c:v>
                </c:pt>
                <c:pt idx="175">
                  <c:v>7.35</c:v>
                </c:pt>
                <c:pt idx="176">
                  <c:v>7.23</c:v>
                </c:pt>
                <c:pt idx="177">
                  <c:v>7.27</c:v>
                </c:pt>
                <c:pt idx="178">
                  <c:v>7.31</c:v>
                </c:pt>
                <c:pt idx="179">
                  <c:v>7.31</c:v>
                </c:pt>
                <c:pt idx="180">
                  <c:v>7.33</c:v>
                </c:pt>
                <c:pt idx="181">
                  <c:v>7.3</c:v>
                </c:pt>
                <c:pt idx="182">
                  <c:v>7.31</c:v>
                </c:pt>
                <c:pt idx="183">
                  <c:v>7.24</c:v>
                </c:pt>
                <c:pt idx="184">
                  <c:v>7.3</c:v>
                </c:pt>
                <c:pt idx="185">
                  <c:v>7.32</c:v>
                </c:pt>
                <c:pt idx="186">
                  <c:v>7.3</c:v>
                </c:pt>
                <c:pt idx="187">
                  <c:v>7.44</c:v>
                </c:pt>
                <c:pt idx="188">
                  <c:v>7.47</c:v>
                </c:pt>
                <c:pt idx="189">
                  <c:v>7.49</c:v>
                </c:pt>
                <c:pt idx="190">
                  <c:v>7.5</c:v>
                </c:pt>
                <c:pt idx="191">
                  <c:v>7.37</c:v>
                </c:pt>
                <c:pt idx="192">
                  <c:v>7.29</c:v>
                </c:pt>
                <c:pt idx="193">
                  <c:v>7.28</c:v>
                </c:pt>
                <c:pt idx="194">
                  <c:v>7.27</c:v>
                </c:pt>
                <c:pt idx="195">
                  <c:v>7.2</c:v>
                </c:pt>
                <c:pt idx="196">
                  <c:v>6.92</c:v>
                </c:pt>
                <c:pt idx="197">
                  <c:v>6.83</c:v>
                </c:pt>
                <c:pt idx="198">
                  <c:v>6.57</c:v>
                </c:pt>
                <c:pt idx="199">
                  <c:v>6.8</c:v>
                </c:pt>
                <c:pt idx="200">
                  <c:v>6.59</c:v>
                </c:pt>
                <c:pt idx="201">
                  <c:v>6.67</c:v>
                </c:pt>
                <c:pt idx="202">
                  <c:v>6.64</c:v>
                </c:pt>
                <c:pt idx="203">
                  <c:v>6.65</c:v>
                </c:pt>
                <c:pt idx="204">
                  <c:v>6.83</c:v>
                </c:pt>
                <c:pt idx="205">
                  <c:v>7.18</c:v>
                </c:pt>
                <c:pt idx="206">
                  <c:v>7.01</c:v>
                </c:pt>
                <c:pt idx="207">
                  <c:v>6.95</c:v>
                </c:pt>
                <c:pt idx="208">
                  <c:v>6.96</c:v>
                </c:pt>
                <c:pt idx="209">
                  <c:v>6.93</c:v>
                </c:pt>
                <c:pt idx="210">
                  <c:v>6.86</c:v>
                </c:pt>
                <c:pt idx="211">
                  <c:v>7.03</c:v>
                </c:pt>
                <c:pt idx="212">
                  <c:v>6.99</c:v>
                </c:pt>
                <c:pt idx="213">
                  <c:v>6.94</c:v>
                </c:pt>
                <c:pt idx="214">
                  <c:v>6.96</c:v>
                </c:pt>
                <c:pt idx="215">
                  <c:v>6.91</c:v>
                </c:pt>
                <c:pt idx="216">
                  <c:v>6.91</c:v>
                </c:pt>
                <c:pt idx="217">
                  <c:v>6.9</c:v>
                </c:pt>
                <c:pt idx="218">
                  <c:v>6.9</c:v>
                </c:pt>
                <c:pt idx="219">
                  <c:v>6.91</c:v>
                </c:pt>
                <c:pt idx="220">
                  <c:v>6.97</c:v>
                </c:pt>
                <c:pt idx="221">
                  <c:v>6.96</c:v>
                </c:pt>
                <c:pt idx="222">
                  <c:v>6.95</c:v>
                </c:pt>
                <c:pt idx="223">
                  <c:v>7.03</c:v>
                </c:pt>
                <c:pt idx="224">
                  <c:v>6.99</c:v>
                </c:pt>
                <c:pt idx="225">
                  <c:v>7</c:v>
                </c:pt>
                <c:pt idx="226">
                  <c:v>6.93</c:v>
                </c:pt>
                <c:pt idx="227">
                  <c:v>6.88</c:v>
                </c:pt>
                <c:pt idx="228">
                  <c:v>6.88</c:v>
                </c:pt>
                <c:pt idx="229">
                  <c:v>6.88</c:v>
                </c:pt>
                <c:pt idx="230">
                  <c:v>6.85</c:v>
                </c:pt>
                <c:pt idx="231">
                  <c:v>6.78</c:v>
                </c:pt>
                <c:pt idx="232">
                  <c:v>6.72</c:v>
                </c:pt>
                <c:pt idx="233">
                  <c:v>6.56</c:v>
                </c:pt>
                <c:pt idx="234">
                  <c:v>6.32</c:v>
                </c:pt>
                <c:pt idx="235">
                  <c:v>6.42</c:v>
                </c:pt>
                <c:pt idx="236">
                  <c:v>6.36</c:v>
                </c:pt>
                <c:pt idx="237">
                  <c:v>6.39</c:v>
                </c:pt>
                <c:pt idx="238">
                  <c:v>6.41</c:v>
                </c:pt>
                <c:pt idx="239">
                  <c:v>6.45</c:v>
                </c:pt>
                <c:pt idx="240">
                  <c:v>6.34</c:v>
                </c:pt>
                <c:pt idx="241">
                  <c:v>6.17</c:v>
                </c:pt>
                <c:pt idx="242">
                  <c:v>6.1</c:v>
                </c:pt>
                <c:pt idx="243">
                  <c:v>6.12</c:v>
                </c:pt>
                <c:pt idx="244">
                  <c:v>6.11</c:v>
                </c:pt>
                <c:pt idx="245">
                  <c:v>6.07</c:v>
                </c:pt>
                <c:pt idx="246">
                  <c:v>5.95</c:v>
                </c:pt>
                <c:pt idx="247">
                  <c:v>6.34</c:v>
                </c:pt>
                <c:pt idx="248">
                  <c:v>6.16</c:v>
                </c:pt>
                <c:pt idx="249">
                  <c:v>6.15</c:v>
                </c:pt>
                <c:pt idx="250">
                  <c:v>6.13</c:v>
                </c:pt>
                <c:pt idx="251">
                  <c:v>6.06</c:v>
                </c:pt>
                <c:pt idx="252">
                  <c:v>6.23</c:v>
                </c:pt>
                <c:pt idx="253">
                  <c:v>6.21</c:v>
                </c:pt>
                <c:pt idx="254">
                  <c:v>6.14</c:v>
                </c:pt>
                <c:pt idx="255">
                  <c:v>6.2</c:v>
                </c:pt>
                <c:pt idx="256">
                  <c:v>6.2</c:v>
                </c:pt>
                <c:pt idx="257">
                  <c:v>6.24</c:v>
                </c:pt>
                <c:pt idx="258">
                  <c:v>6.26</c:v>
                </c:pt>
                <c:pt idx="259">
                  <c:v>6.32</c:v>
                </c:pt>
                <c:pt idx="260">
                  <c:v>6.33</c:v>
                </c:pt>
                <c:pt idx="261">
                  <c:v>6.29</c:v>
                </c:pt>
                <c:pt idx="262">
                  <c:v>6.42</c:v>
                </c:pt>
                <c:pt idx="263">
                  <c:v>6.44</c:v>
                </c:pt>
                <c:pt idx="264">
                  <c:v>6.45</c:v>
                </c:pt>
                <c:pt idx="265">
                  <c:v>6.42</c:v>
                </c:pt>
                <c:pt idx="266">
                  <c:v>6.35</c:v>
                </c:pt>
                <c:pt idx="267">
                  <c:v>6.35</c:v>
                </c:pt>
                <c:pt idx="268">
                  <c:v>6.32</c:v>
                </c:pt>
                <c:pt idx="269">
                  <c:v>6.41</c:v>
                </c:pt>
                <c:pt idx="270">
                  <c:v>6.48</c:v>
                </c:pt>
                <c:pt idx="271">
                  <c:v>6.47</c:v>
                </c:pt>
                <c:pt idx="272">
                  <c:v>6.45</c:v>
                </c:pt>
                <c:pt idx="273">
                  <c:v>6.4</c:v>
                </c:pt>
                <c:pt idx="274">
                  <c:v>6.4</c:v>
                </c:pt>
                <c:pt idx="275">
                  <c:v>6.34</c:v>
                </c:pt>
                <c:pt idx="276">
                  <c:v>6.34</c:v>
                </c:pt>
                <c:pt idx="277">
                  <c:v>6.39</c:v>
                </c:pt>
                <c:pt idx="278">
                  <c:v>6.33</c:v>
                </c:pt>
                <c:pt idx="279">
                  <c:v>6.11</c:v>
                </c:pt>
                <c:pt idx="280">
                  <c:v>6.23</c:v>
                </c:pt>
                <c:pt idx="281">
                  <c:v>6.27</c:v>
                </c:pt>
                <c:pt idx="282">
                  <c:v>6.28</c:v>
                </c:pt>
                <c:pt idx="283">
                  <c:v>6.27</c:v>
                </c:pt>
                <c:pt idx="284">
                  <c:v>6.31</c:v>
                </c:pt>
                <c:pt idx="285">
                  <c:v>6.33</c:v>
                </c:pt>
                <c:pt idx="286">
                  <c:v>6.33</c:v>
                </c:pt>
                <c:pt idx="287">
                  <c:v>6.22</c:v>
                </c:pt>
                <c:pt idx="288">
                  <c:v>6.27</c:v>
                </c:pt>
                <c:pt idx="289">
                  <c:v>6.39</c:v>
                </c:pt>
                <c:pt idx="290">
                  <c:v>6.39</c:v>
                </c:pt>
                <c:pt idx="291">
                  <c:v>6.41</c:v>
                </c:pt>
                <c:pt idx="292">
                  <c:v>6.41</c:v>
                </c:pt>
                <c:pt idx="293">
                  <c:v>6.49</c:v>
                </c:pt>
                <c:pt idx="294">
                  <c:v>6.5</c:v>
                </c:pt>
                <c:pt idx="295">
                  <c:v>6.61</c:v>
                </c:pt>
                <c:pt idx="296">
                  <c:v>6.6</c:v>
                </c:pt>
                <c:pt idx="297">
                  <c:v>6.66</c:v>
                </c:pt>
                <c:pt idx="298">
                  <c:v>6.64</c:v>
                </c:pt>
                <c:pt idx="299">
                  <c:v>6.61</c:v>
                </c:pt>
                <c:pt idx="300">
                  <c:v>6.6</c:v>
                </c:pt>
                <c:pt idx="301">
                  <c:v>6.65</c:v>
                </c:pt>
                <c:pt idx="302">
                  <c:v>6.6</c:v>
                </c:pt>
                <c:pt idx="303">
                  <c:v>6.51</c:v>
                </c:pt>
                <c:pt idx="304">
                  <c:v>6.42</c:v>
                </c:pt>
                <c:pt idx="305">
                  <c:v>6.43</c:v>
                </c:pt>
                <c:pt idx="306">
                  <c:v>6.4</c:v>
                </c:pt>
                <c:pt idx="307">
                  <c:v>6.25</c:v>
                </c:pt>
                <c:pt idx="308">
                  <c:v>6.17</c:v>
                </c:pt>
                <c:pt idx="309">
                  <c:v>6.17</c:v>
                </c:pt>
                <c:pt idx="310">
                  <c:v>5.97</c:v>
                </c:pt>
                <c:pt idx="311">
                  <c:v>5.94</c:v>
                </c:pt>
                <c:pt idx="312">
                  <c:v>5.91</c:v>
                </c:pt>
                <c:pt idx="313">
                  <c:v>5.89</c:v>
                </c:pt>
                <c:pt idx="314">
                  <c:v>5.81</c:v>
                </c:pt>
                <c:pt idx="315">
                  <c:v>5.68</c:v>
                </c:pt>
                <c:pt idx="316">
                  <c:v>5.65</c:v>
                </c:pt>
                <c:pt idx="317">
                  <c:v>5.7</c:v>
                </c:pt>
                <c:pt idx="318">
                  <c:v>5.67</c:v>
                </c:pt>
                <c:pt idx="319">
                  <c:v>5.62</c:v>
                </c:pt>
                <c:pt idx="320">
                  <c:v>5.65</c:v>
                </c:pt>
                <c:pt idx="321">
                  <c:v>5.52</c:v>
                </c:pt>
                <c:pt idx="322">
                  <c:v>5.48</c:v>
                </c:pt>
                <c:pt idx="323">
                  <c:v>5.53</c:v>
                </c:pt>
                <c:pt idx="324">
                  <c:v>5.66</c:v>
                </c:pt>
                <c:pt idx="325">
                  <c:v>5.6</c:v>
                </c:pt>
                <c:pt idx="326">
                  <c:v>5.53</c:v>
                </c:pt>
                <c:pt idx="327">
                  <c:v>5.42</c:v>
                </c:pt>
                <c:pt idx="328">
                  <c:v>5.23</c:v>
                </c:pt>
                <c:pt idx="329">
                  <c:v>5.3</c:v>
                </c:pt>
                <c:pt idx="330">
                  <c:v>5.28</c:v>
                </c:pt>
                <c:pt idx="331">
                  <c:v>5.24</c:v>
                </c:pt>
                <c:pt idx="332">
                  <c:v>5.22</c:v>
                </c:pt>
                <c:pt idx="333">
                  <c:v>5.38</c:v>
                </c:pt>
                <c:pt idx="334">
                  <c:v>5.37</c:v>
                </c:pt>
                <c:pt idx="335">
                  <c:v>5.4</c:v>
                </c:pt>
                <c:pt idx="336">
                  <c:v>5.26</c:v>
                </c:pt>
                <c:pt idx="337">
                  <c:v>5.19</c:v>
                </c:pt>
                <c:pt idx="338">
                  <c:v>5.2</c:v>
                </c:pt>
                <c:pt idx="339">
                  <c:v>5.32</c:v>
                </c:pt>
                <c:pt idx="340">
                  <c:v>5.33</c:v>
                </c:pt>
                <c:pt idx="341">
                  <c:v>5.44</c:v>
                </c:pt>
                <c:pt idx="342">
                  <c:v>5.36</c:v>
                </c:pt>
                <c:pt idx="343">
                  <c:v>5.39</c:v>
                </c:pt>
                <c:pt idx="344">
                  <c:v>5.37</c:v>
                </c:pt>
                <c:pt idx="345">
                  <c:v>5.47</c:v>
                </c:pt>
                <c:pt idx="346">
                  <c:v>5.87</c:v>
                </c:pt>
                <c:pt idx="347">
                  <c:v>5.96</c:v>
                </c:pt>
                <c:pt idx="348">
                  <c:v>5.92</c:v>
                </c:pt>
                <c:pt idx="349">
                  <c:v>5.72</c:v>
                </c:pt>
                <c:pt idx="350">
                  <c:v>5.92</c:v>
                </c:pt>
                <c:pt idx="351">
                  <c:v>6.07</c:v>
                </c:pt>
                <c:pt idx="352">
                  <c:v>6.07</c:v>
                </c:pt>
                <c:pt idx="353">
                  <c:v>6.17</c:v>
                </c:pt>
                <c:pt idx="354">
                  <c:v>6.63</c:v>
                </c:pt>
                <c:pt idx="355">
                  <c:v>6.28</c:v>
                </c:pt>
                <c:pt idx="356">
                  <c:v>6.37</c:v>
                </c:pt>
                <c:pt idx="357">
                  <c:v>6.08</c:v>
                </c:pt>
                <c:pt idx="358">
                  <c:v>5.98</c:v>
                </c:pt>
                <c:pt idx="359">
                  <c:v>6.1</c:v>
                </c:pt>
                <c:pt idx="360">
                  <c:v>6.17</c:v>
                </c:pt>
                <c:pt idx="361">
                  <c:v>6.6</c:v>
                </c:pt>
                <c:pt idx="362">
                  <c:v>6.73</c:v>
                </c:pt>
                <c:pt idx="363">
                  <c:v>7.04</c:v>
                </c:pt>
                <c:pt idx="364">
                  <c:v>6.9</c:v>
                </c:pt>
                <c:pt idx="365">
                  <c:v>6.98</c:v>
                </c:pt>
                <c:pt idx="366">
                  <c:v>6.68</c:v>
                </c:pt>
                <c:pt idx="367">
                  <c:v>6.52</c:v>
                </c:pt>
                <c:pt idx="368">
                  <c:v>6.35</c:v>
                </c:pt>
                <c:pt idx="369">
                  <c:v>5.96</c:v>
                </c:pt>
                <c:pt idx="370">
                  <c:v>6.11</c:v>
                </c:pt>
                <c:pt idx="371">
                  <c:v>6.08</c:v>
                </c:pt>
                <c:pt idx="372">
                  <c:v>5.94</c:v>
                </c:pt>
                <c:pt idx="373">
                  <c:v>6.06</c:v>
                </c:pt>
                <c:pt idx="374">
                  <c:v>6.07</c:v>
                </c:pt>
                <c:pt idx="375">
                  <c:v>6.11</c:v>
                </c:pt>
                <c:pt idx="376">
                  <c:v>6.13</c:v>
                </c:pt>
                <c:pt idx="377">
                  <c:v>6.12</c:v>
                </c:pt>
                <c:pt idx="378">
                  <c:v>6.12</c:v>
                </c:pt>
                <c:pt idx="379">
                  <c:v>6.13</c:v>
                </c:pt>
                <c:pt idx="380">
                  <c:v>6.22</c:v>
                </c:pt>
                <c:pt idx="381">
                  <c:v>6.22</c:v>
                </c:pt>
                <c:pt idx="382">
                  <c:v>6.38</c:v>
                </c:pt>
                <c:pt idx="383">
                  <c:v>6.39</c:v>
                </c:pt>
                <c:pt idx="384">
                  <c:v>6.36</c:v>
                </c:pt>
                <c:pt idx="385">
                  <c:v>6.39</c:v>
                </c:pt>
                <c:pt idx="386">
                  <c:v>6.56</c:v>
                </c:pt>
                <c:pt idx="387">
                  <c:v>6.53</c:v>
                </c:pt>
                <c:pt idx="388">
                  <c:v>6.73</c:v>
                </c:pt>
                <c:pt idx="389">
                  <c:v>6.87</c:v>
                </c:pt>
                <c:pt idx="390">
                  <c:v>6.91</c:v>
                </c:pt>
                <c:pt idx="391">
                  <c:v>6.69</c:v>
                </c:pt>
                <c:pt idx="392">
                  <c:v>6.81</c:v>
                </c:pt>
                <c:pt idx="393">
                  <c:v>6.73</c:v>
                </c:pt>
                <c:pt idx="394">
                  <c:v>6.63</c:v>
                </c:pt>
                <c:pt idx="395">
                  <c:v>6.63</c:v>
                </c:pt>
                <c:pt idx="396">
                  <c:v>6.67</c:v>
                </c:pt>
                <c:pt idx="397">
                  <c:v>6.57</c:v>
                </c:pt>
                <c:pt idx="398">
                  <c:v>6.57</c:v>
                </c:pt>
                <c:pt idx="399">
                  <c:v>6.63</c:v>
                </c:pt>
                <c:pt idx="400">
                  <c:v>6.7</c:v>
                </c:pt>
                <c:pt idx="401">
                  <c:v>6.7</c:v>
                </c:pt>
                <c:pt idx="402">
                  <c:v>6.95</c:v>
                </c:pt>
                <c:pt idx="403">
                  <c:v>6.95</c:v>
                </c:pt>
                <c:pt idx="404">
                  <c:v>6.95</c:v>
                </c:pt>
                <c:pt idx="405">
                  <c:v>6.9</c:v>
                </c:pt>
                <c:pt idx="406">
                  <c:v>6.89</c:v>
                </c:pt>
                <c:pt idx="407">
                  <c:v>6.91</c:v>
                </c:pt>
                <c:pt idx="408">
                  <c:v>6.91</c:v>
                </c:pt>
                <c:pt idx="409">
                  <c:v>6.93</c:v>
                </c:pt>
                <c:pt idx="410">
                  <c:v>7.13</c:v>
                </c:pt>
                <c:pt idx="411">
                  <c:v>7.08</c:v>
                </c:pt>
                <c:pt idx="412">
                  <c:v>7.03</c:v>
                </c:pt>
                <c:pt idx="413">
                  <c:v>7.01</c:v>
                </c:pt>
                <c:pt idx="414">
                  <c:v>7.07</c:v>
                </c:pt>
                <c:pt idx="415">
                  <c:v>7.08</c:v>
                </c:pt>
                <c:pt idx="416">
                  <c:v>7.2</c:v>
                </c:pt>
                <c:pt idx="417">
                  <c:v>7.2</c:v>
                </c:pt>
                <c:pt idx="418">
                  <c:v>7.11</c:v>
                </c:pt>
                <c:pt idx="419">
                  <c:v>7.03</c:v>
                </c:pt>
                <c:pt idx="420">
                  <c:v>6.87</c:v>
                </c:pt>
                <c:pt idx="421">
                  <c:v>6.86</c:v>
                </c:pt>
                <c:pt idx="422">
                  <c:v>6.67</c:v>
                </c:pt>
                <c:pt idx="423">
                  <c:v>6.49</c:v>
                </c:pt>
                <c:pt idx="424">
                  <c:v>6.56</c:v>
                </c:pt>
                <c:pt idx="425">
                  <c:v>6.51</c:v>
                </c:pt>
                <c:pt idx="426">
                  <c:v>6.27</c:v>
                </c:pt>
                <c:pt idx="427">
                  <c:v>6.43</c:v>
                </c:pt>
                <c:pt idx="428">
                  <c:v>6.44</c:v>
                </c:pt>
                <c:pt idx="429">
                  <c:v>6.38</c:v>
                </c:pt>
                <c:pt idx="430">
                  <c:v>6.32</c:v>
                </c:pt>
                <c:pt idx="431">
                  <c:v>6.37</c:v>
                </c:pt>
                <c:pt idx="432">
                  <c:v>6.43</c:v>
                </c:pt>
                <c:pt idx="433">
                  <c:v>6.42</c:v>
                </c:pt>
                <c:pt idx="434">
                  <c:v>6.38</c:v>
                </c:pt>
                <c:pt idx="435">
                  <c:v>6.38</c:v>
                </c:pt>
                <c:pt idx="436">
                  <c:v>6.33</c:v>
                </c:pt>
                <c:pt idx="437">
                  <c:v>6.41</c:v>
                </c:pt>
                <c:pt idx="438">
                  <c:v>6.39</c:v>
                </c:pt>
                <c:pt idx="439">
                  <c:v>6.32</c:v>
                </c:pt>
                <c:pt idx="440">
                  <c:v>6.35</c:v>
                </c:pt>
                <c:pt idx="441">
                  <c:v>6.31</c:v>
                </c:pt>
                <c:pt idx="442">
                  <c:v>6.2</c:v>
                </c:pt>
                <c:pt idx="443">
                  <c:v>6.22</c:v>
                </c:pt>
                <c:pt idx="444">
                  <c:v>6.23</c:v>
                </c:pt>
                <c:pt idx="445">
                  <c:v>6.23</c:v>
                </c:pt>
                <c:pt idx="446">
                  <c:v>6.14</c:v>
                </c:pt>
                <c:pt idx="447">
                  <c:v>6.08</c:v>
                </c:pt>
                <c:pt idx="448">
                  <c:v>6.05</c:v>
                </c:pt>
                <c:pt idx="449">
                  <c:v>6.03</c:v>
                </c:pt>
                <c:pt idx="450">
                  <c:v>6.03</c:v>
                </c:pt>
                <c:pt idx="451">
                  <c:v>5.94</c:v>
                </c:pt>
                <c:pt idx="452">
                  <c:v>5.95</c:v>
                </c:pt>
                <c:pt idx="453">
                  <c:v>5.94</c:v>
                </c:pt>
                <c:pt idx="454">
                  <c:v>5.91</c:v>
                </c:pt>
                <c:pt idx="455">
                  <c:v>5.95</c:v>
                </c:pt>
                <c:pt idx="456">
                  <c:v>6.08</c:v>
                </c:pt>
                <c:pt idx="457">
                  <c:v>6.08</c:v>
                </c:pt>
                <c:pt idx="458">
                  <c:v>6.16</c:v>
                </c:pt>
                <c:pt idx="459">
                  <c:v>6.13</c:v>
                </c:pt>
                <c:pt idx="460">
                  <c:v>6.25</c:v>
                </c:pt>
                <c:pt idx="461">
                  <c:v>6.18</c:v>
                </c:pt>
                <c:pt idx="462">
                  <c:v>6.26</c:v>
                </c:pt>
                <c:pt idx="463">
                  <c:v>6.46</c:v>
                </c:pt>
                <c:pt idx="464">
                  <c:v>6.67</c:v>
                </c:pt>
                <c:pt idx="465">
                  <c:v>6.47</c:v>
                </c:pt>
                <c:pt idx="466">
                  <c:v>6.37</c:v>
                </c:pt>
                <c:pt idx="467">
                  <c:v>6.39</c:v>
                </c:pt>
                <c:pt idx="468">
                  <c:v>6.33</c:v>
                </c:pt>
                <c:pt idx="469" formatCode="General">
                  <c:v>6.32</c:v>
                </c:pt>
                <c:pt idx="470" formatCode="General">
                  <c:v>6.42</c:v>
                </c:pt>
                <c:pt idx="471" formatCode="General">
                  <c:v>6.45</c:v>
                </c:pt>
                <c:pt idx="472" formatCode="General">
                  <c:v>6.43</c:v>
                </c:pt>
                <c:pt idx="473" formatCode="General">
                  <c:v>6.49</c:v>
                </c:pt>
                <c:pt idx="474" formatCode="General">
                  <c:v>6.44</c:v>
                </c:pt>
                <c:pt idx="475" formatCode="General">
                  <c:v>6.44</c:v>
                </c:pt>
                <c:pt idx="476" formatCode="General">
                  <c:v>6.51</c:v>
                </c:pt>
                <c:pt idx="477" formatCode="General">
                  <c:v>6.58</c:v>
                </c:pt>
                <c:pt idx="478" formatCode="General">
                  <c:v>6.59</c:v>
                </c:pt>
                <c:pt idx="479" formatCode="General">
                  <c:v>6.58</c:v>
                </c:pt>
                <c:pt idx="480" formatCode="General">
                  <c:v>6.53</c:v>
                </c:pt>
                <c:pt idx="481" formatCode="General">
                  <c:v>6.4</c:v>
                </c:pt>
                <c:pt idx="482">
                  <c:v>6.38</c:v>
                </c:pt>
                <c:pt idx="483">
                  <c:v>6.33</c:v>
                </c:pt>
                <c:pt idx="484">
                  <c:v>6.32</c:v>
                </c:pt>
                <c:pt idx="485">
                  <c:v>6.36</c:v>
                </c:pt>
                <c:pt idx="486">
                  <c:v>6.38</c:v>
                </c:pt>
                <c:pt idx="487">
                  <c:v>6.39</c:v>
                </c:pt>
                <c:pt idx="488" formatCode="General">
                  <c:v>6.27</c:v>
                </c:pt>
                <c:pt idx="489" formatCode="General">
                  <c:v>6.24</c:v>
                </c:pt>
                <c:pt idx="490" formatCode="General">
                  <c:v>6.24</c:v>
                </c:pt>
                <c:pt idx="491" formatCode="General">
                  <c:v>6.26</c:v>
                </c:pt>
                <c:pt idx="492" formatCode="General">
                  <c:v>6.3</c:v>
                </c:pt>
                <c:pt idx="493" formatCode="General">
                  <c:v>6.19</c:v>
                </c:pt>
                <c:pt idx="494" formatCode="General">
                  <c:v>6.26</c:v>
                </c:pt>
                <c:pt idx="495" formatCode="General">
                  <c:v>6.26</c:v>
                </c:pt>
                <c:pt idx="496" formatCode="General">
                  <c:v>6.28</c:v>
                </c:pt>
                <c:pt idx="497" formatCode="General">
                  <c:v>6.26</c:v>
                </c:pt>
                <c:pt idx="498" formatCode="General">
                  <c:v>6.23</c:v>
                </c:pt>
                <c:pt idx="499" formatCode="General">
                  <c:v>6.23</c:v>
                </c:pt>
                <c:pt idx="500" formatCode="General">
                  <c:v>6.2</c:v>
                </c:pt>
                <c:pt idx="501" formatCode="General">
                  <c:v>6.07</c:v>
                </c:pt>
                <c:pt idx="502" formatCode="General">
                  <c:v>6.08</c:v>
                </c:pt>
                <c:pt idx="503" formatCode="General">
                  <c:v>6</c:v>
                </c:pt>
                <c:pt idx="504" formatCode="General">
                  <c:v>6.07</c:v>
                </c:pt>
                <c:pt idx="505" formatCode="General">
                  <c:v>6.05</c:v>
                </c:pt>
                <c:pt idx="506" formatCode="General">
                  <c:v>6.08</c:v>
                </c:pt>
                <c:pt idx="507" formatCode="General">
                  <c:v>6</c:v>
                </c:pt>
                <c:pt idx="508" formatCode="General">
                  <c:v>6.09</c:v>
                </c:pt>
                <c:pt idx="509" formatCode="General">
                  <c:v>6.16</c:v>
                </c:pt>
                <c:pt idx="510" formatCode="General">
                  <c:v>6.07</c:v>
                </c:pt>
                <c:pt idx="511" formatCode="General">
                  <c:v>6.1</c:v>
                </c:pt>
                <c:pt idx="512" formatCode="General">
                  <c:v>6.34</c:v>
                </c:pt>
                <c:pt idx="513" formatCode="General">
                  <c:v>6.34</c:v>
                </c:pt>
                <c:pt idx="514" formatCode="General">
                  <c:v>6.37</c:v>
                </c:pt>
                <c:pt idx="515" formatCode="General">
                  <c:v>6.5</c:v>
                </c:pt>
                <c:pt idx="516" formatCode="General">
                  <c:v>6.68</c:v>
                </c:pt>
                <c:pt idx="517" formatCode="General">
                  <c:v>6.69</c:v>
                </c:pt>
                <c:pt idx="518" formatCode="General">
                  <c:v>6.61</c:v>
                </c:pt>
                <c:pt idx="519" formatCode="General">
                  <c:v>6.56</c:v>
                </c:pt>
                <c:pt idx="520" formatCode="General">
                  <c:v>6.44</c:v>
                </c:pt>
                <c:pt idx="521" formatCode="General">
                  <c:v>6.48</c:v>
                </c:pt>
                <c:pt idx="522" formatCode="General">
                  <c:v>6.54</c:v>
                </c:pt>
                <c:pt idx="523" formatCode="General">
                  <c:v>6.61</c:v>
                </c:pt>
                <c:pt idx="524" formatCode="General">
                  <c:v>6.56</c:v>
                </c:pt>
                <c:pt idx="525" formatCode="General">
                  <c:v>6.52</c:v>
                </c:pt>
                <c:pt idx="526" formatCode="General">
                  <c:v>6.53</c:v>
                </c:pt>
                <c:pt idx="527" formatCode="General">
                  <c:v>6.48</c:v>
                </c:pt>
                <c:pt idx="528" formatCode="General">
                  <c:v>6.52</c:v>
                </c:pt>
                <c:pt idx="529" formatCode="General">
                  <c:v>6.6</c:v>
                </c:pt>
                <c:pt idx="530" formatCode="General">
                  <c:v>6.77</c:v>
                </c:pt>
                <c:pt idx="531" formatCode="General">
                  <c:v>6.72</c:v>
                </c:pt>
                <c:pt idx="532" formatCode="General">
                  <c:v>6.54</c:v>
                </c:pt>
                <c:pt idx="533" formatCode="General">
                  <c:v>6.52</c:v>
                </c:pt>
                <c:pt idx="534" formatCode="General">
                  <c:v>6.46</c:v>
                </c:pt>
                <c:pt idx="535" formatCode="General">
                  <c:v>6.47</c:v>
                </c:pt>
                <c:pt idx="536" formatCode="General">
                  <c:v>6.48</c:v>
                </c:pt>
                <c:pt idx="537" formatCode="General">
                  <c:v>6.45</c:v>
                </c:pt>
                <c:pt idx="538" formatCode="General">
                  <c:v>6.55</c:v>
                </c:pt>
                <c:pt idx="539" formatCode="General">
                  <c:v>6.31</c:v>
                </c:pt>
                <c:pt idx="540" formatCode="General">
                  <c:v>6.24</c:v>
                </c:pt>
                <c:pt idx="541" formatCode="General">
                  <c:v>6.18</c:v>
                </c:pt>
                <c:pt idx="542" formatCode="General">
                  <c:v>6.27</c:v>
                </c:pt>
                <c:pt idx="543" formatCode="General">
                  <c:v>6.35</c:v>
                </c:pt>
                <c:pt idx="544" formatCode="General">
                  <c:v>6.36</c:v>
                </c:pt>
                <c:pt idx="545" formatCode="General">
                  <c:v>6.41</c:v>
                </c:pt>
                <c:pt idx="546" formatCode="General">
                  <c:v>6.33</c:v>
                </c:pt>
                <c:pt idx="547" formatCode="General">
                  <c:v>6.36</c:v>
                </c:pt>
                <c:pt idx="548" formatCode="General">
                  <c:v>6.31</c:v>
                </c:pt>
                <c:pt idx="549" formatCode="General">
                  <c:v>6.24</c:v>
                </c:pt>
                <c:pt idx="550" formatCode="General">
                  <c:v>6.22</c:v>
                </c:pt>
                <c:pt idx="551" formatCode="General">
                  <c:v>6.19</c:v>
                </c:pt>
                <c:pt idx="552" formatCode="General">
                  <c:v>6.22</c:v>
                </c:pt>
                <c:pt idx="553" formatCode="General">
                  <c:v>6.26</c:v>
                </c:pt>
                <c:pt idx="554" formatCode="General">
                  <c:v>6.26</c:v>
                </c:pt>
                <c:pt idx="555" formatCode="General">
                  <c:v>6.21</c:v>
                </c:pt>
                <c:pt idx="556" formatCode="General">
                  <c:v>6.22</c:v>
                </c:pt>
                <c:pt idx="557" formatCode="General">
                  <c:v>6.02</c:v>
                </c:pt>
                <c:pt idx="558" formatCode="General">
                  <c:v>5.99</c:v>
                </c:pt>
                <c:pt idx="559" formatCode="General">
                  <c:v>5.99</c:v>
                </c:pt>
                <c:pt idx="560" formatCode="General">
                  <c:v>6.03</c:v>
                </c:pt>
                <c:pt idx="561" formatCode="General">
                  <c:v>6.04</c:v>
                </c:pt>
                <c:pt idx="562">
                  <c:v>6.01</c:v>
                </c:pt>
                <c:pt idx="563" formatCode="General">
                  <c:v>6</c:v>
                </c:pt>
                <c:pt idx="564" formatCode="General">
                  <c:v>5.91</c:v>
                </c:pt>
                <c:pt idx="565" formatCode="General">
                  <c:v>5.99</c:v>
                </c:pt>
                <c:pt idx="566" formatCode="General">
                  <c:v>5.97</c:v>
                </c:pt>
                <c:pt idx="567" formatCode="General">
                  <c:v>5.99</c:v>
                </c:pt>
                <c:pt idx="568" formatCode="General">
                  <c:v>6.05</c:v>
                </c:pt>
                <c:pt idx="569" formatCode="General">
                  <c:v>6.04</c:v>
                </c:pt>
                <c:pt idx="570" formatCode="General">
                  <c:v>6.03</c:v>
                </c:pt>
                <c:pt idx="571" formatCode="General">
                  <c:v>5.99</c:v>
                </c:pt>
                <c:pt idx="572" formatCode="General">
                  <c:v>5.99</c:v>
                </c:pt>
                <c:pt idx="573" formatCode="General">
                  <c:v>5.99</c:v>
                </c:pt>
                <c:pt idx="574" formatCode="General">
                  <c:v>5.97</c:v>
                </c:pt>
                <c:pt idx="575" formatCode="General">
                  <c:v>6.02</c:v>
                </c:pt>
                <c:pt idx="576" formatCode="General">
                  <c:v>5.93</c:v>
                </c:pt>
                <c:pt idx="577" formatCode="General">
                  <c:v>6.01</c:v>
                </c:pt>
                <c:pt idx="578" formatCode="General">
                  <c:v>6.05</c:v>
                </c:pt>
                <c:pt idx="579" formatCode="General">
                  <c:v>5.9</c:v>
                </c:pt>
                <c:pt idx="580" formatCode="General">
                  <c:v>5.74</c:v>
                </c:pt>
                <c:pt idx="581" formatCode="General">
                  <c:v>5.74</c:v>
                </c:pt>
                <c:pt idx="582" formatCode="General">
                  <c:v>5.74</c:v>
                </c:pt>
                <c:pt idx="583" formatCode="General">
                  <c:v>5.75</c:v>
                </c:pt>
                <c:pt idx="584" formatCode="General">
                  <c:v>5.73</c:v>
                </c:pt>
                <c:pt idx="585" formatCode="General">
                  <c:v>5.69</c:v>
                </c:pt>
                <c:pt idx="586" formatCode="General">
                  <c:v>5.57</c:v>
                </c:pt>
                <c:pt idx="587" formatCode="General">
                  <c:v>5.54</c:v>
                </c:pt>
                <c:pt idx="588" formatCode="General">
                  <c:v>5.52</c:v>
                </c:pt>
                <c:pt idx="589" formatCode="General">
                  <c:v>5.51</c:v>
                </c:pt>
                <c:pt idx="590" formatCode="General">
                  <c:v>5.37</c:v>
                </c:pt>
                <c:pt idx="591" formatCode="General">
                  <c:v>5.19</c:v>
                </c:pt>
                <c:pt idx="592" formatCode="General">
                  <c:v>5.32</c:v>
                </c:pt>
                <c:pt idx="593" formatCode="General">
                  <c:v>5.35</c:v>
                </c:pt>
                <c:pt idx="594" formatCode="General">
                  <c:v>5.4</c:v>
                </c:pt>
                <c:pt idx="595" formatCode="General">
                  <c:v>5.41</c:v>
                </c:pt>
                <c:pt idx="596" formatCode="General">
                  <c:v>5.37</c:v>
                </c:pt>
                <c:pt idx="597" formatCode="General">
                  <c:v>5.29</c:v>
                </c:pt>
                <c:pt idx="598" formatCode="General">
                  <c:v>5.17</c:v>
                </c:pt>
                <c:pt idx="599" formatCode="General">
                  <c:v>5.22</c:v>
                </c:pt>
                <c:pt idx="600" formatCode="General">
                  <c:v>5.26</c:v>
                </c:pt>
                <c:pt idx="601" formatCode="General">
                  <c:v>5.0999999999999996</c:v>
                </c:pt>
                <c:pt idx="602" formatCode="General">
                  <c:v>5.13</c:v>
                </c:pt>
                <c:pt idx="603" formatCode="General">
                  <c:v>4.9800000000000004</c:v>
                </c:pt>
                <c:pt idx="604" formatCode="General">
                  <c:v>5.1100000000000003</c:v>
                </c:pt>
                <c:pt idx="605" formatCode="General">
                  <c:v>5.22</c:v>
                </c:pt>
                <c:pt idx="606" formatCode="General">
                  <c:v>5.14</c:v>
                </c:pt>
                <c:pt idx="607" formatCode="General">
                  <c:v>4.8899999999999997</c:v>
                </c:pt>
                <c:pt idx="608" formatCode="General">
                  <c:v>4.8899999999999997</c:v>
                </c:pt>
                <c:pt idx="609" formatCode="General">
                  <c:v>4.87</c:v>
                </c:pt>
                <c:pt idx="610" formatCode="General">
                  <c:v>4.92</c:v>
                </c:pt>
                <c:pt idx="611" formatCode="General">
                  <c:v>4.96</c:v>
                </c:pt>
                <c:pt idx="612" formatCode="General">
                  <c:v>4.95</c:v>
                </c:pt>
                <c:pt idx="613" formatCode="General">
                  <c:v>5.0199999999999996</c:v>
                </c:pt>
                <c:pt idx="614" formatCode="General">
                  <c:v>4.97</c:v>
                </c:pt>
                <c:pt idx="615" formatCode="General">
                  <c:v>5.05</c:v>
                </c:pt>
                <c:pt idx="616" formatCode="General">
                  <c:v>4.99</c:v>
                </c:pt>
                <c:pt idx="617" formatCode="General">
                  <c:v>5.0199999999999996</c:v>
                </c:pt>
                <c:pt idx="618" formatCode="General">
                  <c:v>5.04</c:v>
                </c:pt>
                <c:pt idx="619" formatCode="General">
                  <c:v>4.96</c:v>
                </c:pt>
                <c:pt idx="620" formatCode="General">
                  <c:v>4.95</c:v>
                </c:pt>
                <c:pt idx="621" formatCode="General">
                  <c:v>4.76</c:v>
                </c:pt>
                <c:pt idx="622" formatCode="General">
                  <c:v>4.67</c:v>
                </c:pt>
                <c:pt idx="623" formatCode="General">
                  <c:v>4.82</c:v>
                </c:pt>
                <c:pt idx="624" formatCode="General">
                  <c:v>4.8600000000000003</c:v>
                </c:pt>
                <c:pt idx="625" formatCode="General">
                  <c:v>4.74</c:v>
                </c:pt>
                <c:pt idx="626" formatCode="General">
                  <c:v>4.79</c:v>
                </c:pt>
                <c:pt idx="627" formatCode="General">
                  <c:v>4.76</c:v>
                </c:pt>
                <c:pt idx="628" formatCode="General">
                  <c:v>4.7699999999999996</c:v>
                </c:pt>
                <c:pt idx="629" formatCode="General">
                  <c:v>4.72</c:v>
                </c:pt>
                <c:pt idx="630" formatCode="General">
                  <c:v>4.67</c:v>
                </c:pt>
                <c:pt idx="631" formatCode="General">
                  <c:v>4.67</c:v>
                </c:pt>
                <c:pt idx="632" formatCode="General">
                  <c:v>4.71</c:v>
                </c:pt>
                <c:pt idx="633" formatCode="General">
                  <c:v>4.71</c:v>
                </c:pt>
                <c:pt idx="634" formatCode="General">
                  <c:v>4.76</c:v>
                </c:pt>
                <c:pt idx="635" formatCode="General">
                  <c:v>4.76</c:v>
                </c:pt>
                <c:pt idx="636" formatCode="General">
                  <c:v>4.72</c:v>
                </c:pt>
                <c:pt idx="637" formatCode="General">
                  <c:v>4.67</c:v>
                </c:pt>
                <c:pt idx="638" formatCode="General">
                  <c:v>4.5199999999999996</c:v>
                </c:pt>
                <c:pt idx="639" formatCode="General">
                  <c:v>4.49</c:v>
                </c:pt>
                <c:pt idx="640" formatCode="General">
                  <c:v>4.4800000000000004</c:v>
                </c:pt>
                <c:pt idx="641" formatCode="General">
                  <c:v>4.55</c:v>
                </c:pt>
                <c:pt idx="642" formatCode="General">
                  <c:v>4.53</c:v>
                </c:pt>
                <c:pt idx="643" formatCode="General">
                  <c:v>4.54</c:v>
                </c:pt>
                <c:pt idx="644" formatCode="General">
                  <c:v>4.74</c:v>
                </c:pt>
                <c:pt idx="645" formatCode="General">
                  <c:v>4.7300000000000004</c:v>
                </c:pt>
                <c:pt idx="646" formatCode="General">
                  <c:v>5.03</c:v>
                </c:pt>
                <c:pt idx="647" formatCode="General">
                  <c:v>5.25</c:v>
                </c:pt>
                <c:pt idx="648" formatCode="General">
                  <c:v>5.04</c:v>
                </c:pt>
                <c:pt idx="649" formatCode="General">
                  <c:v>5.17</c:v>
                </c:pt>
                <c:pt idx="650" formatCode="General">
                  <c:v>5.36</c:v>
                </c:pt>
                <c:pt idx="651" formatCode="General">
                  <c:v>5.2</c:v>
                </c:pt>
                <c:pt idx="652" formatCode="General">
                  <c:v>5.18</c:v>
                </c:pt>
                <c:pt idx="653" formatCode="0.00">
                  <c:v>5.19</c:v>
                </c:pt>
                <c:pt idx="654" formatCode="General">
                  <c:v>5.18</c:v>
                </c:pt>
                <c:pt idx="655" formatCode="General">
                  <c:v>5.19</c:v>
                </c:pt>
                <c:pt idx="656" formatCode="General">
                  <c:v>4.9800000000000004</c:v>
                </c:pt>
                <c:pt idx="657" formatCode="General">
                  <c:v>5</c:v>
                </c:pt>
                <c:pt idx="658" formatCode="General">
                  <c:v>4.8899999999999997</c:v>
                </c:pt>
                <c:pt idx="659" formatCode="General">
                  <c:v>4.7699999999999996</c:v>
                </c:pt>
                <c:pt idx="660" formatCode="General">
                  <c:v>4.7699999999999996</c:v>
                </c:pt>
                <c:pt idx="661" formatCode="General">
                  <c:v>4.7300000000000004</c:v>
                </c:pt>
                <c:pt idx="662" formatCode="General">
                  <c:v>4.7699999999999996</c:v>
                </c:pt>
                <c:pt idx="663" formatCode="General">
                  <c:v>4.76</c:v>
                </c:pt>
                <c:pt idx="664" formatCode="General">
                  <c:v>4.7300000000000004</c:v>
                </c:pt>
                <c:pt idx="665" formatCode="General">
                  <c:v>4.63</c:v>
                </c:pt>
                <c:pt idx="666" formatCode="General">
                  <c:v>4.74</c:v>
                </c:pt>
                <c:pt idx="667" formatCode="General">
                  <c:v>4.74</c:v>
                </c:pt>
                <c:pt idx="668" formatCode="General">
                  <c:v>4.74</c:v>
                </c:pt>
                <c:pt idx="669" formatCode="General">
                  <c:v>4.82</c:v>
                </c:pt>
                <c:pt idx="670" formatCode="General">
                  <c:v>4.76</c:v>
                </c:pt>
                <c:pt idx="671" formatCode="General">
                  <c:v>4.72</c:v>
                </c:pt>
                <c:pt idx="672" formatCode="General">
                  <c:v>4.78</c:v>
                </c:pt>
                <c:pt idx="673" formatCode="General">
                  <c:v>4.62</c:v>
                </c:pt>
                <c:pt idx="674" formatCode="General">
                  <c:v>4.8</c:v>
                </c:pt>
                <c:pt idx="675" formatCode="General">
                  <c:v>4.88</c:v>
                </c:pt>
                <c:pt idx="676" formatCode="General">
                  <c:v>4.93</c:v>
                </c:pt>
                <c:pt idx="677" formatCode="General">
                  <c:v>5.04</c:v>
                </c:pt>
                <c:pt idx="678" formatCode="General">
                  <c:v>5.05</c:v>
                </c:pt>
                <c:pt idx="679" formatCode="General">
                  <c:v>4.95</c:v>
                </c:pt>
                <c:pt idx="680" formatCode="General">
                  <c:v>4.91</c:v>
                </c:pt>
                <c:pt idx="681" formatCode="General">
                  <c:v>4.88</c:v>
                </c:pt>
                <c:pt idx="682" formatCode="General">
                  <c:v>4.8499999999999996</c:v>
                </c:pt>
                <c:pt idx="683" formatCode="General">
                  <c:v>4.84</c:v>
                </c:pt>
                <c:pt idx="684" formatCode="General">
                  <c:v>4.8099999999999996</c:v>
                </c:pt>
                <c:pt idx="685" formatCode="General">
                  <c:v>4.78</c:v>
                </c:pt>
                <c:pt idx="686" formatCode="General">
                  <c:v>4.66</c:v>
                </c:pt>
                <c:pt idx="687" formatCode="General">
                  <c:v>4.7</c:v>
                </c:pt>
                <c:pt idx="688" formatCode="General">
                  <c:v>4.8</c:v>
                </c:pt>
                <c:pt idx="689" formatCode="General">
                  <c:v>4.7699999999999996</c:v>
                </c:pt>
                <c:pt idx="690" formatCode="General">
                  <c:v>4.79</c:v>
                </c:pt>
                <c:pt idx="691" formatCode="General">
                  <c:v>4.72</c:v>
                </c:pt>
                <c:pt idx="692" formatCode="General">
                  <c:v>4.72</c:v>
                </c:pt>
                <c:pt idx="693" formatCode="General">
                  <c:v>4.7</c:v>
                </c:pt>
                <c:pt idx="694" formatCode="General">
                  <c:v>4.62</c:v>
                </c:pt>
                <c:pt idx="695" formatCode="General">
                  <c:v>4.55</c:v>
                </c:pt>
                <c:pt idx="696" formatCode="General">
                  <c:v>4.3499999999999996</c:v>
                </c:pt>
                <c:pt idx="697" formatCode="General">
                  <c:v>4.45</c:v>
                </c:pt>
                <c:pt idx="698" formatCode="General">
                  <c:v>4.3499999999999996</c:v>
                </c:pt>
                <c:pt idx="699" formatCode="General">
                  <c:v>4.33</c:v>
                </c:pt>
                <c:pt idx="700" formatCode="General">
                  <c:v>4.21</c:v>
                </c:pt>
                <c:pt idx="701" formatCode="General">
                  <c:v>4.5</c:v>
                </c:pt>
                <c:pt idx="702" formatCode="General">
                  <c:v>4.41</c:v>
                </c:pt>
                <c:pt idx="703" formatCode="General">
                  <c:v>4.33</c:v>
                </c:pt>
                <c:pt idx="704" formatCode="General">
                  <c:v>4.32</c:v>
                </c:pt>
                <c:pt idx="705" formatCode="General">
                  <c:v>4.33</c:v>
                </c:pt>
                <c:pt idx="706" formatCode="General">
                  <c:v>4.38</c:v>
                </c:pt>
                <c:pt idx="707" formatCode="General">
                  <c:v>4.3</c:v>
                </c:pt>
                <c:pt idx="708" formatCode="General">
                  <c:v>4.26</c:v>
                </c:pt>
                <c:pt idx="709" formatCode="General">
                  <c:v>4.29</c:v>
                </c:pt>
                <c:pt idx="710" formatCode="General">
                  <c:v>4.17</c:v>
                </c:pt>
                <c:pt idx="711" formatCode="General">
                  <c:v>4.1399999999999997</c:v>
                </c:pt>
                <c:pt idx="712" formatCode="General">
                  <c:v>4.1900000000000004</c:v>
                </c:pt>
                <c:pt idx="713" formatCode="General">
                  <c:v>4.1500000000000004</c:v>
                </c:pt>
                <c:pt idx="714" formatCode="General">
                  <c:v>4.18</c:v>
                </c:pt>
                <c:pt idx="715" formatCode="General">
                  <c:v>4.1900000000000004</c:v>
                </c:pt>
                <c:pt idx="716" formatCode="General">
                  <c:v>4.0999999999999996</c:v>
                </c:pt>
                <c:pt idx="717" formatCode="General">
                  <c:v>4.1100000000000003</c:v>
                </c:pt>
                <c:pt idx="718" formatCode="General">
                  <c:v>4.0599999999999996</c:v>
                </c:pt>
                <c:pt idx="719" formatCode="General">
                  <c:v>4</c:v>
                </c:pt>
                <c:pt idx="720" formatCode="General">
                  <c:v>3.99</c:v>
                </c:pt>
                <c:pt idx="721" formatCode="General">
                  <c:v>3.94</c:v>
                </c:pt>
                <c:pt idx="722" formatCode="General">
                  <c:v>3.88</c:v>
                </c:pt>
                <c:pt idx="723" formatCode="General">
                  <c:v>3.98</c:v>
                </c:pt>
                <c:pt idx="724" formatCode="General">
                  <c:v>4.01</c:v>
                </c:pt>
                <c:pt idx="725" formatCode="General">
                  <c:v>3.94</c:v>
                </c:pt>
                <c:pt idx="726" formatCode="General">
                  <c:v>3.92</c:v>
                </c:pt>
                <c:pt idx="727" formatCode="General">
                  <c:v>3.94</c:v>
                </c:pt>
                <c:pt idx="728" formatCode="General">
                  <c:v>3.87</c:v>
                </c:pt>
                <c:pt idx="729" formatCode="General">
                  <c:v>3.87</c:v>
                </c:pt>
                <c:pt idx="730" formatCode="General">
                  <c:v>3.83</c:v>
                </c:pt>
                <c:pt idx="731" formatCode="General">
                  <c:v>3.83</c:v>
                </c:pt>
                <c:pt idx="732" formatCode="General">
                  <c:v>3.85</c:v>
                </c:pt>
                <c:pt idx="733" formatCode="General">
                  <c:v>3.93</c:v>
                </c:pt>
                <c:pt idx="734" formatCode="General">
                  <c:v>3.92</c:v>
                </c:pt>
                <c:pt idx="735" formatCode="General">
                  <c:v>3.88</c:v>
                </c:pt>
                <c:pt idx="736" formatCode="General">
                  <c:v>3.9</c:v>
                </c:pt>
                <c:pt idx="737" formatCode="General">
                  <c:v>3.84</c:v>
                </c:pt>
                <c:pt idx="738" formatCode="General">
                  <c:v>3.86</c:v>
                </c:pt>
                <c:pt idx="739" formatCode="General">
                  <c:v>3.86</c:v>
                </c:pt>
                <c:pt idx="740" formatCode="General">
                  <c:v>3.76</c:v>
                </c:pt>
                <c:pt idx="741" formatCode="General">
                  <c:v>3.75</c:v>
                </c:pt>
                <c:pt idx="742" formatCode="General">
                  <c:v>4.05</c:v>
                </c:pt>
                <c:pt idx="743" formatCode="General">
                  <c:v>4.22</c:v>
                </c:pt>
                <c:pt idx="744" formatCode="General">
                  <c:v>4.1100000000000003</c:v>
                </c:pt>
                <c:pt idx="745" formatCode="General">
                  <c:v>3.94</c:v>
                </c:pt>
                <c:pt idx="746" formatCode="General">
                  <c:v>3.86</c:v>
                </c:pt>
                <c:pt idx="747" formatCode="General">
                  <c:v>3.84</c:v>
                </c:pt>
                <c:pt idx="748" formatCode="General">
                  <c:v>3.83</c:v>
                </c:pt>
                <c:pt idx="749" formatCode="General">
                  <c:v>3.83</c:v>
                </c:pt>
                <c:pt idx="750" formatCode="General">
                  <c:v>3.86</c:v>
                </c:pt>
                <c:pt idx="751" formatCode="General">
                  <c:v>3.77</c:v>
                </c:pt>
                <c:pt idx="752" formatCode="General">
                  <c:v>3.71</c:v>
                </c:pt>
                <c:pt idx="753" formatCode="General">
                  <c:v>3.65</c:v>
                </c:pt>
                <c:pt idx="754" formatCode="General">
                  <c:v>3.72</c:v>
                </c:pt>
                <c:pt idx="755" formatCode="General">
                  <c:v>3.73</c:v>
                </c:pt>
                <c:pt idx="756" formatCode="General">
                  <c:v>3.62</c:v>
                </c:pt>
                <c:pt idx="757" formatCode="General">
                  <c:v>3.62</c:v>
                </c:pt>
                <c:pt idx="758" formatCode="General">
                  <c:v>3.62</c:v>
                </c:pt>
                <c:pt idx="759" formatCode="General">
                  <c:v>3.46</c:v>
                </c:pt>
                <c:pt idx="760" formatCode="General">
                  <c:v>3.41</c:v>
                </c:pt>
                <c:pt idx="761" formatCode="General">
                  <c:v>3.39</c:v>
                </c:pt>
                <c:pt idx="762" formatCode="General">
                  <c:v>3.34</c:v>
                </c:pt>
                <c:pt idx="763" formatCode="General">
                  <c:v>3.42</c:v>
                </c:pt>
                <c:pt idx="764" formatCode="General">
                  <c:v>3.02</c:v>
                </c:pt>
                <c:pt idx="765" formatCode="General">
                  <c:v>3.01</c:v>
                </c:pt>
                <c:pt idx="766" formatCode="General">
                  <c:v>3</c:v>
                </c:pt>
                <c:pt idx="767" formatCode="General">
                  <c:v>2.95</c:v>
                </c:pt>
                <c:pt idx="768" formatCode="General">
                  <c:v>2.96</c:v>
                </c:pt>
                <c:pt idx="769" formatCode="General">
                  <c:v>2.99</c:v>
                </c:pt>
                <c:pt idx="770" formatCode="General">
                  <c:v>3.01</c:v>
                </c:pt>
                <c:pt idx="771" formatCode="General">
                  <c:v>3</c:v>
                </c:pt>
                <c:pt idx="772" formatCode="General">
                  <c:v>3.02</c:v>
                </c:pt>
                <c:pt idx="773" formatCode="General">
                  <c:v>3.14</c:v>
                </c:pt>
                <c:pt idx="774" formatCode="General">
                  <c:v>3.26</c:v>
                </c:pt>
                <c:pt idx="775" formatCode="General">
                  <c:v>3.36</c:v>
                </c:pt>
                <c:pt idx="776" formatCode="General">
                  <c:v>3.34</c:v>
                </c:pt>
                <c:pt idx="777" formatCode="General">
                  <c:v>3.42</c:v>
                </c:pt>
                <c:pt idx="778" formatCode="General">
                  <c:v>3.29</c:v>
                </c:pt>
                <c:pt idx="779" formatCode="General">
                  <c:v>3.23</c:v>
                </c:pt>
                <c:pt idx="780" formatCode="General">
                  <c:v>3.25</c:v>
                </c:pt>
                <c:pt idx="781" formatCode="General">
                  <c:v>3.32</c:v>
                </c:pt>
                <c:pt idx="782" formatCode="General">
                  <c:v>3.49</c:v>
                </c:pt>
                <c:pt idx="783" formatCode="General">
                  <c:v>3.39</c:v>
                </c:pt>
                <c:pt idx="784" formatCode="General">
                  <c:v>3.44</c:v>
                </c:pt>
                <c:pt idx="785" formatCode="General">
                  <c:v>3.43</c:v>
                </c:pt>
                <c:pt idx="786" formatCode="General">
                  <c:v>3.34</c:v>
                </c:pt>
                <c:pt idx="787" formatCode="General">
                  <c:v>3.25</c:v>
                </c:pt>
                <c:pt idx="788" formatCode="General">
                  <c:v>3.12</c:v>
                </c:pt>
                <c:pt idx="789" formatCode="General">
                  <c:v>3.12</c:v>
                </c:pt>
                <c:pt idx="790" formatCode="General">
                  <c:v>3.05</c:v>
                </c:pt>
                <c:pt idx="791" formatCode="General">
                  <c:v>3.07</c:v>
                </c:pt>
                <c:pt idx="792" formatCode="General">
                  <c:v>3.17</c:v>
                </c:pt>
                <c:pt idx="793" formatCode="General">
                  <c:v>3.32</c:v>
                </c:pt>
                <c:pt idx="794" formatCode="General">
                  <c:v>3.26</c:v>
                </c:pt>
                <c:pt idx="795" formatCode="General">
                  <c:v>3.46</c:v>
                </c:pt>
                <c:pt idx="796" formatCode="General">
                  <c:v>3.64</c:v>
                </c:pt>
                <c:pt idx="797" formatCode="General">
                  <c:v>3.61</c:v>
                </c:pt>
                <c:pt idx="798" formatCode="General">
                  <c:v>3.57</c:v>
                </c:pt>
                <c:pt idx="799" formatCode="General">
                  <c:v>3.69</c:v>
                </c:pt>
                <c:pt idx="800" formatCode="General">
                  <c:v>3.76</c:v>
                </c:pt>
                <c:pt idx="801" formatCode="General">
                  <c:v>3.75</c:v>
                </c:pt>
                <c:pt idx="802" formatCode="General">
                  <c:v>3.7</c:v>
                </c:pt>
                <c:pt idx="803" formatCode="General">
                  <c:v>3.43</c:v>
                </c:pt>
                <c:pt idx="804" formatCode="General">
                  <c:v>3.3</c:v>
                </c:pt>
                <c:pt idx="805" formatCode="General">
                  <c:v>3.29</c:v>
                </c:pt>
                <c:pt idx="806" formatCode="General">
                  <c:v>3.34</c:v>
                </c:pt>
                <c:pt idx="807" formatCode="General">
                  <c:v>3.26</c:v>
                </c:pt>
                <c:pt idx="808" formatCode="General">
                  <c:v>3.37</c:v>
                </c:pt>
                <c:pt idx="809" formatCode="General">
                  <c:v>3.49</c:v>
                </c:pt>
                <c:pt idx="810" formatCode="General">
                  <c:v>3.4</c:v>
                </c:pt>
                <c:pt idx="811" formatCode="General">
                  <c:v>3.4</c:v>
                </c:pt>
                <c:pt idx="812" formatCode="General">
                  <c:v>3.47</c:v>
                </c:pt>
                <c:pt idx="813" formatCode="General">
                  <c:v>3.42</c:v>
                </c:pt>
                <c:pt idx="814" formatCode="General">
                  <c:v>3.41</c:v>
                </c:pt>
                <c:pt idx="815" formatCode="General">
                  <c:v>3.32</c:v>
                </c:pt>
                <c:pt idx="816" formatCode="General">
                  <c:v>3.28</c:v>
                </c:pt>
                <c:pt idx="817" formatCode="General">
                  <c:v>3.37</c:v>
                </c:pt>
                <c:pt idx="818" formatCode="General">
                  <c:v>3.46</c:v>
                </c:pt>
                <c:pt idx="819" formatCode="General">
                  <c:v>3.46</c:v>
                </c:pt>
                <c:pt idx="820" formatCode="General">
                  <c:v>3.44</c:v>
                </c:pt>
                <c:pt idx="821" formatCode="General">
                  <c:v>3.47</c:v>
                </c:pt>
                <c:pt idx="822" formatCode="General">
                  <c:v>3.47</c:v>
                </c:pt>
                <c:pt idx="823" formatCode="General">
                  <c:v>3.48</c:v>
                </c:pt>
                <c:pt idx="824" formatCode="General">
                  <c:v>3.47</c:v>
                </c:pt>
                <c:pt idx="825" formatCode="General">
                  <c:v>3.53</c:v>
                </c:pt>
                <c:pt idx="826" formatCode="General">
                  <c:v>3.55</c:v>
                </c:pt>
                <c:pt idx="827" formatCode="General">
                  <c:v>3.51</c:v>
                </c:pt>
                <c:pt idx="828" formatCode="General">
                  <c:v>3.52</c:v>
                </c:pt>
                <c:pt idx="829" formatCode="General">
                  <c:v>3.52</c:v>
                </c:pt>
                <c:pt idx="830" formatCode="General">
                  <c:v>3.58</c:v>
                </c:pt>
                <c:pt idx="831" formatCode="General">
                  <c:v>3.68</c:v>
                </c:pt>
                <c:pt idx="832" formatCode="General">
                  <c:v>3.71</c:v>
                </c:pt>
                <c:pt idx="833" formatCode="General">
                  <c:v>3.7</c:v>
                </c:pt>
                <c:pt idx="834" formatCode="General">
                  <c:v>3.81</c:v>
                </c:pt>
                <c:pt idx="835" formatCode="General">
                  <c:v>3.91</c:v>
                </c:pt>
                <c:pt idx="836" formatCode="General">
                  <c:v>3.82</c:v>
                </c:pt>
                <c:pt idx="837" formatCode="General">
                  <c:v>3.75</c:v>
                </c:pt>
                <c:pt idx="838" formatCode="General">
                  <c:v>3.86</c:v>
                </c:pt>
                <c:pt idx="839" formatCode="General">
                  <c:v>3.79</c:v>
                </c:pt>
                <c:pt idx="840" formatCode="General">
                  <c:v>3.83</c:v>
                </c:pt>
                <c:pt idx="841" formatCode="General">
                  <c:v>3.67</c:v>
                </c:pt>
                <c:pt idx="842" formatCode="General">
                  <c:v>3.64</c:v>
                </c:pt>
                <c:pt idx="843" formatCode="General">
                  <c:v>3.65</c:v>
                </c:pt>
                <c:pt idx="844" formatCode="0.00">
                  <c:v>3.63</c:v>
                </c:pt>
                <c:pt idx="845" formatCode="0.00">
                  <c:v>3.62</c:v>
                </c:pt>
                <c:pt idx="846" formatCode="0.00">
                  <c:v>3.58</c:v>
                </c:pt>
                <c:pt idx="847" formatCode="0.00">
                  <c:v>3.59</c:v>
                </c:pt>
                <c:pt idx="848" formatCode="0.00">
                  <c:v>3.62</c:v>
                </c:pt>
                <c:pt idx="849" formatCode="0.00">
                  <c:v>3.55</c:v>
                </c:pt>
                <c:pt idx="850" formatCode="0.00">
                  <c:v>3.5</c:v>
                </c:pt>
                <c:pt idx="851" formatCode="0.00">
                  <c:v>3.55</c:v>
                </c:pt>
                <c:pt idx="852" formatCode="0.00">
                  <c:v>3.59</c:v>
                </c:pt>
                <c:pt idx="853" formatCode="0.00">
                  <c:v>3.63</c:v>
                </c:pt>
                <c:pt idx="854" formatCode="0.00">
                  <c:v>3.77</c:v>
                </c:pt>
                <c:pt idx="855" formatCode="0.00">
                  <c:v>3.7</c:v>
                </c:pt>
                <c:pt idx="856" formatCode="0.00">
                  <c:v>3.83</c:v>
                </c:pt>
                <c:pt idx="857" formatCode="0.00">
                  <c:v>3.89</c:v>
                </c:pt>
                <c:pt idx="858" formatCode="0.00">
                  <c:v>4.05</c:v>
                </c:pt>
                <c:pt idx="859" formatCode="0.00">
                  <c:v>4.03</c:v>
                </c:pt>
                <c:pt idx="860" formatCode="0.00">
                  <c:v>4.01</c:v>
                </c:pt>
                <c:pt idx="861" formatCode="0.00">
                  <c:v>4.29</c:v>
                </c:pt>
                <c:pt idx="862" formatCode="0.00">
                  <c:v>4.2699999999999996</c:v>
                </c:pt>
                <c:pt idx="863" formatCode="0.00">
                  <c:v>4.34</c:v>
                </c:pt>
                <c:pt idx="864" formatCode="0.00">
                  <c:v>4.28</c:v>
                </c:pt>
                <c:pt idx="865" formatCode="0.00">
                  <c:v>4.3099999999999996</c:v>
                </c:pt>
                <c:pt idx="866" formatCode="0.00">
                  <c:v>4.21</c:v>
                </c:pt>
                <c:pt idx="867" formatCode="0.00">
                  <c:v>4.12</c:v>
                </c:pt>
                <c:pt idx="868" formatCode="0.00">
                  <c:v>4.09</c:v>
                </c:pt>
                <c:pt idx="869" formatCode="0.00">
                  <c:v>4.1100000000000003</c:v>
                </c:pt>
                <c:pt idx="870" formatCode="0.00">
                  <c:v>4.09</c:v>
                </c:pt>
                <c:pt idx="871" formatCode="0.00">
                  <c:v>4.2</c:v>
                </c:pt>
                <c:pt idx="872" formatCode="0.00">
                  <c:v>4.16</c:v>
                </c:pt>
                <c:pt idx="873" formatCode="0.00">
                  <c:v>4.0999999999999996</c:v>
                </c:pt>
                <c:pt idx="874" formatCode="0.00">
                  <c:v>4.17</c:v>
                </c:pt>
                <c:pt idx="875" formatCode="0.00">
                  <c:v>4.09</c:v>
                </c:pt>
                <c:pt idx="876" formatCode="0.00">
                  <c:v>4.16</c:v>
                </c:pt>
                <c:pt idx="877" formatCode="General">
                  <c:v>4.0599999999999996</c:v>
                </c:pt>
                <c:pt idx="878" formatCode="General">
                  <c:v>4.12</c:v>
                </c:pt>
                <c:pt idx="879" formatCode="General">
                  <c:v>4.0199999999999996</c:v>
                </c:pt>
                <c:pt idx="880" formatCode="General">
                  <c:v>3.97</c:v>
                </c:pt>
                <c:pt idx="881" formatCode="General">
                  <c:v>3.93</c:v>
                </c:pt>
                <c:pt idx="882" formatCode="General">
                  <c:v>3.97</c:v>
                </c:pt>
                <c:pt idx="883" formatCode="General">
                  <c:v>3.94</c:v>
                </c:pt>
                <c:pt idx="884" formatCode="General">
                  <c:v>3.89</c:v>
                </c:pt>
                <c:pt idx="885" formatCode="General">
                  <c:v>3.88</c:v>
                </c:pt>
                <c:pt idx="886" formatCode="General">
                  <c:v>3.84</c:v>
                </c:pt>
                <c:pt idx="887" formatCode="General">
                  <c:v>3.86</c:v>
                </c:pt>
                <c:pt idx="888" formatCode="General">
                  <c:v>3.82</c:v>
                </c:pt>
                <c:pt idx="889" formatCode="General">
                  <c:v>3.73</c:v>
                </c:pt>
                <c:pt idx="890" formatCode="General">
                  <c:v>3.8</c:v>
                </c:pt>
                <c:pt idx="896" formatCode="0.00">
                  <c:v>4.0236363636363643</c:v>
                </c:pt>
                <c:pt idx="897" formatCode="0.00">
                  <c:v>3.9638888888888886</c:v>
                </c:pt>
              </c:numCache>
            </c:numRef>
          </c:val>
          <c:smooth val="0"/>
        </c:ser>
        <c:ser>
          <c:idx val="2"/>
          <c:order val="0"/>
          <c:tx>
            <c:strRef>
              <c:f>yield_out!$E$1</c:f>
              <c:strCache>
                <c:ptCount val="1"/>
                <c:pt idx="0">
                  <c:v>3 éves</c:v>
                </c:pt>
              </c:strCache>
            </c:strRef>
          </c:tx>
          <c:spPr>
            <a:ln>
              <a:solidFill>
                <a:srgbClr val="66CC00"/>
              </a:solidFill>
            </a:ln>
          </c:spPr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E$1012:$E$1980</c:f>
              <c:numCache>
                <c:formatCode>#\ ##0.00\ </c:formatCode>
                <c:ptCount val="969"/>
                <c:pt idx="0">
                  <c:v>9.42</c:v>
                </c:pt>
                <c:pt idx="1">
                  <c:v>9.7799999999999994</c:v>
                </c:pt>
                <c:pt idx="2">
                  <c:v>10.19</c:v>
                </c:pt>
                <c:pt idx="3">
                  <c:v>10.46</c:v>
                </c:pt>
                <c:pt idx="4">
                  <c:v>9.8699999999999992</c:v>
                </c:pt>
                <c:pt idx="5">
                  <c:v>9.6300000000000008</c:v>
                </c:pt>
                <c:pt idx="6">
                  <c:v>9.6999999999999993</c:v>
                </c:pt>
                <c:pt idx="7">
                  <c:v>9.4499999999999993</c:v>
                </c:pt>
                <c:pt idx="8">
                  <c:v>9.2799999999999994</c:v>
                </c:pt>
                <c:pt idx="9">
                  <c:v>9.51</c:v>
                </c:pt>
                <c:pt idx="10">
                  <c:v>9.61</c:v>
                </c:pt>
                <c:pt idx="11">
                  <c:v>9.76</c:v>
                </c:pt>
                <c:pt idx="12">
                  <c:v>9.4700000000000006</c:v>
                </c:pt>
                <c:pt idx="13">
                  <c:v>9.2100000000000009</c:v>
                </c:pt>
                <c:pt idx="14">
                  <c:v>9.33</c:v>
                </c:pt>
                <c:pt idx="15">
                  <c:v>9.27</c:v>
                </c:pt>
                <c:pt idx="16">
                  <c:v>9.14</c:v>
                </c:pt>
                <c:pt idx="17">
                  <c:v>8.76</c:v>
                </c:pt>
                <c:pt idx="18">
                  <c:v>8.4700000000000006</c:v>
                </c:pt>
                <c:pt idx="19">
                  <c:v>8.51</c:v>
                </c:pt>
                <c:pt idx="20">
                  <c:v>8.6</c:v>
                </c:pt>
                <c:pt idx="21">
                  <c:v>8.6</c:v>
                </c:pt>
                <c:pt idx="22">
                  <c:v>8.57</c:v>
                </c:pt>
                <c:pt idx="23">
                  <c:v>8.5399999999999991</c:v>
                </c:pt>
                <c:pt idx="24">
                  <c:v>8.43</c:v>
                </c:pt>
                <c:pt idx="25">
                  <c:v>8.41</c:v>
                </c:pt>
                <c:pt idx="26">
                  <c:v>8.33</c:v>
                </c:pt>
                <c:pt idx="27">
                  <c:v>8.1300000000000008</c:v>
                </c:pt>
                <c:pt idx="28">
                  <c:v>8.2799999999999994</c:v>
                </c:pt>
                <c:pt idx="29">
                  <c:v>8.52</c:v>
                </c:pt>
                <c:pt idx="30">
                  <c:v>8.24</c:v>
                </c:pt>
                <c:pt idx="31">
                  <c:v>8.33</c:v>
                </c:pt>
                <c:pt idx="32">
                  <c:v>7.87</c:v>
                </c:pt>
                <c:pt idx="33">
                  <c:v>8.01</c:v>
                </c:pt>
                <c:pt idx="34">
                  <c:v>7.92</c:v>
                </c:pt>
                <c:pt idx="35">
                  <c:v>7.86</c:v>
                </c:pt>
                <c:pt idx="36">
                  <c:v>7.87</c:v>
                </c:pt>
                <c:pt idx="37">
                  <c:v>8.1300000000000008</c:v>
                </c:pt>
                <c:pt idx="38">
                  <c:v>8.2899999999999991</c:v>
                </c:pt>
                <c:pt idx="39">
                  <c:v>8.1300000000000008</c:v>
                </c:pt>
                <c:pt idx="40">
                  <c:v>8.27</c:v>
                </c:pt>
                <c:pt idx="41">
                  <c:v>8.17</c:v>
                </c:pt>
                <c:pt idx="42">
                  <c:v>8.27</c:v>
                </c:pt>
                <c:pt idx="43">
                  <c:v>8.16</c:v>
                </c:pt>
                <c:pt idx="44">
                  <c:v>8.2200000000000006</c:v>
                </c:pt>
                <c:pt idx="45">
                  <c:v>8.32</c:v>
                </c:pt>
                <c:pt idx="46">
                  <c:v>8.36</c:v>
                </c:pt>
                <c:pt idx="47">
                  <c:v>8.3800000000000008</c:v>
                </c:pt>
                <c:pt idx="48">
                  <c:v>8.36</c:v>
                </c:pt>
                <c:pt idx="49">
                  <c:v>8.33</c:v>
                </c:pt>
                <c:pt idx="50">
                  <c:v>8.32</c:v>
                </c:pt>
                <c:pt idx="51">
                  <c:v>8.33</c:v>
                </c:pt>
                <c:pt idx="52">
                  <c:v>8.27</c:v>
                </c:pt>
                <c:pt idx="53">
                  <c:v>8.26</c:v>
                </c:pt>
                <c:pt idx="54">
                  <c:v>8.36</c:v>
                </c:pt>
                <c:pt idx="55">
                  <c:v>8.4</c:v>
                </c:pt>
                <c:pt idx="56">
                  <c:v>8.51</c:v>
                </c:pt>
                <c:pt idx="57">
                  <c:v>8.52</c:v>
                </c:pt>
                <c:pt idx="58">
                  <c:v>8.6199999999999992</c:v>
                </c:pt>
                <c:pt idx="59">
                  <c:v>8.5399999999999991</c:v>
                </c:pt>
                <c:pt idx="60">
                  <c:v>8.6199999999999992</c:v>
                </c:pt>
                <c:pt idx="61">
                  <c:v>8.67</c:v>
                </c:pt>
                <c:pt idx="62">
                  <c:v>8.7200000000000006</c:v>
                </c:pt>
                <c:pt idx="63">
                  <c:v>8.64</c:v>
                </c:pt>
                <c:pt idx="64">
                  <c:v>8.61</c:v>
                </c:pt>
                <c:pt idx="65">
                  <c:v>8.66</c:v>
                </c:pt>
                <c:pt idx="66">
                  <c:v>8.75</c:v>
                </c:pt>
                <c:pt idx="67">
                  <c:v>8.7799999999999994</c:v>
                </c:pt>
                <c:pt idx="68">
                  <c:v>8.76</c:v>
                </c:pt>
                <c:pt idx="69">
                  <c:v>8.6999999999999993</c:v>
                </c:pt>
                <c:pt idx="70">
                  <c:v>8.77</c:v>
                </c:pt>
                <c:pt idx="71">
                  <c:v>8.83</c:v>
                </c:pt>
                <c:pt idx="72">
                  <c:v>8.7899999999999991</c:v>
                </c:pt>
                <c:pt idx="73">
                  <c:v>8.73</c:v>
                </c:pt>
                <c:pt idx="74">
                  <c:v>8.7200000000000006</c:v>
                </c:pt>
                <c:pt idx="75">
                  <c:v>8.6999999999999993</c:v>
                </c:pt>
                <c:pt idx="76">
                  <c:v>8.77</c:v>
                </c:pt>
                <c:pt idx="77">
                  <c:v>8.76</c:v>
                </c:pt>
                <c:pt idx="78">
                  <c:v>7.96</c:v>
                </c:pt>
                <c:pt idx="79">
                  <c:v>7.96</c:v>
                </c:pt>
                <c:pt idx="80">
                  <c:v>7.87</c:v>
                </c:pt>
                <c:pt idx="81">
                  <c:v>7.76</c:v>
                </c:pt>
                <c:pt idx="82">
                  <c:v>7.7</c:v>
                </c:pt>
                <c:pt idx="83">
                  <c:v>7.74</c:v>
                </c:pt>
                <c:pt idx="84">
                  <c:v>7.84</c:v>
                </c:pt>
                <c:pt idx="85">
                  <c:v>7.82</c:v>
                </c:pt>
                <c:pt idx="86">
                  <c:v>7.94</c:v>
                </c:pt>
                <c:pt idx="87">
                  <c:v>7.89</c:v>
                </c:pt>
                <c:pt idx="88">
                  <c:v>7.94</c:v>
                </c:pt>
                <c:pt idx="89">
                  <c:v>7.99</c:v>
                </c:pt>
                <c:pt idx="90">
                  <c:v>7.99</c:v>
                </c:pt>
                <c:pt idx="91">
                  <c:v>8.17</c:v>
                </c:pt>
                <c:pt idx="92">
                  <c:v>8.26</c:v>
                </c:pt>
                <c:pt idx="93">
                  <c:v>8.3000000000000007</c:v>
                </c:pt>
                <c:pt idx="94">
                  <c:v>8.2100000000000009</c:v>
                </c:pt>
                <c:pt idx="95">
                  <c:v>8.16</c:v>
                </c:pt>
                <c:pt idx="96">
                  <c:v>8.3699999999999992</c:v>
                </c:pt>
                <c:pt idx="97">
                  <c:v>8.3000000000000007</c:v>
                </c:pt>
                <c:pt idx="98">
                  <c:v>8.26</c:v>
                </c:pt>
                <c:pt idx="99">
                  <c:v>8.2799999999999994</c:v>
                </c:pt>
                <c:pt idx="100">
                  <c:v>8.32</c:v>
                </c:pt>
                <c:pt idx="101">
                  <c:v>8.49</c:v>
                </c:pt>
                <c:pt idx="102">
                  <c:v>8.68</c:v>
                </c:pt>
                <c:pt idx="103">
                  <c:v>8.6300000000000008</c:v>
                </c:pt>
                <c:pt idx="104">
                  <c:v>8.5399999999999991</c:v>
                </c:pt>
                <c:pt idx="105">
                  <c:v>8.4600000000000009</c:v>
                </c:pt>
                <c:pt idx="106">
                  <c:v>8.14</c:v>
                </c:pt>
                <c:pt idx="107">
                  <c:v>8.25</c:v>
                </c:pt>
                <c:pt idx="108">
                  <c:v>8.26</c:v>
                </c:pt>
                <c:pt idx="109">
                  <c:v>8.26</c:v>
                </c:pt>
                <c:pt idx="110">
                  <c:v>8.2899999999999991</c:v>
                </c:pt>
                <c:pt idx="111">
                  <c:v>8.3800000000000008</c:v>
                </c:pt>
                <c:pt idx="112">
                  <c:v>8.3000000000000007</c:v>
                </c:pt>
                <c:pt idx="113">
                  <c:v>7.99</c:v>
                </c:pt>
                <c:pt idx="114">
                  <c:v>7.8</c:v>
                </c:pt>
                <c:pt idx="115">
                  <c:v>7.74</c:v>
                </c:pt>
                <c:pt idx="116">
                  <c:v>7.72</c:v>
                </c:pt>
                <c:pt idx="117">
                  <c:v>7.79</c:v>
                </c:pt>
                <c:pt idx="118">
                  <c:v>7.79</c:v>
                </c:pt>
                <c:pt idx="119">
                  <c:v>7.73</c:v>
                </c:pt>
                <c:pt idx="120">
                  <c:v>7.72</c:v>
                </c:pt>
                <c:pt idx="121">
                  <c:v>7.54</c:v>
                </c:pt>
                <c:pt idx="122">
                  <c:v>7.55</c:v>
                </c:pt>
                <c:pt idx="123">
                  <c:v>7.45</c:v>
                </c:pt>
                <c:pt idx="124">
                  <c:v>7.47</c:v>
                </c:pt>
                <c:pt idx="125">
                  <c:v>7.42</c:v>
                </c:pt>
                <c:pt idx="126">
                  <c:v>7.44</c:v>
                </c:pt>
                <c:pt idx="127">
                  <c:v>7.52</c:v>
                </c:pt>
                <c:pt idx="128">
                  <c:v>7.56</c:v>
                </c:pt>
                <c:pt idx="129">
                  <c:v>7.53</c:v>
                </c:pt>
                <c:pt idx="130">
                  <c:v>7.56</c:v>
                </c:pt>
                <c:pt idx="131">
                  <c:v>7.47</c:v>
                </c:pt>
                <c:pt idx="132">
                  <c:v>7.36</c:v>
                </c:pt>
                <c:pt idx="133">
                  <c:v>7.1</c:v>
                </c:pt>
                <c:pt idx="134">
                  <c:v>7.01</c:v>
                </c:pt>
                <c:pt idx="135">
                  <c:v>7.08</c:v>
                </c:pt>
                <c:pt idx="136">
                  <c:v>6.88</c:v>
                </c:pt>
                <c:pt idx="137">
                  <c:v>6.94</c:v>
                </c:pt>
                <c:pt idx="138">
                  <c:v>7.11</c:v>
                </c:pt>
                <c:pt idx="139">
                  <c:v>7.12</c:v>
                </c:pt>
                <c:pt idx="140">
                  <c:v>7.37</c:v>
                </c:pt>
                <c:pt idx="141">
                  <c:v>7.37</c:v>
                </c:pt>
                <c:pt idx="142">
                  <c:v>7.3</c:v>
                </c:pt>
                <c:pt idx="143">
                  <c:v>7.25</c:v>
                </c:pt>
                <c:pt idx="144">
                  <c:v>7.18</c:v>
                </c:pt>
                <c:pt idx="145">
                  <c:v>7.2</c:v>
                </c:pt>
                <c:pt idx="146">
                  <c:v>7.2</c:v>
                </c:pt>
                <c:pt idx="147">
                  <c:v>7.14</c:v>
                </c:pt>
                <c:pt idx="148">
                  <c:v>6.99</c:v>
                </c:pt>
                <c:pt idx="149">
                  <c:v>6.99</c:v>
                </c:pt>
                <c:pt idx="150">
                  <c:v>7.06</c:v>
                </c:pt>
                <c:pt idx="151">
                  <c:v>6.9</c:v>
                </c:pt>
                <c:pt idx="152">
                  <c:v>6.89</c:v>
                </c:pt>
                <c:pt idx="153">
                  <c:v>6.89</c:v>
                </c:pt>
                <c:pt idx="154">
                  <c:v>6.91</c:v>
                </c:pt>
                <c:pt idx="155">
                  <c:v>6.93</c:v>
                </c:pt>
                <c:pt idx="156">
                  <c:v>6.91</c:v>
                </c:pt>
                <c:pt idx="157">
                  <c:v>6.89</c:v>
                </c:pt>
                <c:pt idx="158">
                  <c:v>6.82</c:v>
                </c:pt>
                <c:pt idx="159">
                  <c:v>6.83</c:v>
                </c:pt>
                <c:pt idx="160">
                  <c:v>6.71</c:v>
                </c:pt>
                <c:pt idx="161">
                  <c:v>6.76</c:v>
                </c:pt>
                <c:pt idx="162">
                  <c:v>6.78</c:v>
                </c:pt>
                <c:pt idx="163">
                  <c:v>6.8</c:v>
                </c:pt>
                <c:pt idx="164">
                  <c:v>6.72</c:v>
                </c:pt>
                <c:pt idx="165">
                  <c:v>6.74</c:v>
                </c:pt>
                <c:pt idx="166">
                  <c:v>6.69</c:v>
                </c:pt>
                <c:pt idx="167">
                  <c:v>6.66</c:v>
                </c:pt>
                <c:pt idx="168">
                  <c:v>6.67</c:v>
                </c:pt>
                <c:pt idx="169">
                  <c:v>6.74</c:v>
                </c:pt>
                <c:pt idx="170">
                  <c:v>6.72</c:v>
                </c:pt>
                <c:pt idx="171">
                  <c:v>6.8</c:v>
                </c:pt>
                <c:pt idx="172">
                  <c:v>6.71</c:v>
                </c:pt>
                <c:pt idx="173">
                  <c:v>6.71</c:v>
                </c:pt>
                <c:pt idx="174">
                  <c:v>6.64</c:v>
                </c:pt>
                <c:pt idx="175">
                  <c:v>6.64</c:v>
                </c:pt>
                <c:pt idx="176">
                  <c:v>6.56</c:v>
                </c:pt>
                <c:pt idx="177">
                  <c:v>6.6</c:v>
                </c:pt>
                <c:pt idx="178">
                  <c:v>6.66</c:v>
                </c:pt>
                <c:pt idx="179">
                  <c:v>6.64</c:v>
                </c:pt>
                <c:pt idx="180">
                  <c:v>6.68</c:v>
                </c:pt>
                <c:pt idx="181">
                  <c:v>6.68</c:v>
                </c:pt>
                <c:pt idx="182">
                  <c:v>6.67</c:v>
                </c:pt>
                <c:pt idx="183">
                  <c:v>6.56</c:v>
                </c:pt>
                <c:pt idx="184">
                  <c:v>6.56</c:v>
                </c:pt>
                <c:pt idx="185">
                  <c:v>6.58</c:v>
                </c:pt>
                <c:pt idx="186">
                  <c:v>6.59</c:v>
                </c:pt>
                <c:pt idx="187">
                  <c:v>6.63</c:v>
                </c:pt>
                <c:pt idx="188">
                  <c:v>6.67</c:v>
                </c:pt>
                <c:pt idx="189">
                  <c:v>6.69</c:v>
                </c:pt>
                <c:pt idx="190">
                  <c:v>6.74</c:v>
                </c:pt>
                <c:pt idx="191">
                  <c:v>6.62</c:v>
                </c:pt>
                <c:pt idx="192">
                  <c:v>6.53</c:v>
                </c:pt>
                <c:pt idx="193">
                  <c:v>6.55</c:v>
                </c:pt>
                <c:pt idx="194">
                  <c:v>6.55</c:v>
                </c:pt>
                <c:pt idx="195">
                  <c:v>6.47</c:v>
                </c:pt>
                <c:pt idx="196">
                  <c:v>6.3</c:v>
                </c:pt>
                <c:pt idx="197">
                  <c:v>6.11</c:v>
                </c:pt>
                <c:pt idx="198">
                  <c:v>5.98</c:v>
                </c:pt>
                <c:pt idx="199">
                  <c:v>6.21</c:v>
                </c:pt>
                <c:pt idx="200">
                  <c:v>6.04</c:v>
                </c:pt>
                <c:pt idx="201">
                  <c:v>6.03</c:v>
                </c:pt>
                <c:pt idx="202">
                  <c:v>6</c:v>
                </c:pt>
                <c:pt idx="203">
                  <c:v>5.99</c:v>
                </c:pt>
                <c:pt idx="204">
                  <c:v>6.14</c:v>
                </c:pt>
                <c:pt idx="205">
                  <c:v>6.3</c:v>
                </c:pt>
                <c:pt idx="206">
                  <c:v>6.22</c:v>
                </c:pt>
                <c:pt idx="207">
                  <c:v>6.17</c:v>
                </c:pt>
                <c:pt idx="208">
                  <c:v>6.16</c:v>
                </c:pt>
                <c:pt idx="209">
                  <c:v>6.01</c:v>
                </c:pt>
                <c:pt idx="210">
                  <c:v>5.95</c:v>
                </c:pt>
                <c:pt idx="211">
                  <c:v>6.08</c:v>
                </c:pt>
                <c:pt idx="212">
                  <c:v>6.05</c:v>
                </c:pt>
                <c:pt idx="213">
                  <c:v>5.97</c:v>
                </c:pt>
                <c:pt idx="214">
                  <c:v>5.98</c:v>
                </c:pt>
                <c:pt idx="215">
                  <c:v>5.93</c:v>
                </c:pt>
                <c:pt idx="216">
                  <c:v>5.93</c:v>
                </c:pt>
                <c:pt idx="217">
                  <c:v>5.94</c:v>
                </c:pt>
                <c:pt idx="218">
                  <c:v>5.95</c:v>
                </c:pt>
                <c:pt idx="219">
                  <c:v>5.93</c:v>
                </c:pt>
                <c:pt idx="220">
                  <c:v>5.98</c:v>
                </c:pt>
                <c:pt idx="221">
                  <c:v>5.96</c:v>
                </c:pt>
                <c:pt idx="222">
                  <c:v>5.97</c:v>
                </c:pt>
                <c:pt idx="223">
                  <c:v>6.04</c:v>
                </c:pt>
                <c:pt idx="224">
                  <c:v>6</c:v>
                </c:pt>
                <c:pt idx="225">
                  <c:v>6.02</c:v>
                </c:pt>
                <c:pt idx="226">
                  <c:v>5.95</c:v>
                </c:pt>
                <c:pt idx="227">
                  <c:v>5.96</c:v>
                </c:pt>
                <c:pt idx="228">
                  <c:v>5.95</c:v>
                </c:pt>
                <c:pt idx="229">
                  <c:v>5.95</c:v>
                </c:pt>
                <c:pt idx="230">
                  <c:v>5.94</c:v>
                </c:pt>
                <c:pt idx="231">
                  <c:v>5.89</c:v>
                </c:pt>
                <c:pt idx="232">
                  <c:v>5.81</c:v>
                </c:pt>
                <c:pt idx="233">
                  <c:v>5.79</c:v>
                </c:pt>
                <c:pt idx="234">
                  <c:v>5.72</c:v>
                </c:pt>
                <c:pt idx="235">
                  <c:v>5.73</c:v>
                </c:pt>
                <c:pt idx="236">
                  <c:v>5.7</c:v>
                </c:pt>
                <c:pt idx="237">
                  <c:v>5.74</c:v>
                </c:pt>
                <c:pt idx="238">
                  <c:v>5.79</c:v>
                </c:pt>
                <c:pt idx="239">
                  <c:v>5.83</c:v>
                </c:pt>
                <c:pt idx="240">
                  <c:v>5.72</c:v>
                </c:pt>
                <c:pt idx="241">
                  <c:v>5.59</c:v>
                </c:pt>
                <c:pt idx="242">
                  <c:v>5.56</c:v>
                </c:pt>
                <c:pt idx="243">
                  <c:v>5.6</c:v>
                </c:pt>
                <c:pt idx="244">
                  <c:v>5.61</c:v>
                </c:pt>
                <c:pt idx="245">
                  <c:v>5.57</c:v>
                </c:pt>
                <c:pt idx="246">
                  <c:v>5.51</c:v>
                </c:pt>
                <c:pt idx="247">
                  <c:v>5.76</c:v>
                </c:pt>
                <c:pt idx="248">
                  <c:v>5.64</c:v>
                </c:pt>
                <c:pt idx="249">
                  <c:v>5.63</c:v>
                </c:pt>
                <c:pt idx="250">
                  <c:v>5.59</c:v>
                </c:pt>
                <c:pt idx="251">
                  <c:v>5.51</c:v>
                </c:pt>
                <c:pt idx="252">
                  <c:v>5.62</c:v>
                </c:pt>
                <c:pt idx="253">
                  <c:v>5.62</c:v>
                </c:pt>
                <c:pt idx="254">
                  <c:v>5.45</c:v>
                </c:pt>
                <c:pt idx="255">
                  <c:v>5.51</c:v>
                </c:pt>
                <c:pt idx="256">
                  <c:v>5.52</c:v>
                </c:pt>
                <c:pt idx="257">
                  <c:v>5.5</c:v>
                </c:pt>
                <c:pt idx="258">
                  <c:v>5.45</c:v>
                </c:pt>
                <c:pt idx="259">
                  <c:v>5.44</c:v>
                </c:pt>
                <c:pt idx="260">
                  <c:v>5.45</c:v>
                </c:pt>
                <c:pt idx="261">
                  <c:v>5.43</c:v>
                </c:pt>
                <c:pt idx="262">
                  <c:v>5.48</c:v>
                </c:pt>
                <c:pt idx="263">
                  <c:v>5.47</c:v>
                </c:pt>
                <c:pt idx="264">
                  <c:v>5.47</c:v>
                </c:pt>
                <c:pt idx="265">
                  <c:v>5.59</c:v>
                </c:pt>
                <c:pt idx="266">
                  <c:v>5.54</c:v>
                </c:pt>
                <c:pt idx="267">
                  <c:v>5.5</c:v>
                </c:pt>
                <c:pt idx="268">
                  <c:v>5.5</c:v>
                </c:pt>
                <c:pt idx="269">
                  <c:v>5.47</c:v>
                </c:pt>
                <c:pt idx="270">
                  <c:v>5.5</c:v>
                </c:pt>
                <c:pt idx="271">
                  <c:v>5.48</c:v>
                </c:pt>
                <c:pt idx="272">
                  <c:v>5.46</c:v>
                </c:pt>
                <c:pt idx="273">
                  <c:v>5.43</c:v>
                </c:pt>
                <c:pt idx="274">
                  <c:v>5.42</c:v>
                </c:pt>
                <c:pt idx="275">
                  <c:v>5.36</c:v>
                </c:pt>
                <c:pt idx="276">
                  <c:v>5.35</c:v>
                </c:pt>
                <c:pt idx="277">
                  <c:v>5.36</c:v>
                </c:pt>
                <c:pt idx="278">
                  <c:v>5.33</c:v>
                </c:pt>
                <c:pt idx="279">
                  <c:v>5.2</c:v>
                </c:pt>
                <c:pt idx="280">
                  <c:v>5.27</c:v>
                </c:pt>
                <c:pt idx="281">
                  <c:v>5.31</c:v>
                </c:pt>
                <c:pt idx="282">
                  <c:v>5.28</c:v>
                </c:pt>
                <c:pt idx="283">
                  <c:v>5.29</c:v>
                </c:pt>
                <c:pt idx="284">
                  <c:v>5.32</c:v>
                </c:pt>
                <c:pt idx="285">
                  <c:v>5.31</c:v>
                </c:pt>
                <c:pt idx="286">
                  <c:v>5.3</c:v>
                </c:pt>
                <c:pt idx="287">
                  <c:v>5.17</c:v>
                </c:pt>
                <c:pt idx="288">
                  <c:v>5.17</c:v>
                </c:pt>
                <c:pt idx="289">
                  <c:v>5.23</c:v>
                </c:pt>
                <c:pt idx="290">
                  <c:v>5.24</c:v>
                </c:pt>
                <c:pt idx="291">
                  <c:v>5.2</c:v>
                </c:pt>
                <c:pt idx="292">
                  <c:v>5.18</c:v>
                </c:pt>
                <c:pt idx="293">
                  <c:v>5.28</c:v>
                </c:pt>
                <c:pt idx="294">
                  <c:v>5.26</c:v>
                </c:pt>
                <c:pt idx="295">
                  <c:v>5.28</c:v>
                </c:pt>
                <c:pt idx="296">
                  <c:v>5.27</c:v>
                </c:pt>
                <c:pt idx="297">
                  <c:v>5.29</c:v>
                </c:pt>
                <c:pt idx="298">
                  <c:v>5.28</c:v>
                </c:pt>
                <c:pt idx="299">
                  <c:v>5.26</c:v>
                </c:pt>
                <c:pt idx="300">
                  <c:v>5.24</c:v>
                </c:pt>
                <c:pt idx="301">
                  <c:v>5.28</c:v>
                </c:pt>
                <c:pt idx="302">
                  <c:v>5.24</c:v>
                </c:pt>
                <c:pt idx="303">
                  <c:v>5.18</c:v>
                </c:pt>
                <c:pt idx="304">
                  <c:v>5.12</c:v>
                </c:pt>
                <c:pt idx="305">
                  <c:v>5.12</c:v>
                </c:pt>
                <c:pt idx="306">
                  <c:v>5.09</c:v>
                </c:pt>
                <c:pt idx="307">
                  <c:v>4.97</c:v>
                </c:pt>
                <c:pt idx="308">
                  <c:v>4.84</c:v>
                </c:pt>
                <c:pt idx="309">
                  <c:v>4.8099999999999996</c:v>
                </c:pt>
                <c:pt idx="310">
                  <c:v>4.67</c:v>
                </c:pt>
                <c:pt idx="311">
                  <c:v>4.6399999999999997</c:v>
                </c:pt>
                <c:pt idx="312">
                  <c:v>4.71</c:v>
                </c:pt>
                <c:pt idx="313">
                  <c:v>4.71</c:v>
                </c:pt>
                <c:pt idx="314">
                  <c:v>4.71</c:v>
                </c:pt>
                <c:pt idx="315">
                  <c:v>4.71</c:v>
                </c:pt>
                <c:pt idx="316">
                  <c:v>4.72</c:v>
                </c:pt>
                <c:pt idx="317">
                  <c:v>4.72</c:v>
                </c:pt>
                <c:pt idx="318">
                  <c:v>4.67</c:v>
                </c:pt>
                <c:pt idx="319">
                  <c:v>4.5999999999999996</c:v>
                </c:pt>
                <c:pt idx="320">
                  <c:v>4.5999999999999996</c:v>
                </c:pt>
                <c:pt idx="321">
                  <c:v>4.55</c:v>
                </c:pt>
                <c:pt idx="322">
                  <c:v>4.5199999999999996</c:v>
                </c:pt>
                <c:pt idx="323">
                  <c:v>4.62</c:v>
                </c:pt>
                <c:pt idx="324">
                  <c:v>4.7</c:v>
                </c:pt>
                <c:pt idx="325">
                  <c:v>4.71</c:v>
                </c:pt>
                <c:pt idx="326">
                  <c:v>4.6500000000000004</c:v>
                </c:pt>
                <c:pt idx="327">
                  <c:v>4.5999999999999996</c:v>
                </c:pt>
                <c:pt idx="328">
                  <c:v>4.49</c:v>
                </c:pt>
                <c:pt idx="329">
                  <c:v>4.49</c:v>
                </c:pt>
                <c:pt idx="330">
                  <c:v>4.51</c:v>
                </c:pt>
                <c:pt idx="331">
                  <c:v>4.45</c:v>
                </c:pt>
                <c:pt idx="332">
                  <c:v>4.3899999999999997</c:v>
                </c:pt>
                <c:pt idx="333">
                  <c:v>4.5199999999999996</c:v>
                </c:pt>
                <c:pt idx="334">
                  <c:v>4.5</c:v>
                </c:pt>
                <c:pt idx="335">
                  <c:v>4.51</c:v>
                </c:pt>
                <c:pt idx="336">
                  <c:v>4.42</c:v>
                </c:pt>
                <c:pt idx="337">
                  <c:v>4.37</c:v>
                </c:pt>
                <c:pt idx="338">
                  <c:v>4.38</c:v>
                </c:pt>
                <c:pt idx="339">
                  <c:v>4.5199999999999996</c:v>
                </c:pt>
                <c:pt idx="340">
                  <c:v>4.47</c:v>
                </c:pt>
                <c:pt idx="341">
                  <c:v>4.57</c:v>
                </c:pt>
                <c:pt idx="342">
                  <c:v>4.5</c:v>
                </c:pt>
                <c:pt idx="343">
                  <c:v>4.47</c:v>
                </c:pt>
                <c:pt idx="344">
                  <c:v>4.4000000000000004</c:v>
                </c:pt>
                <c:pt idx="345">
                  <c:v>4.4400000000000004</c:v>
                </c:pt>
                <c:pt idx="346">
                  <c:v>4.57</c:v>
                </c:pt>
                <c:pt idx="347">
                  <c:v>4.6399999999999997</c:v>
                </c:pt>
                <c:pt idx="348">
                  <c:v>4.5599999999999996</c:v>
                </c:pt>
                <c:pt idx="349">
                  <c:v>4.46</c:v>
                </c:pt>
                <c:pt idx="350">
                  <c:v>4.57</c:v>
                </c:pt>
                <c:pt idx="351">
                  <c:v>4.71</c:v>
                </c:pt>
                <c:pt idx="352">
                  <c:v>4.72</c:v>
                </c:pt>
                <c:pt idx="353">
                  <c:v>4.91</c:v>
                </c:pt>
                <c:pt idx="354">
                  <c:v>5.29</c:v>
                </c:pt>
                <c:pt idx="355">
                  <c:v>5.05</c:v>
                </c:pt>
                <c:pt idx="356">
                  <c:v>5.08</c:v>
                </c:pt>
                <c:pt idx="357">
                  <c:v>4.9400000000000004</c:v>
                </c:pt>
                <c:pt idx="358">
                  <c:v>4.8600000000000003</c:v>
                </c:pt>
                <c:pt idx="359">
                  <c:v>4.88</c:v>
                </c:pt>
                <c:pt idx="360">
                  <c:v>4.93</c:v>
                </c:pt>
                <c:pt idx="361">
                  <c:v>5.18</c:v>
                </c:pt>
                <c:pt idx="362">
                  <c:v>5.37</c:v>
                </c:pt>
                <c:pt idx="363">
                  <c:v>5.67</c:v>
                </c:pt>
                <c:pt idx="364">
                  <c:v>5.41</c:v>
                </c:pt>
                <c:pt idx="365">
                  <c:v>5.4</c:v>
                </c:pt>
                <c:pt idx="366">
                  <c:v>5.18</c:v>
                </c:pt>
                <c:pt idx="367">
                  <c:v>5.1100000000000003</c:v>
                </c:pt>
                <c:pt idx="368">
                  <c:v>4.8600000000000003</c:v>
                </c:pt>
                <c:pt idx="369">
                  <c:v>4.67</c:v>
                </c:pt>
                <c:pt idx="370">
                  <c:v>4.67</c:v>
                </c:pt>
                <c:pt idx="371">
                  <c:v>4.6399999999999997</c:v>
                </c:pt>
                <c:pt idx="372">
                  <c:v>4.4800000000000004</c:v>
                </c:pt>
                <c:pt idx="373">
                  <c:v>4.57</c:v>
                </c:pt>
                <c:pt idx="374">
                  <c:v>4.55</c:v>
                </c:pt>
                <c:pt idx="375">
                  <c:v>4.5599999999999996</c:v>
                </c:pt>
                <c:pt idx="376">
                  <c:v>4.5599999999999996</c:v>
                </c:pt>
                <c:pt idx="377">
                  <c:v>4.54</c:v>
                </c:pt>
                <c:pt idx="378">
                  <c:v>4.5199999999999996</c:v>
                </c:pt>
                <c:pt idx="379">
                  <c:v>4.55</c:v>
                </c:pt>
                <c:pt idx="380">
                  <c:v>4.5999999999999996</c:v>
                </c:pt>
                <c:pt idx="381">
                  <c:v>4.5999999999999996</c:v>
                </c:pt>
                <c:pt idx="382">
                  <c:v>4.66</c:v>
                </c:pt>
                <c:pt idx="383">
                  <c:v>4.6900000000000004</c:v>
                </c:pt>
                <c:pt idx="384">
                  <c:v>4.66</c:v>
                </c:pt>
                <c:pt idx="385">
                  <c:v>4.5599999999999996</c:v>
                </c:pt>
                <c:pt idx="386">
                  <c:v>4.6100000000000003</c:v>
                </c:pt>
                <c:pt idx="387">
                  <c:v>4.6100000000000003</c:v>
                </c:pt>
                <c:pt idx="388">
                  <c:v>4.78</c:v>
                </c:pt>
                <c:pt idx="389">
                  <c:v>4.91</c:v>
                </c:pt>
                <c:pt idx="390">
                  <c:v>4.92</c:v>
                </c:pt>
                <c:pt idx="391">
                  <c:v>4.76</c:v>
                </c:pt>
                <c:pt idx="392">
                  <c:v>4.83</c:v>
                </c:pt>
                <c:pt idx="393">
                  <c:v>4.76</c:v>
                </c:pt>
                <c:pt idx="394">
                  <c:v>4.71</c:v>
                </c:pt>
                <c:pt idx="395">
                  <c:v>4.71</c:v>
                </c:pt>
                <c:pt idx="396">
                  <c:v>4.75</c:v>
                </c:pt>
                <c:pt idx="397">
                  <c:v>4.72</c:v>
                </c:pt>
                <c:pt idx="398">
                  <c:v>4.72</c:v>
                </c:pt>
                <c:pt idx="399">
                  <c:v>4.79</c:v>
                </c:pt>
                <c:pt idx="400">
                  <c:v>4.84</c:v>
                </c:pt>
                <c:pt idx="401">
                  <c:v>4.84</c:v>
                </c:pt>
                <c:pt idx="402">
                  <c:v>5.07</c:v>
                </c:pt>
                <c:pt idx="403">
                  <c:v>5.07</c:v>
                </c:pt>
                <c:pt idx="404">
                  <c:v>5.07</c:v>
                </c:pt>
                <c:pt idx="405">
                  <c:v>5.0599999999999996</c:v>
                </c:pt>
                <c:pt idx="406">
                  <c:v>5.14</c:v>
                </c:pt>
                <c:pt idx="407">
                  <c:v>5.15</c:v>
                </c:pt>
                <c:pt idx="408">
                  <c:v>5.13</c:v>
                </c:pt>
                <c:pt idx="409">
                  <c:v>5.15</c:v>
                </c:pt>
                <c:pt idx="410">
                  <c:v>5.25</c:v>
                </c:pt>
                <c:pt idx="411">
                  <c:v>5.23</c:v>
                </c:pt>
                <c:pt idx="412">
                  <c:v>5.19</c:v>
                </c:pt>
                <c:pt idx="413">
                  <c:v>5.17</c:v>
                </c:pt>
                <c:pt idx="414">
                  <c:v>5.18</c:v>
                </c:pt>
                <c:pt idx="415">
                  <c:v>5.19</c:v>
                </c:pt>
                <c:pt idx="416">
                  <c:v>5.26</c:v>
                </c:pt>
                <c:pt idx="417">
                  <c:v>5.26</c:v>
                </c:pt>
                <c:pt idx="418">
                  <c:v>5.22</c:v>
                </c:pt>
                <c:pt idx="419">
                  <c:v>5.14</c:v>
                </c:pt>
                <c:pt idx="420">
                  <c:v>5.04</c:v>
                </c:pt>
                <c:pt idx="421">
                  <c:v>5.03</c:v>
                </c:pt>
                <c:pt idx="422">
                  <c:v>4.92</c:v>
                </c:pt>
                <c:pt idx="423">
                  <c:v>4.76</c:v>
                </c:pt>
                <c:pt idx="424">
                  <c:v>4.78</c:v>
                </c:pt>
                <c:pt idx="425">
                  <c:v>4.75</c:v>
                </c:pt>
                <c:pt idx="426">
                  <c:v>4.51</c:v>
                </c:pt>
                <c:pt idx="427">
                  <c:v>4.63</c:v>
                </c:pt>
                <c:pt idx="428">
                  <c:v>4.58</c:v>
                </c:pt>
                <c:pt idx="429">
                  <c:v>4.54</c:v>
                </c:pt>
                <c:pt idx="430">
                  <c:v>4.51</c:v>
                </c:pt>
                <c:pt idx="431">
                  <c:v>4.53</c:v>
                </c:pt>
                <c:pt idx="432">
                  <c:v>4.5599999999999996</c:v>
                </c:pt>
                <c:pt idx="433">
                  <c:v>4.55</c:v>
                </c:pt>
                <c:pt idx="434">
                  <c:v>4.49</c:v>
                </c:pt>
                <c:pt idx="435">
                  <c:v>4.4800000000000004</c:v>
                </c:pt>
                <c:pt idx="436">
                  <c:v>4.46</c:v>
                </c:pt>
                <c:pt idx="437">
                  <c:v>4.5199999999999996</c:v>
                </c:pt>
                <c:pt idx="438">
                  <c:v>4.5199999999999996</c:v>
                </c:pt>
                <c:pt idx="439">
                  <c:v>4.46</c:v>
                </c:pt>
                <c:pt idx="440">
                  <c:v>4.4800000000000004</c:v>
                </c:pt>
                <c:pt idx="441">
                  <c:v>4.47</c:v>
                </c:pt>
                <c:pt idx="442">
                  <c:v>4.42</c:v>
                </c:pt>
                <c:pt idx="443">
                  <c:v>4.42</c:v>
                </c:pt>
                <c:pt idx="444">
                  <c:v>4.4000000000000004</c:v>
                </c:pt>
                <c:pt idx="445">
                  <c:v>4.4000000000000004</c:v>
                </c:pt>
                <c:pt idx="446">
                  <c:v>4.33</c:v>
                </c:pt>
                <c:pt idx="447">
                  <c:v>4.29</c:v>
                </c:pt>
                <c:pt idx="448">
                  <c:v>4.2699999999999996</c:v>
                </c:pt>
                <c:pt idx="449">
                  <c:v>4.2699999999999996</c:v>
                </c:pt>
                <c:pt idx="450">
                  <c:v>4.2699999999999996</c:v>
                </c:pt>
                <c:pt idx="451">
                  <c:v>4.21</c:v>
                </c:pt>
                <c:pt idx="452">
                  <c:v>4.21</c:v>
                </c:pt>
                <c:pt idx="453">
                  <c:v>4.22</c:v>
                </c:pt>
                <c:pt idx="454">
                  <c:v>4.17</c:v>
                </c:pt>
                <c:pt idx="455">
                  <c:v>4.16</c:v>
                </c:pt>
                <c:pt idx="456">
                  <c:v>4.21</c:v>
                </c:pt>
                <c:pt idx="457">
                  <c:v>4.21</c:v>
                </c:pt>
                <c:pt idx="458">
                  <c:v>4.26</c:v>
                </c:pt>
                <c:pt idx="459">
                  <c:v>4.2</c:v>
                </c:pt>
                <c:pt idx="460">
                  <c:v>4.26</c:v>
                </c:pt>
                <c:pt idx="461">
                  <c:v>4.22</c:v>
                </c:pt>
                <c:pt idx="462">
                  <c:v>4.2</c:v>
                </c:pt>
                <c:pt idx="463">
                  <c:v>4.28</c:v>
                </c:pt>
                <c:pt idx="464">
                  <c:v>4.37</c:v>
                </c:pt>
                <c:pt idx="465">
                  <c:v>4.3</c:v>
                </c:pt>
                <c:pt idx="466">
                  <c:v>4.1900000000000004</c:v>
                </c:pt>
                <c:pt idx="467">
                  <c:v>4.1900000000000004</c:v>
                </c:pt>
                <c:pt idx="468">
                  <c:v>4.1100000000000003</c:v>
                </c:pt>
                <c:pt idx="469" formatCode="General">
                  <c:v>4.08</c:v>
                </c:pt>
                <c:pt idx="470" formatCode="General">
                  <c:v>4.1100000000000003</c:v>
                </c:pt>
                <c:pt idx="471" formatCode="General">
                  <c:v>4.16</c:v>
                </c:pt>
                <c:pt idx="472" formatCode="General">
                  <c:v>4.1399999999999997</c:v>
                </c:pt>
                <c:pt idx="473" formatCode="General">
                  <c:v>4.16</c:v>
                </c:pt>
                <c:pt idx="474" formatCode="0.00">
                  <c:v>4.0999999999999996</c:v>
                </c:pt>
                <c:pt idx="475" formatCode="General">
                  <c:v>4.09</c:v>
                </c:pt>
                <c:pt idx="476" formatCode="General">
                  <c:v>4.1100000000000003</c:v>
                </c:pt>
                <c:pt idx="477" formatCode="General">
                  <c:v>4.2300000000000004</c:v>
                </c:pt>
                <c:pt idx="478" formatCode="General">
                  <c:v>4.2300000000000004</c:v>
                </c:pt>
                <c:pt idx="479" formatCode="General">
                  <c:v>4.2300000000000004</c:v>
                </c:pt>
                <c:pt idx="480" formatCode="General">
                  <c:v>4.21</c:v>
                </c:pt>
                <c:pt idx="481" formatCode="General">
                  <c:v>4.16</c:v>
                </c:pt>
                <c:pt idx="482">
                  <c:v>4.1500000000000004</c:v>
                </c:pt>
                <c:pt idx="483">
                  <c:v>4.12</c:v>
                </c:pt>
                <c:pt idx="484">
                  <c:v>4.12</c:v>
                </c:pt>
                <c:pt idx="485">
                  <c:v>4.12</c:v>
                </c:pt>
                <c:pt idx="486">
                  <c:v>4.1100000000000003</c:v>
                </c:pt>
                <c:pt idx="487">
                  <c:v>4.12</c:v>
                </c:pt>
                <c:pt idx="488" formatCode="General">
                  <c:v>4.08</c:v>
                </c:pt>
                <c:pt idx="489" formatCode="General">
                  <c:v>4.05</c:v>
                </c:pt>
                <c:pt idx="490" formatCode="General">
                  <c:v>4.01</c:v>
                </c:pt>
                <c:pt idx="491" formatCode="General">
                  <c:v>4.0199999999999996</c:v>
                </c:pt>
                <c:pt idx="492" formatCode="General">
                  <c:v>4.04</c:v>
                </c:pt>
                <c:pt idx="493" formatCode="General">
                  <c:v>3.99</c:v>
                </c:pt>
                <c:pt idx="494" formatCode="General">
                  <c:v>4.01</c:v>
                </c:pt>
                <c:pt idx="495" formatCode="General">
                  <c:v>4.01</c:v>
                </c:pt>
                <c:pt idx="496" formatCode="General">
                  <c:v>4.0199999999999996</c:v>
                </c:pt>
                <c:pt idx="497" formatCode="General">
                  <c:v>4.01</c:v>
                </c:pt>
                <c:pt idx="498" formatCode="General">
                  <c:v>3.98</c:v>
                </c:pt>
                <c:pt idx="499" formatCode="General">
                  <c:v>3.94</c:v>
                </c:pt>
                <c:pt idx="500" formatCode="General">
                  <c:v>3.91</c:v>
                </c:pt>
                <c:pt idx="501" formatCode="General">
                  <c:v>3.84</c:v>
                </c:pt>
                <c:pt idx="502" formatCode="General">
                  <c:v>3.82</c:v>
                </c:pt>
                <c:pt idx="503" formatCode="General">
                  <c:v>3.76</c:v>
                </c:pt>
                <c:pt idx="504" formatCode="General">
                  <c:v>3.73</c:v>
                </c:pt>
                <c:pt idx="505" formatCode="General">
                  <c:v>3.7</c:v>
                </c:pt>
                <c:pt idx="506" formatCode="General">
                  <c:v>3.65</c:v>
                </c:pt>
                <c:pt idx="507" formatCode="General">
                  <c:v>3.55</c:v>
                </c:pt>
                <c:pt idx="508" formatCode="General">
                  <c:v>3.55</c:v>
                </c:pt>
                <c:pt idx="509" formatCode="General">
                  <c:v>3.57</c:v>
                </c:pt>
                <c:pt idx="510" formatCode="General">
                  <c:v>3.55</c:v>
                </c:pt>
                <c:pt idx="511" formatCode="General">
                  <c:v>3.53</c:v>
                </c:pt>
                <c:pt idx="512" formatCode="General">
                  <c:v>3.67</c:v>
                </c:pt>
                <c:pt idx="513" formatCode="General">
                  <c:v>3.67</c:v>
                </c:pt>
                <c:pt idx="514" formatCode="General">
                  <c:v>3.74</c:v>
                </c:pt>
                <c:pt idx="515" formatCode="General">
                  <c:v>4.47</c:v>
                </c:pt>
                <c:pt idx="516" formatCode="General">
                  <c:v>4.88</c:v>
                </c:pt>
                <c:pt idx="517" formatCode="General">
                  <c:v>4.9800000000000004</c:v>
                </c:pt>
                <c:pt idx="518" formatCode="General">
                  <c:v>5</c:v>
                </c:pt>
                <c:pt idx="519" formatCode="General">
                  <c:v>4.96</c:v>
                </c:pt>
                <c:pt idx="520" formatCode="General">
                  <c:v>4.7699999999999996</c:v>
                </c:pt>
                <c:pt idx="521" formatCode="General">
                  <c:v>4.7699999999999996</c:v>
                </c:pt>
                <c:pt idx="522" formatCode="General">
                  <c:v>4.78</c:v>
                </c:pt>
                <c:pt idx="523" formatCode="General">
                  <c:v>4.8</c:v>
                </c:pt>
                <c:pt idx="524" formatCode="General">
                  <c:v>4.7699999999999996</c:v>
                </c:pt>
                <c:pt idx="525" formatCode="General">
                  <c:v>4.7300000000000004</c:v>
                </c:pt>
                <c:pt idx="526" formatCode="General">
                  <c:v>4.74</c:v>
                </c:pt>
                <c:pt idx="527" formatCode="General">
                  <c:v>4.71</c:v>
                </c:pt>
                <c:pt idx="528" formatCode="General">
                  <c:v>4.7300000000000004</c:v>
                </c:pt>
                <c:pt idx="529" formatCode="General">
                  <c:v>4.83</c:v>
                </c:pt>
                <c:pt idx="530" formatCode="General">
                  <c:v>5.01</c:v>
                </c:pt>
                <c:pt idx="531" formatCode="General">
                  <c:v>5.08</c:v>
                </c:pt>
                <c:pt idx="532" formatCode="General">
                  <c:v>4.99</c:v>
                </c:pt>
                <c:pt idx="533" formatCode="General">
                  <c:v>4.96</c:v>
                </c:pt>
                <c:pt idx="534" formatCode="General">
                  <c:v>4.91</c:v>
                </c:pt>
                <c:pt idx="535" formatCode="General">
                  <c:v>4.9000000000000004</c:v>
                </c:pt>
                <c:pt idx="536" formatCode="General">
                  <c:v>4.9400000000000004</c:v>
                </c:pt>
                <c:pt idx="537" formatCode="General">
                  <c:v>4.93</c:v>
                </c:pt>
                <c:pt idx="538" formatCode="General">
                  <c:v>4.99</c:v>
                </c:pt>
                <c:pt idx="539" formatCode="General">
                  <c:v>4.8</c:v>
                </c:pt>
                <c:pt idx="540" formatCode="General">
                  <c:v>4.7699999999999996</c:v>
                </c:pt>
                <c:pt idx="541" formatCode="General">
                  <c:v>4.7</c:v>
                </c:pt>
                <c:pt idx="542" formatCode="General">
                  <c:v>4.72</c:v>
                </c:pt>
                <c:pt idx="543" formatCode="General">
                  <c:v>4.79</c:v>
                </c:pt>
                <c:pt idx="544" formatCode="General">
                  <c:v>4.78</c:v>
                </c:pt>
                <c:pt idx="545" formatCode="General">
                  <c:v>4.82</c:v>
                </c:pt>
                <c:pt idx="546" formatCode="General">
                  <c:v>4.75</c:v>
                </c:pt>
                <c:pt idx="547" formatCode="General">
                  <c:v>4.75</c:v>
                </c:pt>
                <c:pt idx="548" formatCode="General">
                  <c:v>4.72</c:v>
                </c:pt>
                <c:pt idx="549" formatCode="General">
                  <c:v>4.6900000000000004</c:v>
                </c:pt>
                <c:pt idx="550" formatCode="General">
                  <c:v>4.6399999999999997</c:v>
                </c:pt>
                <c:pt idx="551" formatCode="General">
                  <c:v>4.63</c:v>
                </c:pt>
                <c:pt idx="552" formatCode="General">
                  <c:v>4.66</c:v>
                </c:pt>
                <c:pt idx="553" formatCode="General">
                  <c:v>4.6900000000000004</c:v>
                </c:pt>
                <c:pt idx="554" formatCode="General">
                  <c:v>4.68</c:v>
                </c:pt>
                <c:pt idx="555" formatCode="General">
                  <c:v>4.66</c:v>
                </c:pt>
                <c:pt idx="556" formatCode="General">
                  <c:v>4.68</c:v>
                </c:pt>
                <c:pt idx="557" formatCode="General">
                  <c:v>4.55</c:v>
                </c:pt>
                <c:pt idx="558" formatCode="General">
                  <c:v>4.53</c:v>
                </c:pt>
                <c:pt idx="559" formatCode="General">
                  <c:v>4.5199999999999996</c:v>
                </c:pt>
                <c:pt idx="560" formatCode="General">
                  <c:v>4.51</c:v>
                </c:pt>
                <c:pt idx="561" formatCode="General">
                  <c:v>4.51</c:v>
                </c:pt>
                <c:pt idx="562">
                  <c:v>4.47</c:v>
                </c:pt>
                <c:pt idx="563" formatCode="General">
                  <c:v>4.47</c:v>
                </c:pt>
                <c:pt idx="564" formatCode="General">
                  <c:v>4.45</c:v>
                </c:pt>
                <c:pt idx="565" formatCode="General">
                  <c:v>4.46</c:v>
                </c:pt>
                <c:pt idx="566" formatCode="General">
                  <c:v>4.41</c:v>
                </c:pt>
                <c:pt idx="567" formatCode="General">
                  <c:v>4.42</c:v>
                </c:pt>
                <c:pt idx="568" formatCode="General">
                  <c:v>4.46</c:v>
                </c:pt>
                <c:pt idx="569" formatCode="General">
                  <c:v>4.4800000000000004</c:v>
                </c:pt>
                <c:pt idx="570" formatCode="General">
                  <c:v>4.49</c:v>
                </c:pt>
                <c:pt idx="571" formatCode="General">
                  <c:v>4.43</c:v>
                </c:pt>
                <c:pt idx="572" formatCode="General">
                  <c:v>4.43</c:v>
                </c:pt>
                <c:pt idx="573" formatCode="General">
                  <c:v>4.43</c:v>
                </c:pt>
                <c:pt idx="574" formatCode="General">
                  <c:v>4.43</c:v>
                </c:pt>
                <c:pt idx="575" formatCode="General">
                  <c:v>4.46</c:v>
                </c:pt>
                <c:pt idx="576" formatCode="General">
                  <c:v>4.3</c:v>
                </c:pt>
                <c:pt idx="577" formatCode="General">
                  <c:v>4.29</c:v>
                </c:pt>
                <c:pt idx="578" formatCode="General">
                  <c:v>4.33</c:v>
                </c:pt>
                <c:pt idx="579" formatCode="General">
                  <c:v>4.2300000000000004</c:v>
                </c:pt>
                <c:pt idx="580" formatCode="General">
                  <c:v>4.08</c:v>
                </c:pt>
                <c:pt idx="581" formatCode="General">
                  <c:v>4.08</c:v>
                </c:pt>
                <c:pt idx="582" formatCode="General">
                  <c:v>4.08</c:v>
                </c:pt>
                <c:pt idx="583" formatCode="General">
                  <c:v>4.08</c:v>
                </c:pt>
                <c:pt idx="584" formatCode="General">
                  <c:v>4.05</c:v>
                </c:pt>
                <c:pt idx="585" formatCode="General">
                  <c:v>4</c:v>
                </c:pt>
                <c:pt idx="586" formatCode="General">
                  <c:v>3.91</c:v>
                </c:pt>
                <c:pt idx="587" formatCode="General">
                  <c:v>3.89</c:v>
                </c:pt>
                <c:pt idx="588" formatCode="General">
                  <c:v>3.9</c:v>
                </c:pt>
                <c:pt idx="589" formatCode="General">
                  <c:v>3.86</c:v>
                </c:pt>
                <c:pt idx="590" formatCode="General">
                  <c:v>3.71</c:v>
                </c:pt>
                <c:pt idx="591" formatCode="General">
                  <c:v>3.56</c:v>
                </c:pt>
                <c:pt idx="592" formatCode="General">
                  <c:v>3.64</c:v>
                </c:pt>
                <c:pt idx="593" formatCode="General">
                  <c:v>3.69</c:v>
                </c:pt>
                <c:pt idx="594" formatCode="General">
                  <c:v>3.69</c:v>
                </c:pt>
                <c:pt idx="595" formatCode="General">
                  <c:v>3.66</c:v>
                </c:pt>
                <c:pt idx="596" formatCode="General">
                  <c:v>3.59</c:v>
                </c:pt>
                <c:pt idx="597" formatCode="General">
                  <c:v>3.53</c:v>
                </c:pt>
                <c:pt idx="598" formatCode="General">
                  <c:v>3.41</c:v>
                </c:pt>
                <c:pt idx="599" formatCode="General">
                  <c:v>3.45</c:v>
                </c:pt>
                <c:pt idx="600" formatCode="General">
                  <c:v>3.47</c:v>
                </c:pt>
                <c:pt idx="601" formatCode="General">
                  <c:v>3.34</c:v>
                </c:pt>
                <c:pt idx="602" formatCode="General">
                  <c:v>3.36</c:v>
                </c:pt>
                <c:pt idx="603" formatCode="General">
                  <c:v>3.13</c:v>
                </c:pt>
                <c:pt idx="604" formatCode="General">
                  <c:v>3.22</c:v>
                </c:pt>
                <c:pt idx="605" formatCode="General">
                  <c:v>3.29</c:v>
                </c:pt>
                <c:pt idx="606" formatCode="General">
                  <c:v>3.24</c:v>
                </c:pt>
                <c:pt idx="607" formatCode="General">
                  <c:v>3.02</c:v>
                </c:pt>
                <c:pt idx="608" formatCode="General">
                  <c:v>3.02</c:v>
                </c:pt>
                <c:pt idx="609" formatCode="General">
                  <c:v>2.97</c:v>
                </c:pt>
                <c:pt idx="610" formatCode="General">
                  <c:v>3.01</c:v>
                </c:pt>
                <c:pt idx="611" formatCode="General">
                  <c:v>3.07</c:v>
                </c:pt>
                <c:pt idx="612" formatCode="General">
                  <c:v>3.08</c:v>
                </c:pt>
                <c:pt idx="613" formatCode="General">
                  <c:v>3.16</c:v>
                </c:pt>
                <c:pt idx="614" formatCode="General">
                  <c:v>3.14</c:v>
                </c:pt>
                <c:pt idx="615" formatCode="General">
                  <c:v>3.24</c:v>
                </c:pt>
                <c:pt idx="616" formatCode="General">
                  <c:v>3.18</c:v>
                </c:pt>
                <c:pt idx="617" formatCode="General">
                  <c:v>3.21</c:v>
                </c:pt>
                <c:pt idx="618" formatCode="General">
                  <c:v>3.22</c:v>
                </c:pt>
                <c:pt idx="619" formatCode="General">
                  <c:v>3.17</c:v>
                </c:pt>
                <c:pt idx="620" formatCode="General">
                  <c:v>3.18</c:v>
                </c:pt>
                <c:pt idx="621" formatCode="General">
                  <c:v>3.01</c:v>
                </c:pt>
                <c:pt idx="622" formatCode="General">
                  <c:v>2.95</c:v>
                </c:pt>
                <c:pt idx="623" formatCode="General">
                  <c:v>3.07</c:v>
                </c:pt>
                <c:pt idx="624" formatCode="General">
                  <c:v>3.1</c:v>
                </c:pt>
                <c:pt idx="625" formatCode="General">
                  <c:v>3.06</c:v>
                </c:pt>
                <c:pt idx="626" formatCode="General">
                  <c:v>3.09</c:v>
                </c:pt>
                <c:pt idx="627" formatCode="General">
                  <c:v>3.07</c:v>
                </c:pt>
                <c:pt idx="628" formatCode="General">
                  <c:v>3.1</c:v>
                </c:pt>
                <c:pt idx="629" formatCode="General">
                  <c:v>3.06</c:v>
                </c:pt>
                <c:pt idx="630" formatCode="General">
                  <c:v>3.05</c:v>
                </c:pt>
                <c:pt idx="631" formatCode="General">
                  <c:v>3.03</c:v>
                </c:pt>
                <c:pt idx="632" formatCode="General">
                  <c:v>3.07</c:v>
                </c:pt>
                <c:pt idx="633" formatCode="General">
                  <c:v>3.09</c:v>
                </c:pt>
                <c:pt idx="634" formatCode="General">
                  <c:v>3.13</c:v>
                </c:pt>
                <c:pt idx="635" formatCode="General">
                  <c:v>3.14</c:v>
                </c:pt>
                <c:pt idx="636" formatCode="General">
                  <c:v>3.14</c:v>
                </c:pt>
                <c:pt idx="637" formatCode="General">
                  <c:v>3.11</c:v>
                </c:pt>
                <c:pt idx="638" formatCode="General">
                  <c:v>3.06</c:v>
                </c:pt>
                <c:pt idx="639" formatCode="General">
                  <c:v>3.06</c:v>
                </c:pt>
                <c:pt idx="640" formatCode="General">
                  <c:v>3.04</c:v>
                </c:pt>
                <c:pt idx="641" formatCode="General">
                  <c:v>3.08</c:v>
                </c:pt>
                <c:pt idx="642" formatCode="General">
                  <c:v>3.07</c:v>
                </c:pt>
                <c:pt idx="643" formatCode="General">
                  <c:v>3.07</c:v>
                </c:pt>
                <c:pt idx="644" formatCode="General">
                  <c:v>3.14</c:v>
                </c:pt>
                <c:pt idx="645" formatCode="General">
                  <c:v>3.13</c:v>
                </c:pt>
                <c:pt idx="646" formatCode="General">
                  <c:v>3.34</c:v>
                </c:pt>
                <c:pt idx="647" formatCode="General">
                  <c:v>3.62</c:v>
                </c:pt>
                <c:pt idx="648" formatCode="General">
                  <c:v>3.51</c:v>
                </c:pt>
                <c:pt idx="649" formatCode="General">
                  <c:v>3.57</c:v>
                </c:pt>
                <c:pt idx="650" formatCode="General">
                  <c:v>3.8</c:v>
                </c:pt>
                <c:pt idx="651" formatCode="General">
                  <c:v>3.68</c:v>
                </c:pt>
                <c:pt idx="652" formatCode="General">
                  <c:v>3.63</c:v>
                </c:pt>
                <c:pt idx="653" formatCode="0.00">
                  <c:v>3.6</c:v>
                </c:pt>
                <c:pt idx="654" formatCode="General">
                  <c:v>3.59</c:v>
                </c:pt>
                <c:pt idx="655" formatCode="General">
                  <c:v>3.59</c:v>
                </c:pt>
                <c:pt idx="656" formatCode="General">
                  <c:v>3.41</c:v>
                </c:pt>
                <c:pt idx="657" formatCode="General">
                  <c:v>3.4</c:v>
                </c:pt>
                <c:pt idx="658" formatCode="General">
                  <c:v>3.31</c:v>
                </c:pt>
                <c:pt idx="659" formatCode="General">
                  <c:v>3.19</c:v>
                </c:pt>
                <c:pt idx="660" formatCode="General">
                  <c:v>3.19</c:v>
                </c:pt>
                <c:pt idx="661" formatCode="General">
                  <c:v>3.15</c:v>
                </c:pt>
                <c:pt idx="662" formatCode="General">
                  <c:v>3.18</c:v>
                </c:pt>
                <c:pt idx="663" formatCode="General">
                  <c:v>3.17</c:v>
                </c:pt>
                <c:pt idx="664" formatCode="General">
                  <c:v>3.15</c:v>
                </c:pt>
                <c:pt idx="665" formatCode="General">
                  <c:v>3.11</c:v>
                </c:pt>
                <c:pt idx="666" formatCode="General">
                  <c:v>3.21</c:v>
                </c:pt>
                <c:pt idx="667" formatCode="General">
                  <c:v>3.2</c:v>
                </c:pt>
                <c:pt idx="668" formatCode="General">
                  <c:v>3.22</c:v>
                </c:pt>
                <c:pt idx="669" formatCode="General">
                  <c:v>3.3</c:v>
                </c:pt>
                <c:pt idx="670" formatCode="General">
                  <c:v>3.23</c:v>
                </c:pt>
                <c:pt idx="671" formatCode="General">
                  <c:v>3.23</c:v>
                </c:pt>
                <c:pt idx="672" formatCode="General">
                  <c:v>3.27</c:v>
                </c:pt>
                <c:pt idx="673" formatCode="General">
                  <c:v>3.14</c:v>
                </c:pt>
                <c:pt idx="674" formatCode="General">
                  <c:v>3.24</c:v>
                </c:pt>
                <c:pt idx="675" formatCode="General">
                  <c:v>3.25</c:v>
                </c:pt>
                <c:pt idx="676" formatCode="General">
                  <c:v>3.2</c:v>
                </c:pt>
                <c:pt idx="677" formatCode="General">
                  <c:v>3.3</c:v>
                </c:pt>
                <c:pt idx="678" formatCode="General">
                  <c:v>3.3</c:v>
                </c:pt>
                <c:pt idx="679" formatCode="General">
                  <c:v>3.22</c:v>
                </c:pt>
                <c:pt idx="680" formatCode="General">
                  <c:v>3.16</c:v>
                </c:pt>
                <c:pt idx="681" formatCode="General">
                  <c:v>3.17</c:v>
                </c:pt>
                <c:pt idx="682" formatCode="General">
                  <c:v>3.13</c:v>
                </c:pt>
                <c:pt idx="683" formatCode="General">
                  <c:v>3.13</c:v>
                </c:pt>
                <c:pt idx="684" formatCode="General">
                  <c:v>3.09</c:v>
                </c:pt>
                <c:pt idx="685" formatCode="General">
                  <c:v>3.08</c:v>
                </c:pt>
                <c:pt idx="686" formatCode="General">
                  <c:v>3.03</c:v>
                </c:pt>
                <c:pt idx="687" formatCode="General">
                  <c:v>3.09</c:v>
                </c:pt>
                <c:pt idx="688" formatCode="General">
                  <c:v>3.17</c:v>
                </c:pt>
                <c:pt idx="689" formatCode="General">
                  <c:v>3.16</c:v>
                </c:pt>
                <c:pt idx="690" formatCode="General">
                  <c:v>3.16</c:v>
                </c:pt>
                <c:pt idx="691" formatCode="General">
                  <c:v>3.1</c:v>
                </c:pt>
                <c:pt idx="692" formatCode="General">
                  <c:v>3.08</c:v>
                </c:pt>
                <c:pt idx="693" formatCode="General">
                  <c:v>3.08</c:v>
                </c:pt>
                <c:pt idx="694" formatCode="General">
                  <c:v>3.04</c:v>
                </c:pt>
                <c:pt idx="695" formatCode="General">
                  <c:v>3.02</c:v>
                </c:pt>
                <c:pt idx="696" formatCode="General">
                  <c:v>2.9</c:v>
                </c:pt>
                <c:pt idx="697" formatCode="General">
                  <c:v>2.96</c:v>
                </c:pt>
                <c:pt idx="698" formatCode="General">
                  <c:v>2.88</c:v>
                </c:pt>
                <c:pt idx="699" formatCode="General">
                  <c:v>2.86</c:v>
                </c:pt>
                <c:pt idx="700" formatCode="General">
                  <c:v>2.79</c:v>
                </c:pt>
                <c:pt idx="701" formatCode="General">
                  <c:v>3.02</c:v>
                </c:pt>
                <c:pt idx="702" formatCode="General">
                  <c:v>2.92</c:v>
                </c:pt>
                <c:pt idx="703" formatCode="General">
                  <c:v>2.87</c:v>
                </c:pt>
                <c:pt idx="704" formatCode="General">
                  <c:v>2.88</c:v>
                </c:pt>
                <c:pt idx="705" formatCode="General">
                  <c:v>2.87</c:v>
                </c:pt>
                <c:pt idx="706" formatCode="General">
                  <c:v>2.91</c:v>
                </c:pt>
                <c:pt idx="707" formatCode="General">
                  <c:v>2.88</c:v>
                </c:pt>
                <c:pt idx="708" formatCode="General">
                  <c:v>2.87</c:v>
                </c:pt>
                <c:pt idx="709" formatCode="General">
                  <c:v>2.91</c:v>
                </c:pt>
                <c:pt idx="710" formatCode="General">
                  <c:v>2.82</c:v>
                </c:pt>
                <c:pt idx="711" formatCode="General">
                  <c:v>2.79</c:v>
                </c:pt>
                <c:pt idx="712" formatCode="General">
                  <c:v>2.82</c:v>
                </c:pt>
                <c:pt idx="713" formatCode="General">
                  <c:v>2.82</c:v>
                </c:pt>
                <c:pt idx="714" formatCode="General">
                  <c:v>2.86</c:v>
                </c:pt>
                <c:pt idx="715" formatCode="General">
                  <c:v>2.88</c:v>
                </c:pt>
                <c:pt idx="716" formatCode="General">
                  <c:v>2.82</c:v>
                </c:pt>
                <c:pt idx="717" formatCode="General">
                  <c:v>2.82</c:v>
                </c:pt>
                <c:pt idx="718" formatCode="General">
                  <c:v>2.77</c:v>
                </c:pt>
                <c:pt idx="719" formatCode="General">
                  <c:v>2.72</c:v>
                </c:pt>
                <c:pt idx="720" formatCode="General">
                  <c:v>2.71</c:v>
                </c:pt>
                <c:pt idx="721" formatCode="General">
                  <c:v>2.67</c:v>
                </c:pt>
                <c:pt idx="722" formatCode="General">
                  <c:v>2.62</c:v>
                </c:pt>
                <c:pt idx="723" formatCode="General">
                  <c:v>2.67</c:v>
                </c:pt>
                <c:pt idx="724" formatCode="General">
                  <c:v>2.67</c:v>
                </c:pt>
                <c:pt idx="725" formatCode="General">
                  <c:v>2.65</c:v>
                </c:pt>
                <c:pt idx="726" formatCode="General">
                  <c:v>2.63</c:v>
                </c:pt>
                <c:pt idx="727" formatCode="General">
                  <c:v>2.63</c:v>
                </c:pt>
                <c:pt idx="728" formatCode="General">
                  <c:v>2.58</c:v>
                </c:pt>
                <c:pt idx="729" formatCode="General">
                  <c:v>2.58</c:v>
                </c:pt>
                <c:pt idx="730" formatCode="General">
                  <c:v>2.54</c:v>
                </c:pt>
                <c:pt idx="731" formatCode="General">
                  <c:v>2.54</c:v>
                </c:pt>
                <c:pt idx="732" formatCode="General">
                  <c:v>2.57</c:v>
                </c:pt>
                <c:pt idx="733" formatCode="General">
                  <c:v>2.62</c:v>
                </c:pt>
                <c:pt idx="734" formatCode="General">
                  <c:v>2.62</c:v>
                </c:pt>
                <c:pt idx="735" formatCode="General">
                  <c:v>2.61</c:v>
                </c:pt>
                <c:pt idx="736" formatCode="General">
                  <c:v>2.61</c:v>
                </c:pt>
                <c:pt idx="737" formatCode="General">
                  <c:v>2.61</c:v>
                </c:pt>
                <c:pt idx="738" formatCode="General">
                  <c:v>2.62</c:v>
                </c:pt>
                <c:pt idx="739" formatCode="General">
                  <c:v>2.62</c:v>
                </c:pt>
                <c:pt idx="740" formatCode="General">
                  <c:v>2.57</c:v>
                </c:pt>
                <c:pt idx="741" formatCode="General">
                  <c:v>2.5499999999999998</c:v>
                </c:pt>
                <c:pt idx="742" formatCode="General">
                  <c:v>2.75</c:v>
                </c:pt>
                <c:pt idx="743" formatCode="General">
                  <c:v>2.95</c:v>
                </c:pt>
                <c:pt idx="744" formatCode="General">
                  <c:v>2.84</c:v>
                </c:pt>
                <c:pt idx="745" formatCode="General">
                  <c:v>2.84</c:v>
                </c:pt>
                <c:pt idx="746" formatCode="General">
                  <c:v>2.78</c:v>
                </c:pt>
                <c:pt idx="747" formatCode="General">
                  <c:v>2.75</c:v>
                </c:pt>
                <c:pt idx="748" formatCode="General">
                  <c:v>2.74</c:v>
                </c:pt>
                <c:pt idx="749" formatCode="General">
                  <c:v>2.72</c:v>
                </c:pt>
                <c:pt idx="750" formatCode="General">
                  <c:v>2.72</c:v>
                </c:pt>
                <c:pt idx="751" formatCode="General">
                  <c:v>2.63</c:v>
                </c:pt>
                <c:pt idx="752" formatCode="General">
                  <c:v>2.57</c:v>
                </c:pt>
                <c:pt idx="753" formatCode="General">
                  <c:v>2.5</c:v>
                </c:pt>
                <c:pt idx="754" formatCode="General">
                  <c:v>2.4900000000000002</c:v>
                </c:pt>
                <c:pt idx="755" formatCode="General">
                  <c:v>2.46</c:v>
                </c:pt>
                <c:pt idx="756" formatCode="General">
                  <c:v>2.41</c:v>
                </c:pt>
                <c:pt idx="757" formatCode="General">
                  <c:v>2.39</c:v>
                </c:pt>
                <c:pt idx="758" formatCode="General">
                  <c:v>2.3199999999999998</c:v>
                </c:pt>
                <c:pt idx="759" formatCode="General">
                  <c:v>2.2200000000000002</c:v>
                </c:pt>
                <c:pt idx="760" formatCode="General">
                  <c:v>2.2400000000000002</c:v>
                </c:pt>
                <c:pt idx="761" formatCode="General">
                  <c:v>2.2400000000000002</c:v>
                </c:pt>
                <c:pt idx="762" formatCode="General">
                  <c:v>2.2000000000000002</c:v>
                </c:pt>
                <c:pt idx="763" formatCode="General">
                  <c:v>2.25</c:v>
                </c:pt>
                <c:pt idx="764" formatCode="General">
                  <c:v>2.06</c:v>
                </c:pt>
                <c:pt idx="765" formatCode="General">
                  <c:v>2.0299999999999998</c:v>
                </c:pt>
                <c:pt idx="766" formatCode="General">
                  <c:v>2.04</c:v>
                </c:pt>
                <c:pt idx="767" formatCode="General">
                  <c:v>2.06</c:v>
                </c:pt>
                <c:pt idx="768" formatCode="General">
                  <c:v>2.0699999999999998</c:v>
                </c:pt>
                <c:pt idx="769" formatCode="General">
                  <c:v>2.09</c:v>
                </c:pt>
                <c:pt idx="770" formatCode="General">
                  <c:v>2.1</c:v>
                </c:pt>
                <c:pt idx="771" formatCode="General">
                  <c:v>2.08</c:v>
                </c:pt>
                <c:pt idx="772" formatCode="General">
                  <c:v>2.1</c:v>
                </c:pt>
                <c:pt idx="773" formatCode="General">
                  <c:v>2.14</c:v>
                </c:pt>
                <c:pt idx="774" formatCode="General">
                  <c:v>2.16</c:v>
                </c:pt>
                <c:pt idx="775" formatCode="General">
                  <c:v>2.1800000000000002</c:v>
                </c:pt>
                <c:pt idx="776" formatCode="General">
                  <c:v>2.1800000000000002</c:v>
                </c:pt>
                <c:pt idx="777" formatCode="General">
                  <c:v>2.21</c:v>
                </c:pt>
                <c:pt idx="778" formatCode="General">
                  <c:v>2.16</c:v>
                </c:pt>
                <c:pt idx="779" formatCode="General">
                  <c:v>2.14</c:v>
                </c:pt>
                <c:pt idx="780" formatCode="General">
                  <c:v>2.16</c:v>
                </c:pt>
                <c:pt idx="781" formatCode="General">
                  <c:v>2.2200000000000002</c:v>
                </c:pt>
                <c:pt idx="782" formatCode="General">
                  <c:v>2.37</c:v>
                </c:pt>
                <c:pt idx="783" formatCode="General">
                  <c:v>2.2400000000000002</c:v>
                </c:pt>
                <c:pt idx="784" formatCode="General">
                  <c:v>2.21</c:v>
                </c:pt>
                <c:pt idx="785" formatCode="General">
                  <c:v>2.1800000000000002</c:v>
                </c:pt>
                <c:pt idx="786" formatCode="General">
                  <c:v>2.12</c:v>
                </c:pt>
                <c:pt idx="787" formatCode="General">
                  <c:v>2.06</c:v>
                </c:pt>
                <c:pt idx="788" formatCode="General">
                  <c:v>1.98</c:v>
                </c:pt>
                <c:pt idx="789" formatCode="General">
                  <c:v>2.0099999999999998</c:v>
                </c:pt>
                <c:pt idx="790" formatCode="General">
                  <c:v>1.99</c:v>
                </c:pt>
                <c:pt idx="791" formatCode="General">
                  <c:v>2.0099999999999998</c:v>
                </c:pt>
                <c:pt idx="792" formatCode="General">
                  <c:v>2.0499999999999998</c:v>
                </c:pt>
                <c:pt idx="793" formatCode="General">
                  <c:v>2.1</c:v>
                </c:pt>
                <c:pt idx="794" formatCode="General">
                  <c:v>2.0699999999999998</c:v>
                </c:pt>
                <c:pt idx="795" formatCode="General">
                  <c:v>2.19</c:v>
                </c:pt>
                <c:pt idx="796" formatCode="General">
                  <c:v>2.3199999999999998</c:v>
                </c:pt>
                <c:pt idx="797" formatCode="General">
                  <c:v>2.3199999999999998</c:v>
                </c:pt>
                <c:pt idx="798" formatCode="General">
                  <c:v>2.27</c:v>
                </c:pt>
                <c:pt idx="799" formatCode="General">
                  <c:v>2.31</c:v>
                </c:pt>
                <c:pt idx="800" formatCode="General">
                  <c:v>2.31</c:v>
                </c:pt>
                <c:pt idx="801" formatCode="General">
                  <c:v>2.2799999999999998</c:v>
                </c:pt>
                <c:pt idx="802" formatCode="General">
                  <c:v>2.2799999999999998</c:v>
                </c:pt>
                <c:pt idx="803" formatCode="General">
                  <c:v>2.11</c:v>
                </c:pt>
                <c:pt idx="804" formatCode="General">
                  <c:v>2.09</c:v>
                </c:pt>
                <c:pt idx="805" formatCode="General">
                  <c:v>2.06</c:v>
                </c:pt>
                <c:pt idx="806" formatCode="General">
                  <c:v>2.0699999999999998</c:v>
                </c:pt>
                <c:pt idx="807" formatCode="General">
                  <c:v>2.0099999999999998</c:v>
                </c:pt>
                <c:pt idx="808" formatCode="General">
                  <c:v>2.11</c:v>
                </c:pt>
                <c:pt idx="809" formatCode="General">
                  <c:v>2.17</c:v>
                </c:pt>
                <c:pt idx="810" formatCode="General">
                  <c:v>2.13</c:v>
                </c:pt>
                <c:pt idx="811" formatCode="General">
                  <c:v>2.12</c:v>
                </c:pt>
                <c:pt idx="812" formatCode="General">
                  <c:v>2.15</c:v>
                </c:pt>
                <c:pt idx="813" formatCode="General">
                  <c:v>2.13</c:v>
                </c:pt>
                <c:pt idx="814" formatCode="General">
                  <c:v>2.14</c:v>
                </c:pt>
                <c:pt idx="815" formatCode="General">
                  <c:v>2.08</c:v>
                </c:pt>
                <c:pt idx="816" formatCode="General">
                  <c:v>2.0499999999999998</c:v>
                </c:pt>
                <c:pt idx="817" formatCode="General">
                  <c:v>2.11</c:v>
                </c:pt>
                <c:pt idx="818" formatCode="General">
                  <c:v>2.13</c:v>
                </c:pt>
                <c:pt idx="819" formatCode="General">
                  <c:v>2.12</c:v>
                </c:pt>
                <c:pt idx="820" formatCode="General">
                  <c:v>2.13</c:v>
                </c:pt>
                <c:pt idx="821" formatCode="General">
                  <c:v>2.13</c:v>
                </c:pt>
                <c:pt idx="822" formatCode="General">
                  <c:v>2.13</c:v>
                </c:pt>
                <c:pt idx="823" formatCode="General">
                  <c:v>2.14</c:v>
                </c:pt>
                <c:pt idx="824" formatCode="General">
                  <c:v>2.12</c:v>
                </c:pt>
                <c:pt idx="825" formatCode="General">
                  <c:v>2.14</c:v>
                </c:pt>
                <c:pt idx="826" formatCode="General">
                  <c:v>2.13</c:v>
                </c:pt>
                <c:pt idx="827" formatCode="General">
                  <c:v>2.1</c:v>
                </c:pt>
                <c:pt idx="828" formatCode="General">
                  <c:v>2.12</c:v>
                </c:pt>
                <c:pt idx="829" formatCode="General">
                  <c:v>2.12</c:v>
                </c:pt>
                <c:pt idx="830" formatCode="General">
                  <c:v>2.15</c:v>
                </c:pt>
                <c:pt idx="831" formatCode="General">
                  <c:v>2.2200000000000002</c:v>
                </c:pt>
                <c:pt idx="832" formatCode="General">
                  <c:v>2.2200000000000002</c:v>
                </c:pt>
                <c:pt idx="833" formatCode="General">
                  <c:v>2.2599999999999998</c:v>
                </c:pt>
                <c:pt idx="834" formatCode="General">
                  <c:v>2.35</c:v>
                </c:pt>
                <c:pt idx="835" formatCode="General">
                  <c:v>2.48</c:v>
                </c:pt>
                <c:pt idx="836" formatCode="General">
                  <c:v>2.37</c:v>
                </c:pt>
                <c:pt idx="837" formatCode="General">
                  <c:v>2.37</c:v>
                </c:pt>
                <c:pt idx="838" formatCode="General">
                  <c:v>2.52</c:v>
                </c:pt>
                <c:pt idx="839" formatCode="General">
                  <c:v>2.44</c:v>
                </c:pt>
                <c:pt idx="840" formatCode="General">
                  <c:v>2.4700000000000002</c:v>
                </c:pt>
                <c:pt idx="841" formatCode="General">
                  <c:v>2.4</c:v>
                </c:pt>
                <c:pt idx="842" formatCode="General">
                  <c:v>2.36</c:v>
                </c:pt>
                <c:pt idx="843" formatCode="General">
                  <c:v>2.36</c:v>
                </c:pt>
                <c:pt idx="844" formatCode="General">
                  <c:v>2.34</c:v>
                </c:pt>
                <c:pt idx="845" formatCode="General">
                  <c:v>2.34</c:v>
                </c:pt>
                <c:pt idx="846" formatCode="General">
                  <c:v>2.3199999999999998</c:v>
                </c:pt>
                <c:pt idx="847" formatCode="General">
                  <c:v>2.3199999999999998</c:v>
                </c:pt>
                <c:pt idx="848" formatCode="General">
                  <c:v>2.29</c:v>
                </c:pt>
                <c:pt idx="849" formatCode="General">
                  <c:v>2.2400000000000002</c:v>
                </c:pt>
                <c:pt idx="850" formatCode="General">
                  <c:v>2.23</c:v>
                </c:pt>
                <c:pt idx="851" formatCode="0.00">
                  <c:v>2.23</c:v>
                </c:pt>
                <c:pt idx="852" formatCode="0.00">
                  <c:v>2.15</c:v>
                </c:pt>
                <c:pt idx="853" formatCode="0.00">
                  <c:v>2.0499999999999998</c:v>
                </c:pt>
                <c:pt idx="854" formatCode="0.00">
                  <c:v>2.09</c:v>
                </c:pt>
                <c:pt idx="855" formatCode="0.00">
                  <c:v>2.02</c:v>
                </c:pt>
                <c:pt idx="856" formatCode="0.00">
                  <c:v>2.19</c:v>
                </c:pt>
                <c:pt idx="857" formatCode="0.00">
                  <c:v>2.21</c:v>
                </c:pt>
                <c:pt idx="858" formatCode="0.00">
                  <c:v>2.2400000000000002</c:v>
                </c:pt>
                <c:pt idx="859" formatCode="0.00">
                  <c:v>2.17</c:v>
                </c:pt>
                <c:pt idx="860" formatCode="0.00">
                  <c:v>2.15</c:v>
                </c:pt>
                <c:pt idx="861" formatCode="0.00">
                  <c:v>2.2000000000000002</c:v>
                </c:pt>
                <c:pt idx="862" formatCode="General">
                  <c:v>2.19</c:v>
                </c:pt>
                <c:pt idx="863" formatCode="General">
                  <c:v>2.1800000000000002</c:v>
                </c:pt>
                <c:pt idx="864" formatCode="General">
                  <c:v>2.13</c:v>
                </c:pt>
                <c:pt idx="865" formatCode="General">
                  <c:v>2.15</c:v>
                </c:pt>
                <c:pt idx="866" formatCode="0.00">
                  <c:v>2.1</c:v>
                </c:pt>
                <c:pt idx="867" formatCode="0.00">
                  <c:v>2.06</c:v>
                </c:pt>
                <c:pt idx="868" formatCode="0.00">
                  <c:v>2.06</c:v>
                </c:pt>
                <c:pt idx="869" formatCode="0.00">
                  <c:v>2.0499999999999998</c:v>
                </c:pt>
                <c:pt idx="870" formatCode="0.00">
                  <c:v>2.0299999999999998</c:v>
                </c:pt>
                <c:pt idx="871" formatCode="0.00">
                  <c:v>2.15</c:v>
                </c:pt>
                <c:pt idx="872" formatCode="0.00">
                  <c:v>2.11</c:v>
                </c:pt>
                <c:pt idx="873" formatCode="0.00">
                  <c:v>2.06</c:v>
                </c:pt>
                <c:pt idx="874" formatCode="0.00">
                  <c:v>2.0699999999999998</c:v>
                </c:pt>
                <c:pt idx="875" formatCode="0.00">
                  <c:v>2.0699999999999998</c:v>
                </c:pt>
                <c:pt idx="876" formatCode="0.00">
                  <c:v>2.09</c:v>
                </c:pt>
                <c:pt idx="877" formatCode="General">
                  <c:v>2.06</c:v>
                </c:pt>
                <c:pt idx="878" formatCode="General">
                  <c:v>2.08</c:v>
                </c:pt>
                <c:pt idx="879" formatCode="General">
                  <c:v>2.0299999999999998</c:v>
                </c:pt>
                <c:pt idx="880" formatCode="General">
                  <c:v>2.0099999999999998</c:v>
                </c:pt>
                <c:pt idx="881" formatCode="General">
                  <c:v>2.0099999999999998</c:v>
                </c:pt>
                <c:pt idx="882" formatCode="General">
                  <c:v>2.02</c:v>
                </c:pt>
                <c:pt idx="883" formatCode="General">
                  <c:v>2.0099999999999998</c:v>
                </c:pt>
                <c:pt idx="884" formatCode="General">
                  <c:v>2.0099999999999998</c:v>
                </c:pt>
                <c:pt idx="885" formatCode="General">
                  <c:v>2.0299999999999998</c:v>
                </c:pt>
                <c:pt idx="886" formatCode="General">
                  <c:v>2.0499999999999998</c:v>
                </c:pt>
                <c:pt idx="887" formatCode="General">
                  <c:v>2.11</c:v>
                </c:pt>
                <c:pt idx="888" formatCode="General">
                  <c:v>2.11</c:v>
                </c:pt>
                <c:pt idx="889" formatCode="General">
                  <c:v>2.08</c:v>
                </c:pt>
                <c:pt idx="890" formatCode="General">
                  <c:v>2.11</c:v>
                </c:pt>
                <c:pt idx="896" formatCode="0.00">
                  <c:v>2.1322727272727273</c:v>
                </c:pt>
                <c:pt idx="897" formatCode="0.00">
                  <c:v>2.056111111111111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yield_out!$F$1</c:f>
              <c:strCache>
                <c:ptCount val="1"/>
                <c:pt idx="0">
                  <c:v>5 éves</c:v>
                </c:pt>
              </c:strCache>
            </c:strRef>
          </c:tx>
          <c:spPr>
            <a:ln>
              <a:solidFill>
                <a:srgbClr val="C30C3E"/>
              </a:solidFill>
            </a:ln>
          </c:spPr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F$1012:$F$1980</c:f>
              <c:numCache>
                <c:formatCode>#\ ##0.00\ </c:formatCode>
                <c:ptCount val="969"/>
                <c:pt idx="0">
                  <c:v>9.9</c:v>
                </c:pt>
                <c:pt idx="1">
                  <c:v>10.31</c:v>
                </c:pt>
                <c:pt idx="2">
                  <c:v>10.52</c:v>
                </c:pt>
                <c:pt idx="3">
                  <c:v>10.66</c:v>
                </c:pt>
                <c:pt idx="4">
                  <c:v>9.98</c:v>
                </c:pt>
                <c:pt idx="5">
                  <c:v>9.7100000000000009</c:v>
                </c:pt>
                <c:pt idx="6">
                  <c:v>9.77</c:v>
                </c:pt>
                <c:pt idx="7">
                  <c:v>9.52</c:v>
                </c:pt>
                <c:pt idx="8">
                  <c:v>9.2899999999999991</c:v>
                </c:pt>
                <c:pt idx="9">
                  <c:v>9.51</c:v>
                </c:pt>
                <c:pt idx="10">
                  <c:v>9.61</c:v>
                </c:pt>
                <c:pt idx="11">
                  <c:v>9.77</c:v>
                </c:pt>
                <c:pt idx="12">
                  <c:v>9.49</c:v>
                </c:pt>
                <c:pt idx="13">
                  <c:v>9.2100000000000009</c:v>
                </c:pt>
                <c:pt idx="14">
                  <c:v>9.33</c:v>
                </c:pt>
                <c:pt idx="15">
                  <c:v>9.27</c:v>
                </c:pt>
                <c:pt idx="16">
                  <c:v>9.15</c:v>
                </c:pt>
                <c:pt idx="17">
                  <c:v>8.9</c:v>
                </c:pt>
                <c:pt idx="18">
                  <c:v>8.7100000000000009</c:v>
                </c:pt>
                <c:pt idx="19">
                  <c:v>8.7100000000000009</c:v>
                </c:pt>
                <c:pt idx="20">
                  <c:v>8.84</c:v>
                </c:pt>
                <c:pt idx="21">
                  <c:v>8.83</c:v>
                </c:pt>
                <c:pt idx="22">
                  <c:v>8.83</c:v>
                </c:pt>
                <c:pt idx="23">
                  <c:v>8.75</c:v>
                </c:pt>
                <c:pt idx="24">
                  <c:v>8.67</c:v>
                </c:pt>
                <c:pt idx="25">
                  <c:v>8.5399999999999991</c:v>
                </c:pt>
                <c:pt idx="26">
                  <c:v>8.5</c:v>
                </c:pt>
                <c:pt idx="27">
                  <c:v>8.27</c:v>
                </c:pt>
                <c:pt idx="28">
                  <c:v>8.43</c:v>
                </c:pt>
                <c:pt idx="29">
                  <c:v>8.64</c:v>
                </c:pt>
                <c:pt idx="30">
                  <c:v>8.48</c:v>
                </c:pt>
                <c:pt idx="31">
                  <c:v>8.57</c:v>
                </c:pt>
                <c:pt idx="32">
                  <c:v>8.2200000000000006</c:v>
                </c:pt>
                <c:pt idx="33">
                  <c:v>8.4600000000000009</c:v>
                </c:pt>
                <c:pt idx="34">
                  <c:v>8.3800000000000008</c:v>
                </c:pt>
                <c:pt idx="35">
                  <c:v>8.33</c:v>
                </c:pt>
                <c:pt idx="36">
                  <c:v>8.4</c:v>
                </c:pt>
                <c:pt idx="37">
                  <c:v>8.7100000000000009</c:v>
                </c:pt>
                <c:pt idx="38">
                  <c:v>8.73</c:v>
                </c:pt>
                <c:pt idx="39">
                  <c:v>8.58</c:v>
                </c:pt>
                <c:pt idx="40">
                  <c:v>8.77</c:v>
                </c:pt>
                <c:pt idx="41">
                  <c:v>8.64</c:v>
                </c:pt>
                <c:pt idx="42">
                  <c:v>8.42</c:v>
                </c:pt>
                <c:pt idx="43">
                  <c:v>8.35</c:v>
                </c:pt>
                <c:pt idx="44">
                  <c:v>8.35</c:v>
                </c:pt>
                <c:pt idx="45">
                  <c:v>8.5</c:v>
                </c:pt>
                <c:pt idx="46">
                  <c:v>8.5399999999999991</c:v>
                </c:pt>
                <c:pt idx="47">
                  <c:v>8.6199999999999992</c:v>
                </c:pt>
                <c:pt idx="48">
                  <c:v>8.56</c:v>
                </c:pt>
                <c:pt idx="49">
                  <c:v>8.59</c:v>
                </c:pt>
                <c:pt idx="50">
                  <c:v>8.59</c:v>
                </c:pt>
                <c:pt idx="51">
                  <c:v>8.5500000000000007</c:v>
                </c:pt>
                <c:pt idx="52">
                  <c:v>8.4700000000000006</c:v>
                </c:pt>
                <c:pt idx="53">
                  <c:v>8.4700000000000006</c:v>
                </c:pt>
                <c:pt idx="54">
                  <c:v>8.51</c:v>
                </c:pt>
                <c:pt idx="55">
                  <c:v>8.5500000000000007</c:v>
                </c:pt>
                <c:pt idx="56">
                  <c:v>8.6999999999999993</c:v>
                </c:pt>
                <c:pt idx="57">
                  <c:v>8.7899999999999991</c:v>
                </c:pt>
                <c:pt idx="58">
                  <c:v>8.84</c:v>
                </c:pt>
                <c:pt idx="59">
                  <c:v>8.7200000000000006</c:v>
                </c:pt>
                <c:pt idx="60">
                  <c:v>8.7899999999999991</c:v>
                </c:pt>
                <c:pt idx="61">
                  <c:v>8.85</c:v>
                </c:pt>
                <c:pt idx="62">
                  <c:v>8.93</c:v>
                </c:pt>
                <c:pt idx="63">
                  <c:v>8.81</c:v>
                </c:pt>
                <c:pt idx="64">
                  <c:v>8.76</c:v>
                </c:pt>
                <c:pt idx="65">
                  <c:v>8.84</c:v>
                </c:pt>
                <c:pt idx="66">
                  <c:v>8.9</c:v>
                </c:pt>
                <c:pt idx="67">
                  <c:v>8.94</c:v>
                </c:pt>
                <c:pt idx="68">
                  <c:v>8.91</c:v>
                </c:pt>
                <c:pt idx="69">
                  <c:v>8.85</c:v>
                </c:pt>
                <c:pt idx="70">
                  <c:v>8.8800000000000008</c:v>
                </c:pt>
                <c:pt idx="71">
                  <c:v>8.92</c:v>
                </c:pt>
                <c:pt idx="72">
                  <c:v>8.8800000000000008</c:v>
                </c:pt>
                <c:pt idx="73">
                  <c:v>8.82</c:v>
                </c:pt>
                <c:pt idx="74">
                  <c:v>8.8000000000000007</c:v>
                </c:pt>
                <c:pt idx="75">
                  <c:v>8.7799999999999994</c:v>
                </c:pt>
                <c:pt idx="76">
                  <c:v>8.8800000000000008</c:v>
                </c:pt>
                <c:pt idx="77">
                  <c:v>8.8699999999999992</c:v>
                </c:pt>
                <c:pt idx="78">
                  <c:v>7.94</c:v>
                </c:pt>
                <c:pt idx="79">
                  <c:v>7.98</c:v>
                </c:pt>
                <c:pt idx="80">
                  <c:v>7.95</c:v>
                </c:pt>
                <c:pt idx="81">
                  <c:v>7.88</c:v>
                </c:pt>
                <c:pt idx="82">
                  <c:v>7.83</c:v>
                </c:pt>
                <c:pt idx="83">
                  <c:v>7.84</c:v>
                </c:pt>
                <c:pt idx="84">
                  <c:v>7.94</c:v>
                </c:pt>
                <c:pt idx="85">
                  <c:v>7.94</c:v>
                </c:pt>
                <c:pt idx="86">
                  <c:v>8.1</c:v>
                </c:pt>
                <c:pt idx="87">
                  <c:v>8.06</c:v>
                </c:pt>
                <c:pt idx="88">
                  <c:v>8.11</c:v>
                </c:pt>
                <c:pt idx="89">
                  <c:v>8.15</c:v>
                </c:pt>
                <c:pt idx="90">
                  <c:v>8.14</c:v>
                </c:pt>
                <c:pt idx="91">
                  <c:v>8.35</c:v>
                </c:pt>
                <c:pt idx="92">
                  <c:v>8.42</c:v>
                </c:pt>
                <c:pt idx="93">
                  <c:v>8.4499999999999993</c:v>
                </c:pt>
                <c:pt idx="94">
                  <c:v>8.4</c:v>
                </c:pt>
                <c:pt idx="95">
                  <c:v>8.34</c:v>
                </c:pt>
                <c:pt idx="96">
                  <c:v>8.52</c:v>
                </c:pt>
                <c:pt idx="97">
                  <c:v>8.44</c:v>
                </c:pt>
                <c:pt idx="98">
                  <c:v>8.41</c:v>
                </c:pt>
                <c:pt idx="99">
                  <c:v>8.42</c:v>
                </c:pt>
                <c:pt idx="100">
                  <c:v>8.48</c:v>
                </c:pt>
                <c:pt idx="101">
                  <c:v>8.65</c:v>
                </c:pt>
                <c:pt idx="102">
                  <c:v>8.85</c:v>
                </c:pt>
                <c:pt idx="103">
                  <c:v>8.77</c:v>
                </c:pt>
                <c:pt idx="104">
                  <c:v>8.75</c:v>
                </c:pt>
                <c:pt idx="105">
                  <c:v>8.64</c:v>
                </c:pt>
                <c:pt idx="106">
                  <c:v>8.23</c:v>
                </c:pt>
                <c:pt idx="107">
                  <c:v>8.31</c:v>
                </c:pt>
                <c:pt idx="108">
                  <c:v>8.35</c:v>
                </c:pt>
                <c:pt idx="109">
                  <c:v>8.41</c:v>
                </c:pt>
                <c:pt idx="110">
                  <c:v>8.41</c:v>
                </c:pt>
                <c:pt idx="111">
                  <c:v>8.4600000000000009</c:v>
                </c:pt>
                <c:pt idx="112">
                  <c:v>8.4</c:v>
                </c:pt>
                <c:pt idx="113">
                  <c:v>8.16</c:v>
                </c:pt>
                <c:pt idx="114">
                  <c:v>8.01</c:v>
                </c:pt>
                <c:pt idx="115">
                  <c:v>7.92</c:v>
                </c:pt>
                <c:pt idx="116">
                  <c:v>7.8</c:v>
                </c:pt>
                <c:pt idx="117">
                  <c:v>7.9</c:v>
                </c:pt>
                <c:pt idx="118">
                  <c:v>7.91</c:v>
                </c:pt>
                <c:pt idx="119">
                  <c:v>7.87</c:v>
                </c:pt>
                <c:pt idx="120">
                  <c:v>7.89</c:v>
                </c:pt>
                <c:pt idx="121">
                  <c:v>7.77</c:v>
                </c:pt>
                <c:pt idx="122">
                  <c:v>7.8</c:v>
                </c:pt>
                <c:pt idx="123">
                  <c:v>7.7</c:v>
                </c:pt>
                <c:pt idx="124">
                  <c:v>7.73</c:v>
                </c:pt>
                <c:pt idx="125">
                  <c:v>7.65</c:v>
                </c:pt>
                <c:pt idx="126">
                  <c:v>7.67</c:v>
                </c:pt>
                <c:pt idx="127">
                  <c:v>7.79</c:v>
                </c:pt>
                <c:pt idx="128">
                  <c:v>7.83</c:v>
                </c:pt>
                <c:pt idx="129">
                  <c:v>7.8</c:v>
                </c:pt>
                <c:pt idx="130">
                  <c:v>7.82</c:v>
                </c:pt>
                <c:pt idx="131">
                  <c:v>7.75</c:v>
                </c:pt>
                <c:pt idx="132">
                  <c:v>7.58</c:v>
                </c:pt>
                <c:pt idx="133">
                  <c:v>7.2</c:v>
                </c:pt>
                <c:pt idx="134">
                  <c:v>7.18</c:v>
                </c:pt>
                <c:pt idx="135">
                  <c:v>7.27</c:v>
                </c:pt>
                <c:pt idx="136">
                  <c:v>7.07</c:v>
                </c:pt>
                <c:pt idx="137">
                  <c:v>7.1</c:v>
                </c:pt>
                <c:pt idx="138">
                  <c:v>7.23</c:v>
                </c:pt>
                <c:pt idx="139">
                  <c:v>7.25</c:v>
                </c:pt>
                <c:pt idx="140">
                  <c:v>7.53</c:v>
                </c:pt>
                <c:pt idx="141">
                  <c:v>7.52</c:v>
                </c:pt>
                <c:pt idx="142">
                  <c:v>7.39</c:v>
                </c:pt>
                <c:pt idx="143">
                  <c:v>7.32</c:v>
                </c:pt>
                <c:pt idx="144">
                  <c:v>7.29</c:v>
                </c:pt>
                <c:pt idx="145">
                  <c:v>7.31</c:v>
                </c:pt>
                <c:pt idx="146">
                  <c:v>7.3</c:v>
                </c:pt>
                <c:pt idx="147">
                  <c:v>7.28</c:v>
                </c:pt>
                <c:pt idx="148">
                  <c:v>7.13</c:v>
                </c:pt>
                <c:pt idx="149">
                  <c:v>7.15</c:v>
                </c:pt>
                <c:pt idx="150">
                  <c:v>7.22</c:v>
                </c:pt>
                <c:pt idx="151">
                  <c:v>7.08</c:v>
                </c:pt>
                <c:pt idx="152">
                  <c:v>7.11</c:v>
                </c:pt>
                <c:pt idx="153">
                  <c:v>7.1</c:v>
                </c:pt>
                <c:pt idx="154">
                  <c:v>7.12</c:v>
                </c:pt>
                <c:pt idx="155">
                  <c:v>7.13</c:v>
                </c:pt>
                <c:pt idx="156">
                  <c:v>7.11</c:v>
                </c:pt>
                <c:pt idx="157">
                  <c:v>7.1</c:v>
                </c:pt>
                <c:pt idx="158">
                  <c:v>7.06</c:v>
                </c:pt>
                <c:pt idx="159">
                  <c:v>7.08</c:v>
                </c:pt>
                <c:pt idx="160">
                  <c:v>7</c:v>
                </c:pt>
                <c:pt idx="161">
                  <c:v>7.05</c:v>
                </c:pt>
                <c:pt idx="162">
                  <c:v>7.06</c:v>
                </c:pt>
                <c:pt idx="163">
                  <c:v>7.07</c:v>
                </c:pt>
                <c:pt idx="164">
                  <c:v>7.03</c:v>
                </c:pt>
                <c:pt idx="165">
                  <c:v>7.04</c:v>
                </c:pt>
                <c:pt idx="166">
                  <c:v>6.94</c:v>
                </c:pt>
                <c:pt idx="167">
                  <c:v>6.95</c:v>
                </c:pt>
                <c:pt idx="168">
                  <c:v>6.95</c:v>
                </c:pt>
                <c:pt idx="169">
                  <c:v>7.01</c:v>
                </c:pt>
                <c:pt idx="170">
                  <c:v>6.99</c:v>
                </c:pt>
                <c:pt idx="171">
                  <c:v>7.07</c:v>
                </c:pt>
                <c:pt idx="172">
                  <c:v>6.97</c:v>
                </c:pt>
                <c:pt idx="173">
                  <c:v>6.95</c:v>
                </c:pt>
                <c:pt idx="174">
                  <c:v>6.88</c:v>
                </c:pt>
                <c:pt idx="175">
                  <c:v>6.86</c:v>
                </c:pt>
                <c:pt idx="176">
                  <c:v>6.73</c:v>
                </c:pt>
                <c:pt idx="177">
                  <c:v>6.76</c:v>
                </c:pt>
                <c:pt idx="178">
                  <c:v>6.79</c:v>
                </c:pt>
                <c:pt idx="179">
                  <c:v>6.79</c:v>
                </c:pt>
                <c:pt idx="180">
                  <c:v>6.81</c:v>
                </c:pt>
                <c:pt idx="181">
                  <c:v>6.79</c:v>
                </c:pt>
                <c:pt idx="182">
                  <c:v>6.79</c:v>
                </c:pt>
                <c:pt idx="183">
                  <c:v>6.67</c:v>
                </c:pt>
                <c:pt idx="184">
                  <c:v>6.74</c:v>
                </c:pt>
                <c:pt idx="185">
                  <c:v>6.73</c:v>
                </c:pt>
                <c:pt idx="186">
                  <c:v>6.72</c:v>
                </c:pt>
                <c:pt idx="187">
                  <c:v>6.78</c:v>
                </c:pt>
                <c:pt idx="188">
                  <c:v>6.81</c:v>
                </c:pt>
                <c:pt idx="189">
                  <c:v>6.83</c:v>
                </c:pt>
                <c:pt idx="190">
                  <c:v>6.86</c:v>
                </c:pt>
                <c:pt idx="191">
                  <c:v>6.76</c:v>
                </c:pt>
                <c:pt idx="192">
                  <c:v>6.66</c:v>
                </c:pt>
                <c:pt idx="193">
                  <c:v>6.67</c:v>
                </c:pt>
                <c:pt idx="194">
                  <c:v>6.65</c:v>
                </c:pt>
                <c:pt idx="195">
                  <c:v>6.58</c:v>
                </c:pt>
                <c:pt idx="196">
                  <c:v>6.38</c:v>
                </c:pt>
                <c:pt idx="197">
                  <c:v>6.3</c:v>
                </c:pt>
                <c:pt idx="198">
                  <c:v>6.13</c:v>
                </c:pt>
                <c:pt idx="199">
                  <c:v>6.35</c:v>
                </c:pt>
                <c:pt idx="200">
                  <c:v>6.16</c:v>
                </c:pt>
                <c:pt idx="201">
                  <c:v>6.24</c:v>
                </c:pt>
                <c:pt idx="202">
                  <c:v>6.19</c:v>
                </c:pt>
                <c:pt idx="203">
                  <c:v>6.19</c:v>
                </c:pt>
                <c:pt idx="204">
                  <c:v>6.36</c:v>
                </c:pt>
                <c:pt idx="205">
                  <c:v>6.54</c:v>
                </c:pt>
                <c:pt idx="206">
                  <c:v>6.41</c:v>
                </c:pt>
                <c:pt idx="207">
                  <c:v>6.35</c:v>
                </c:pt>
                <c:pt idx="208">
                  <c:v>6.34</c:v>
                </c:pt>
                <c:pt idx="209">
                  <c:v>6.27</c:v>
                </c:pt>
                <c:pt idx="210">
                  <c:v>6.22</c:v>
                </c:pt>
                <c:pt idx="211">
                  <c:v>6.45</c:v>
                </c:pt>
                <c:pt idx="212">
                  <c:v>6.41</c:v>
                </c:pt>
                <c:pt idx="213">
                  <c:v>6.35</c:v>
                </c:pt>
                <c:pt idx="214">
                  <c:v>6.34</c:v>
                </c:pt>
                <c:pt idx="215">
                  <c:v>6.3</c:v>
                </c:pt>
                <c:pt idx="216">
                  <c:v>6.32</c:v>
                </c:pt>
                <c:pt idx="217">
                  <c:v>6.3</c:v>
                </c:pt>
                <c:pt idx="218">
                  <c:v>6.31</c:v>
                </c:pt>
                <c:pt idx="219">
                  <c:v>6.31</c:v>
                </c:pt>
                <c:pt idx="220">
                  <c:v>6.35</c:v>
                </c:pt>
                <c:pt idx="221">
                  <c:v>6.32</c:v>
                </c:pt>
                <c:pt idx="222">
                  <c:v>6.32</c:v>
                </c:pt>
                <c:pt idx="223">
                  <c:v>6.39</c:v>
                </c:pt>
                <c:pt idx="224">
                  <c:v>6.38</c:v>
                </c:pt>
                <c:pt idx="225">
                  <c:v>6.39</c:v>
                </c:pt>
                <c:pt idx="226">
                  <c:v>6.33</c:v>
                </c:pt>
                <c:pt idx="227">
                  <c:v>6.31</c:v>
                </c:pt>
                <c:pt idx="228">
                  <c:v>6.31</c:v>
                </c:pt>
                <c:pt idx="229">
                  <c:v>6.34</c:v>
                </c:pt>
                <c:pt idx="230">
                  <c:v>6.34</c:v>
                </c:pt>
                <c:pt idx="231">
                  <c:v>6.28</c:v>
                </c:pt>
                <c:pt idx="232">
                  <c:v>6.21</c:v>
                </c:pt>
                <c:pt idx="233">
                  <c:v>6.2</c:v>
                </c:pt>
                <c:pt idx="234">
                  <c:v>6.08</c:v>
                </c:pt>
                <c:pt idx="235">
                  <c:v>6.14</c:v>
                </c:pt>
                <c:pt idx="236">
                  <c:v>6.06</c:v>
                </c:pt>
                <c:pt idx="237">
                  <c:v>6.1</c:v>
                </c:pt>
                <c:pt idx="238">
                  <c:v>6.15</c:v>
                </c:pt>
                <c:pt idx="239">
                  <c:v>6.17</c:v>
                </c:pt>
                <c:pt idx="240">
                  <c:v>6.07</c:v>
                </c:pt>
                <c:pt idx="241">
                  <c:v>5.91</c:v>
                </c:pt>
                <c:pt idx="242">
                  <c:v>5.85</c:v>
                </c:pt>
                <c:pt idx="243">
                  <c:v>5.89</c:v>
                </c:pt>
                <c:pt idx="244">
                  <c:v>5.89</c:v>
                </c:pt>
                <c:pt idx="245">
                  <c:v>5.85</c:v>
                </c:pt>
                <c:pt idx="246">
                  <c:v>5.73</c:v>
                </c:pt>
                <c:pt idx="247">
                  <c:v>6</c:v>
                </c:pt>
                <c:pt idx="248">
                  <c:v>5.88</c:v>
                </c:pt>
                <c:pt idx="249">
                  <c:v>5.86</c:v>
                </c:pt>
                <c:pt idx="250">
                  <c:v>5.82</c:v>
                </c:pt>
                <c:pt idx="251">
                  <c:v>5.72</c:v>
                </c:pt>
                <c:pt idx="252">
                  <c:v>5.89</c:v>
                </c:pt>
                <c:pt idx="253">
                  <c:v>5.85</c:v>
                </c:pt>
                <c:pt idx="254">
                  <c:v>5.76</c:v>
                </c:pt>
                <c:pt idx="255">
                  <c:v>5.8</c:v>
                </c:pt>
                <c:pt idx="256">
                  <c:v>5.8</c:v>
                </c:pt>
                <c:pt idx="257">
                  <c:v>5.79</c:v>
                </c:pt>
                <c:pt idx="258">
                  <c:v>5.82</c:v>
                </c:pt>
                <c:pt idx="259">
                  <c:v>5.85</c:v>
                </c:pt>
                <c:pt idx="260">
                  <c:v>5.87</c:v>
                </c:pt>
                <c:pt idx="261">
                  <c:v>5.83</c:v>
                </c:pt>
                <c:pt idx="262">
                  <c:v>5.92</c:v>
                </c:pt>
                <c:pt idx="263">
                  <c:v>5.95</c:v>
                </c:pt>
                <c:pt idx="264">
                  <c:v>5.93</c:v>
                </c:pt>
                <c:pt idx="265">
                  <c:v>5.99</c:v>
                </c:pt>
                <c:pt idx="266">
                  <c:v>5.89</c:v>
                </c:pt>
                <c:pt idx="267">
                  <c:v>5.88</c:v>
                </c:pt>
                <c:pt idx="268">
                  <c:v>5.87</c:v>
                </c:pt>
                <c:pt idx="269">
                  <c:v>5.93</c:v>
                </c:pt>
                <c:pt idx="270">
                  <c:v>5.99</c:v>
                </c:pt>
                <c:pt idx="271">
                  <c:v>5.99</c:v>
                </c:pt>
                <c:pt idx="272">
                  <c:v>5.95</c:v>
                </c:pt>
                <c:pt idx="273">
                  <c:v>5.9</c:v>
                </c:pt>
                <c:pt idx="274">
                  <c:v>5.86</c:v>
                </c:pt>
                <c:pt idx="275">
                  <c:v>5.75</c:v>
                </c:pt>
                <c:pt idx="276">
                  <c:v>5.74</c:v>
                </c:pt>
                <c:pt idx="277">
                  <c:v>5.76</c:v>
                </c:pt>
                <c:pt idx="278">
                  <c:v>5.69</c:v>
                </c:pt>
                <c:pt idx="279">
                  <c:v>5.55</c:v>
                </c:pt>
                <c:pt idx="280">
                  <c:v>5.63</c:v>
                </c:pt>
                <c:pt idx="281">
                  <c:v>5.66</c:v>
                </c:pt>
                <c:pt idx="282">
                  <c:v>5.65</c:v>
                </c:pt>
                <c:pt idx="283">
                  <c:v>5.64</c:v>
                </c:pt>
                <c:pt idx="284">
                  <c:v>5.66</c:v>
                </c:pt>
                <c:pt idx="285">
                  <c:v>5.66</c:v>
                </c:pt>
                <c:pt idx="286">
                  <c:v>5.66</c:v>
                </c:pt>
                <c:pt idx="287">
                  <c:v>5.53</c:v>
                </c:pt>
                <c:pt idx="288">
                  <c:v>5.56</c:v>
                </c:pt>
                <c:pt idx="289">
                  <c:v>5.65</c:v>
                </c:pt>
                <c:pt idx="290">
                  <c:v>5.65</c:v>
                </c:pt>
                <c:pt idx="291">
                  <c:v>5.64</c:v>
                </c:pt>
                <c:pt idx="292">
                  <c:v>5.61</c:v>
                </c:pt>
                <c:pt idx="293">
                  <c:v>5.7</c:v>
                </c:pt>
                <c:pt idx="294">
                  <c:v>5.72</c:v>
                </c:pt>
                <c:pt idx="295">
                  <c:v>5.78</c:v>
                </c:pt>
                <c:pt idx="296">
                  <c:v>5.76</c:v>
                </c:pt>
                <c:pt idx="297">
                  <c:v>5.77</c:v>
                </c:pt>
                <c:pt idx="298">
                  <c:v>5.8</c:v>
                </c:pt>
                <c:pt idx="299">
                  <c:v>5.79</c:v>
                </c:pt>
                <c:pt idx="300">
                  <c:v>5.77</c:v>
                </c:pt>
                <c:pt idx="301">
                  <c:v>5.84</c:v>
                </c:pt>
                <c:pt idx="302">
                  <c:v>5.78</c:v>
                </c:pt>
                <c:pt idx="303">
                  <c:v>5.69</c:v>
                </c:pt>
                <c:pt idx="304">
                  <c:v>5.62</c:v>
                </c:pt>
                <c:pt idx="305">
                  <c:v>5.61</c:v>
                </c:pt>
                <c:pt idx="306">
                  <c:v>5.6</c:v>
                </c:pt>
                <c:pt idx="307">
                  <c:v>5.46</c:v>
                </c:pt>
                <c:pt idx="308">
                  <c:v>5.29</c:v>
                </c:pt>
                <c:pt idx="309">
                  <c:v>5.31</c:v>
                </c:pt>
                <c:pt idx="310">
                  <c:v>5.14</c:v>
                </c:pt>
                <c:pt idx="311">
                  <c:v>5.12</c:v>
                </c:pt>
                <c:pt idx="312">
                  <c:v>5.16</c:v>
                </c:pt>
                <c:pt idx="313">
                  <c:v>5.2</c:v>
                </c:pt>
                <c:pt idx="314">
                  <c:v>5.18</c:v>
                </c:pt>
                <c:pt idx="315">
                  <c:v>5.17</c:v>
                </c:pt>
                <c:pt idx="316">
                  <c:v>5.19</c:v>
                </c:pt>
                <c:pt idx="317">
                  <c:v>5.19</c:v>
                </c:pt>
                <c:pt idx="318">
                  <c:v>5.1100000000000003</c:v>
                </c:pt>
                <c:pt idx="319">
                  <c:v>5.0199999999999996</c:v>
                </c:pt>
                <c:pt idx="320">
                  <c:v>5</c:v>
                </c:pt>
                <c:pt idx="321">
                  <c:v>4.9000000000000004</c:v>
                </c:pt>
                <c:pt idx="322">
                  <c:v>4.88</c:v>
                </c:pt>
                <c:pt idx="323">
                  <c:v>4.95</c:v>
                </c:pt>
                <c:pt idx="324">
                  <c:v>5</c:v>
                </c:pt>
                <c:pt idx="325">
                  <c:v>4.97</c:v>
                </c:pt>
                <c:pt idx="326">
                  <c:v>4.93</c:v>
                </c:pt>
                <c:pt idx="327">
                  <c:v>4.83</c:v>
                </c:pt>
                <c:pt idx="328">
                  <c:v>4.68</c:v>
                </c:pt>
                <c:pt idx="329">
                  <c:v>4.72</c:v>
                </c:pt>
                <c:pt idx="330">
                  <c:v>4.72</c:v>
                </c:pt>
                <c:pt idx="331">
                  <c:v>4.6100000000000003</c:v>
                </c:pt>
                <c:pt idx="332">
                  <c:v>4.54</c:v>
                </c:pt>
                <c:pt idx="333">
                  <c:v>4.68</c:v>
                </c:pt>
                <c:pt idx="334">
                  <c:v>4.66</c:v>
                </c:pt>
                <c:pt idx="335">
                  <c:v>4.68</c:v>
                </c:pt>
                <c:pt idx="336">
                  <c:v>4.58</c:v>
                </c:pt>
                <c:pt idx="337">
                  <c:v>4.49</c:v>
                </c:pt>
                <c:pt idx="338">
                  <c:v>4.49</c:v>
                </c:pt>
                <c:pt idx="339">
                  <c:v>4.6100000000000003</c:v>
                </c:pt>
                <c:pt idx="340">
                  <c:v>4.6500000000000004</c:v>
                </c:pt>
                <c:pt idx="341">
                  <c:v>4.7300000000000004</c:v>
                </c:pt>
                <c:pt idx="342">
                  <c:v>4.6399999999999997</c:v>
                </c:pt>
                <c:pt idx="343">
                  <c:v>4.6399999999999997</c:v>
                </c:pt>
                <c:pt idx="344">
                  <c:v>4.58</c:v>
                </c:pt>
                <c:pt idx="345">
                  <c:v>4.71</c:v>
                </c:pt>
                <c:pt idx="346">
                  <c:v>4.9800000000000004</c:v>
                </c:pt>
                <c:pt idx="347">
                  <c:v>5.0999999999999996</c:v>
                </c:pt>
                <c:pt idx="348">
                  <c:v>5.03</c:v>
                </c:pt>
                <c:pt idx="349">
                  <c:v>4.84</c:v>
                </c:pt>
                <c:pt idx="350">
                  <c:v>5.07</c:v>
                </c:pt>
                <c:pt idx="351">
                  <c:v>5.23</c:v>
                </c:pt>
                <c:pt idx="352">
                  <c:v>5.22</c:v>
                </c:pt>
                <c:pt idx="353">
                  <c:v>5.37</c:v>
                </c:pt>
                <c:pt idx="354">
                  <c:v>5.8</c:v>
                </c:pt>
                <c:pt idx="355">
                  <c:v>5.55</c:v>
                </c:pt>
                <c:pt idx="356">
                  <c:v>5.57</c:v>
                </c:pt>
                <c:pt idx="357">
                  <c:v>5.39</c:v>
                </c:pt>
                <c:pt idx="358">
                  <c:v>5.29</c:v>
                </c:pt>
                <c:pt idx="359">
                  <c:v>5.32</c:v>
                </c:pt>
                <c:pt idx="360">
                  <c:v>5.39</c:v>
                </c:pt>
                <c:pt idx="361">
                  <c:v>5.65</c:v>
                </c:pt>
                <c:pt idx="362">
                  <c:v>5.7</c:v>
                </c:pt>
                <c:pt idx="363">
                  <c:v>6.07</c:v>
                </c:pt>
                <c:pt idx="364">
                  <c:v>5.83</c:v>
                </c:pt>
                <c:pt idx="365">
                  <c:v>5.91</c:v>
                </c:pt>
                <c:pt idx="366">
                  <c:v>5.62</c:v>
                </c:pt>
                <c:pt idx="367">
                  <c:v>5.44</c:v>
                </c:pt>
                <c:pt idx="368">
                  <c:v>5.28</c:v>
                </c:pt>
                <c:pt idx="369">
                  <c:v>5</c:v>
                </c:pt>
                <c:pt idx="370">
                  <c:v>5.0199999999999996</c:v>
                </c:pt>
                <c:pt idx="371">
                  <c:v>5.0199999999999996</c:v>
                </c:pt>
                <c:pt idx="372">
                  <c:v>4.78</c:v>
                </c:pt>
                <c:pt idx="373">
                  <c:v>4.8600000000000003</c:v>
                </c:pt>
                <c:pt idx="374">
                  <c:v>4.84</c:v>
                </c:pt>
                <c:pt idx="375">
                  <c:v>4.88</c:v>
                </c:pt>
                <c:pt idx="376">
                  <c:v>4.92</c:v>
                </c:pt>
                <c:pt idx="377">
                  <c:v>4.8899999999999997</c:v>
                </c:pt>
                <c:pt idx="378">
                  <c:v>4.8899999999999997</c:v>
                </c:pt>
                <c:pt idx="379">
                  <c:v>4.88</c:v>
                </c:pt>
                <c:pt idx="380">
                  <c:v>4.93</c:v>
                </c:pt>
                <c:pt idx="381">
                  <c:v>4.91</c:v>
                </c:pt>
                <c:pt idx="382">
                  <c:v>5.01</c:v>
                </c:pt>
                <c:pt idx="383">
                  <c:v>5.04</c:v>
                </c:pt>
                <c:pt idx="384">
                  <c:v>5.0199999999999996</c:v>
                </c:pt>
                <c:pt idx="385">
                  <c:v>4.9800000000000004</c:v>
                </c:pt>
                <c:pt idx="386">
                  <c:v>5.08</c:v>
                </c:pt>
                <c:pt idx="387">
                  <c:v>5.08</c:v>
                </c:pt>
                <c:pt idx="388">
                  <c:v>5.25</c:v>
                </c:pt>
                <c:pt idx="389">
                  <c:v>5.4</c:v>
                </c:pt>
                <c:pt idx="390">
                  <c:v>5.45</c:v>
                </c:pt>
                <c:pt idx="391">
                  <c:v>5.26</c:v>
                </c:pt>
                <c:pt idx="392">
                  <c:v>5.36</c:v>
                </c:pt>
                <c:pt idx="393">
                  <c:v>5.26</c:v>
                </c:pt>
                <c:pt idx="394">
                  <c:v>5.18</c:v>
                </c:pt>
                <c:pt idx="395">
                  <c:v>5.18</c:v>
                </c:pt>
                <c:pt idx="396">
                  <c:v>5.23</c:v>
                </c:pt>
                <c:pt idx="397">
                  <c:v>5.19</c:v>
                </c:pt>
                <c:pt idx="398">
                  <c:v>5.19</c:v>
                </c:pt>
                <c:pt idx="399">
                  <c:v>5.29</c:v>
                </c:pt>
                <c:pt idx="400">
                  <c:v>5.38</c:v>
                </c:pt>
                <c:pt idx="401">
                  <c:v>5.37</c:v>
                </c:pt>
                <c:pt idx="402">
                  <c:v>5.59</c:v>
                </c:pt>
                <c:pt idx="403">
                  <c:v>5.59</c:v>
                </c:pt>
                <c:pt idx="404">
                  <c:v>5.59</c:v>
                </c:pt>
                <c:pt idx="405">
                  <c:v>5.6</c:v>
                </c:pt>
                <c:pt idx="406">
                  <c:v>5.64</c:v>
                </c:pt>
                <c:pt idx="407">
                  <c:v>5.64</c:v>
                </c:pt>
                <c:pt idx="408">
                  <c:v>5.66</c:v>
                </c:pt>
                <c:pt idx="409">
                  <c:v>5.67</c:v>
                </c:pt>
                <c:pt idx="410">
                  <c:v>5.9</c:v>
                </c:pt>
                <c:pt idx="411">
                  <c:v>5.82</c:v>
                </c:pt>
                <c:pt idx="412">
                  <c:v>5.79</c:v>
                </c:pt>
                <c:pt idx="413">
                  <c:v>5.78</c:v>
                </c:pt>
                <c:pt idx="414">
                  <c:v>5.82</c:v>
                </c:pt>
                <c:pt idx="415">
                  <c:v>5.81</c:v>
                </c:pt>
                <c:pt idx="416">
                  <c:v>5.92</c:v>
                </c:pt>
                <c:pt idx="417">
                  <c:v>5.91</c:v>
                </c:pt>
                <c:pt idx="418">
                  <c:v>5.81</c:v>
                </c:pt>
                <c:pt idx="419">
                  <c:v>5.73</c:v>
                </c:pt>
                <c:pt idx="420">
                  <c:v>5.67</c:v>
                </c:pt>
                <c:pt idx="421">
                  <c:v>5.65</c:v>
                </c:pt>
                <c:pt idx="422">
                  <c:v>5.51</c:v>
                </c:pt>
                <c:pt idx="423">
                  <c:v>5.4</c:v>
                </c:pt>
                <c:pt idx="424">
                  <c:v>5.44</c:v>
                </c:pt>
                <c:pt idx="425">
                  <c:v>5.38</c:v>
                </c:pt>
                <c:pt idx="426">
                  <c:v>5.0199999999999996</c:v>
                </c:pt>
                <c:pt idx="427">
                  <c:v>5.14</c:v>
                </c:pt>
                <c:pt idx="428">
                  <c:v>5.0999999999999996</c:v>
                </c:pt>
                <c:pt idx="429">
                  <c:v>5.03</c:v>
                </c:pt>
                <c:pt idx="430">
                  <c:v>4.97</c:v>
                </c:pt>
                <c:pt idx="431">
                  <c:v>5.03</c:v>
                </c:pt>
                <c:pt idx="432">
                  <c:v>5.0999999999999996</c:v>
                </c:pt>
                <c:pt idx="433">
                  <c:v>5.08</c:v>
                </c:pt>
                <c:pt idx="434">
                  <c:v>5.0199999999999996</c:v>
                </c:pt>
                <c:pt idx="435">
                  <c:v>5.0199999999999996</c:v>
                </c:pt>
                <c:pt idx="436">
                  <c:v>5</c:v>
                </c:pt>
                <c:pt idx="437">
                  <c:v>5.03</c:v>
                </c:pt>
                <c:pt idx="438">
                  <c:v>5.0199999999999996</c:v>
                </c:pt>
                <c:pt idx="439">
                  <c:v>4.9400000000000004</c:v>
                </c:pt>
                <c:pt idx="440">
                  <c:v>4.95</c:v>
                </c:pt>
                <c:pt idx="441">
                  <c:v>4.92</c:v>
                </c:pt>
                <c:pt idx="442">
                  <c:v>4.83</c:v>
                </c:pt>
                <c:pt idx="443">
                  <c:v>4.8600000000000003</c:v>
                </c:pt>
                <c:pt idx="444">
                  <c:v>4.87</c:v>
                </c:pt>
                <c:pt idx="445">
                  <c:v>4.88</c:v>
                </c:pt>
                <c:pt idx="446">
                  <c:v>4.8099999999999996</c:v>
                </c:pt>
                <c:pt idx="447">
                  <c:v>4.74</c:v>
                </c:pt>
                <c:pt idx="448">
                  <c:v>4.72</c:v>
                </c:pt>
                <c:pt idx="449">
                  <c:v>4.68</c:v>
                </c:pt>
                <c:pt idx="450">
                  <c:v>4.68</c:v>
                </c:pt>
                <c:pt idx="451">
                  <c:v>4.59</c:v>
                </c:pt>
                <c:pt idx="452">
                  <c:v>4.6100000000000003</c:v>
                </c:pt>
                <c:pt idx="453">
                  <c:v>4.62</c:v>
                </c:pt>
                <c:pt idx="454">
                  <c:v>4.55</c:v>
                </c:pt>
                <c:pt idx="455">
                  <c:v>4.57</c:v>
                </c:pt>
                <c:pt idx="456">
                  <c:v>4.6500000000000004</c:v>
                </c:pt>
                <c:pt idx="457">
                  <c:v>4.6500000000000004</c:v>
                </c:pt>
                <c:pt idx="458">
                  <c:v>4.72</c:v>
                </c:pt>
                <c:pt idx="459">
                  <c:v>4.7</c:v>
                </c:pt>
                <c:pt idx="460">
                  <c:v>4.78</c:v>
                </c:pt>
                <c:pt idx="461">
                  <c:v>4.68</c:v>
                </c:pt>
                <c:pt idx="462">
                  <c:v>4.75</c:v>
                </c:pt>
                <c:pt idx="463">
                  <c:v>4.8899999999999997</c:v>
                </c:pt>
                <c:pt idx="464">
                  <c:v>5.07</c:v>
                </c:pt>
                <c:pt idx="465">
                  <c:v>4.9400000000000004</c:v>
                </c:pt>
                <c:pt idx="466">
                  <c:v>4.83</c:v>
                </c:pt>
                <c:pt idx="467">
                  <c:v>4.84</c:v>
                </c:pt>
                <c:pt idx="468">
                  <c:v>4.79</c:v>
                </c:pt>
                <c:pt idx="469" formatCode="General">
                  <c:v>4.76</c:v>
                </c:pt>
                <c:pt idx="470" formatCode="General">
                  <c:v>4.8600000000000003</c:v>
                </c:pt>
                <c:pt idx="471" formatCode="General">
                  <c:v>4.88</c:v>
                </c:pt>
                <c:pt idx="472" formatCode="General">
                  <c:v>4.8899999999999997</c:v>
                </c:pt>
                <c:pt idx="473" formatCode="General">
                  <c:v>4.9400000000000004</c:v>
                </c:pt>
                <c:pt idx="474" formatCode="0.00">
                  <c:v>4.9000000000000004</c:v>
                </c:pt>
                <c:pt idx="475" formatCode="General">
                  <c:v>4.91</c:v>
                </c:pt>
                <c:pt idx="476" formatCode="General">
                  <c:v>4.96</c:v>
                </c:pt>
                <c:pt idx="477" formatCode="General">
                  <c:v>5.07</c:v>
                </c:pt>
                <c:pt idx="478" formatCode="General">
                  <c:v>5.08</c:v>
                </c:pt>
                <c:pt idx="479" formatCode="General">
                  <c:v>5.05</c:v>
                </c:pt>
                <c:pt idx="480" formatCode="0.00">
                  <c:v>5</c:v>
                </c:pt>
                <c:pt idx="481" formatCode="General">
                  <c:v>4.8899999999999997</c:v>
                </c:pt>
                <c:pt idx="482">
                  <c:v>4.83</c:v>
                </c:pt>
                <c:pt idx="483">
                  <c:v>4.78</c:v>
                </c:pt>
                <c:pt idx="484">
                  <c:v>4.78</c:v>
                </c:pt>
                <c:pt idx="485">
                  <c:v>4.8099999999999996</c:v>
                </c:pt>
                <c:pt idx="486">
                  <c:v>4.8099999999999996</c:v>
                </c:pt>
                <c:pt idx="487">
                  <c:v>4.82</c:v>
                </c:pt>
                <c:pt idx="488" formatCode="General">
                  <c:v>4.7</c:v>
                </c:pt>
                <c:pt idx="489" formatCode="General">
                  <c:v>4.67</c:v>
                </c:pt>
                <c:pt idx="490" formatCode="General">
                  <c:v>4.6500000000000004</c:v>
                </c:pt>
                <c:pt idx="491" formatCode="General">
                  <c:v>4.67</c:v>
                </c:pt>
                <c:pt idx="492" formatCode="General">
                  <c:v>4.7</c:v>
                </c:pt>
                <c:pt idx="493" formatCode="General">
                  <c:v>4.6100000000000003</c:v>
                </c:pt>
                <c:pt idx="494" formatCode="General">
                  <c:v>4.66</c:v>
                </c:pt>
                <c:pt idx="495" formatCode="General">
                  <c:v>4.66</c:v>
                </c:pt>
                <c:pt idx="496" formatCode="General">
                  <c:v>4.7</c:v>
                </c:pt>
                <c:pt idx="497" formatCode="General">
                  <c:v>4.66</c:v>
                </c:pt>
                <c:pt idx="498" formatCode="General">
                  <c:v>4.6500000000000004</c:v>
                </c:pt>
                <c:pt idx="499" formatCode="General">
                  <c:v>4.62</c:v>
                </c:pt>
                <c:pt idx="500" formatCode="General">
                  <c:v>4.57</c:v>
                </c:pt>
                <c:pt idx="501" formatCode="General">
                  <c:v>4.5</c:v>
                </c:pt>
                <c:pt idx="502" formatCode="General">
                  <c:v>4.51</c:v>
                </c:pt>
                <c:pt idx="503" formatCode="General">
                  <c:v>4.45</c:v>
                </c:pt>
                <c:pt idx="504" formatCode="General">
                  <c:v>4.47</c:v>
                </c:pt>
                <c:pt idx="505" formatCode="General">
                  <c:v>4.6399999999999997</c:v>
                </c:pt>
                <c:pt idx="506" formatCode="General">
                  <c:v>4.62</c:v>
                </c:pt>
                <c:pt idx="507" formatCode="General">
                  <c:v>4.5</c:v>
                </c:pt>
                <c:pt idx="508" formatCode="General">
                  <c:v>4.54</c:v>
                </c:pt>
                <c:pt idx="509" formatCode="General">
                  <c:v>4.6100000000000003</c:v>
                </c:pt>
                <c:pt idx="510" formatCode="General">
                  <c:v>4.51</c:v>
                </c:pt>
                <c:pt idx="511" formatCode="General">
                  <c:v>4.49</c:v>
                </c:pt>
                <c:pt idx="512" formatCode="General">
                  <c:v>4.72</c:v>
                </c:pt>
                <c:pt idx="513" formatCode="General">
                  <c:v>4.75</c:v>
                </c:pt>
                <c:pt idx="514" formatCode="General">
                  <c:v>4.78</c:v>
                </c:pt>
                <c:pt idx="515" formatCode="General">
                  <c:v>4.97</c:v>
                </c:pt>
                <c:pt idx="516" formatCode="General">
                  <c:v>5.19</c:v>
                </c:pt>
                <c:pt idx="517" formatCode="General">
                  <c:v>5.31</c:v>
                </c:pt>
                <c:pt idx="518" formatCode="General">
                  <c:v>5.23</c:v>
                </c:pt>
                <c:pt idx="519" formatCode="General">
                  <c:v>5.13</c:v>
                </c:pt>
                <c:pt idx="520" formatCode="General">
                  <c:v>4.99</c:v>
                </c:pt>
                <c:pt idx="521" formatCode="General">
                  <c:v>4.96</c:v>
                </c:pt>
                <c:pt idx="522" formatCode="General">
                  <c:v>5.01</c:v>
                </c:pt>
                <c:pt idx="523" formatCode="General">
                  <c:v>5.0599999999999996</c:v>
                </c:pt>
                <c:pt idx="524" formatCode="General">
                  <c:v>5.03</c:v>
                </c:pt>
                <c:pt idx="525" formatCode="General">
                  <c:v>4.9800000000000004</c:v>
                </c:pt>
                <c:pt idx="526" formatCode="General">
                  <c:v>5.0199999999999996</c:v>
                </c:pt>
                <c:pt idx="527" formatCode="General">
                  <c:v>4.9800000000000004</c:v>
                </c:pt>
                <c:pt idx="528" formatCode="General">
                  <c:v>5.03</c:v>
                </c:pt>
                <c:pt idx="529" formatCode="General">
                  <c:v>5.14</c:v>
                </c:pt>
                <c:pt idx="530" formatCode="General">
                  <c:v>5.36</c:v>
                </c:pt>
                <c:pt idx="531" formatCode="General">
                  <c:v>5.36</c:v>
                </c:pt>
                <c:pt idx="532" formatCode="General">
                  <c:v>5.23</c:v>
                </c:pt>
                <c:pt idx="533" formatCode="General">
                  <c:v>5.22</c:v>
                </c:pt>
                <c:pt idx="534" formatCode="General">
                  <c:v>5.0599999999999996</c:v>
                </c:pt>
                <c:pt idx="535" formatCode="General">
                  <c:v>5.0599999999999996</c:v>
                </c:pt>
                <c:pt idx="536" formatCode="General">
                  <c:v>5.0999999999999996</c:v>
                </c:pt>
                <c:pt idx="537" formatCode="General">
                  <c:v>5.08</c:v>
                </c:pt>
                <c:pt idx="538" formatCode="General">
                  <c:v>5.15</c:v>
                </c:pt>
                <c:pt idx="539" formatCode="General">
                  <c:v>4.96</c:v>
                </c:pt>
                <c:pt idx="540" formatCode="General">
                  <c:v>4.92</c:v>
                </c:pt>
                <c:pt idx="541" formatCode="General">
                  <c:v>4.8899999999999997</c:v>
                </c:pt>
                <c:pt idx="542" formatCode="General">
                  <c:v>4.93</c:v>
                </c:pt>
                <c:pt idx="543" formatCode="General">
                  <c:v>5.03</c:v>
                </c:pt>
                <c:pt idx="544" formatCode="General">
                  <c:v>5.0199999999999996</c:v>
                </c:pt>
                <c:pt idx="545" formatCode="General">
                  <c:v>5.0599999999999996</c:v>
                </c:pt>
                <c:pt idx="546" formatCode="General">
                  <c:v>4.99</c:v>
                </c:pt>
                <c:pt idx="547" formatCode="General">
                  <c:v>4.99</c:v>
                </c:pt>
                <c:pt idx="548" formatCode="General">
                  <c:v>4.9800000000000004</c:v>
                </c:pt>
                <c:pt idx="549" formatCode="General">
                  <c:v>4.9400000000000004</c:v>
                </c:pt>
                <c:pt idx="550" formatCode="General">
                  <c:v>4.91</c:v>
                </c:pt>
                <c:pt idx="551" formatCode="General">
                  <c:v>4.93</c:v>
                </c:pt>
                <c:pt idx="552" formatCode="General">
                  <c:v>4.9800000000000004</c:v>
                </c:pt>
                <c:pt idx="553" formatCode="General">
                  <c:v>5.01</c:v>
                </c:pt>
                <c:pt idx="554" formatCode="General">
                  <c:v>5.01</c:v>
                </c:pt>
                <c:pt idx="555" formatCode="General">
                  <c:v>5.01</c:v>
                </c:pt>
                <c:pt idx="556" formatCode="General">
                  <c:v>5.04</c:v>
                </c:pt>
                <c:pt idx="557" formatCode="General">
                  <c:v>4.88</c:v>
                </c:pt>
                <c:pt idx="558" formatCode="General">
                  <c:v>4.84</c:v>
                </c:pt>
                <c:pt idx="559" formatCode="General">
                  <c:v>4.83</c:v>
                </c:pt>
                <c:pt idx="560" formatCode="General">
                  <c:v>4.82</c:v>
                </c:pt>
                <c:pt idx="561" formatCode="General">
                  <c:v>4.8099999999999996</c:v>
                </c:pt>
                <c:pt idx="562">
                  <c:v>4.76</c:v>
                </c:pt>
                <c:pt idx="563" formatCode="General">
                  <c:v>4.75</c:v>
                </c:pt>
                <c:pt idx="564" formatCode="General">
                  <c:v>4.71</c:v>
                </c:pt>
                <c:pt idx="565" formatCode="General">
                  <c:v>4.7300000000000004</c:v>
                </c:pt>
                <c:pt idx="566" formatCode="General">
                  <c:v>4.6900000000000004</c:v>
                </c:pt>
                <c:pt idx="567" formatCode="General">
                  <c:v>4.71</c:v>
                </c:pt>
                <c:pt idx="568" formatCode="General">
                  <c:v>4.74</c:v>
                </c:pt>
                <c:pt idx="569" formatCode="General">
                  <c:v>4.7300000000000004</c:v>
                </c:pt>
                <c:pt idx="570" formatCode="General">
                  <c:v>4.7300000000000004</c:v>
                </c:pt>
                <c:pt idx="571" formatCode="General">
                  <c:v>4.68</c:v>
                </c:pt>
                <c:pt idx="572" formatCode="General">
                  <c:v>4.68</c:v>
                </c:pt>
                <c:pt idx="573" formatCode="General">
                  <c:v>4.68</c:v>
                </c:pt>
                <c:pt idx="574" formatCode="General">
                  <c:v>4.6500000000000004</c:v>
                </c:pt>
                <c:pt idx="575" formatCode="General">
                  <c:v>4.7</c:v>
                </c:pt>
                <c:pt idx="576" formatCode="General">
                  <c:v>4.57</c:v>
                </c:pt>
                <c:pt idx="577" formatCode="General">
                  <c:v>4.5599999999999996</c:v>
                </c:pt>
                <c:pt idx="578" formatCode="General">
                  <c:v>4.6500000000000004</c:v>
                </c:pt>
                <c:pt idx="579" formatCode="General">
                  <c:v>4.5199999999999996</c:v>
                </c:pt>
                <c:pt idx="580" formatCode="General">
                  <c:v>4.38</c:v>
                </c:pt>
                <c:pt idx="581" formatCode="General">
                  <c:v>4.38</c:v>
                </c:pt>
                <c:pt idx="582" formatCode="General">
                  <c:v>4.38</c:v>
                </c:pt>
                <c:pt idx="583" formatCode="General">
                  <c:v>4.3899999999999997</c:v>
                </c:pt>
                <c:pt idx="584" formatCode="General">
                  <c:v>4.37</c:v>
                </c:pt>
                <c:pt idx="585" formatCode="General">
                  <c:v>4.32</c:v>
                </c:pt>
                <c:pt idx="586" formatCode="General">
                  <c:v>4.2</c:v>
                </c:pt>
                <c:pt idx="587" formatCode="General">
                  <c:v>4.16</c:v>
                </c:pt>
                <c:pt idx="588" formatCode="General">
                  <c:v>4.1900000000000004</c:v>
                </c:pt>
                <c:pt idx="589" formatCode="General">
                  <c:v>4.16</c:v>
                </c:pt>
                <c:pt idx="590" formatCode="General">
                  <c:v>4.0199999999999996</c:v>
                </c:pt>
                <c:pt idx="591" formatCode="General">
                  <c:v>3.8</c:v>
                </c:pt>
                <c:pt idx="592" formatCode="General">
                  <c:v>3.93</c:v>
                </c:pt>
                <c:pt idx="593" formatCode="General">
                  <c:v>3.98</c:v>
                </c:pt>
                <c:pt idx="594" formatCode="General">
                  <c:v>4.01</c:v>
                </c:pt>
                <c:pt idx="595" formatCode="General">
                  <c:v>3.95</c:v>
                </c:pt>
                <c:pt idx="596" formatCode="General">
                  <c:v>3.9</c:v>
                </c:pt>
                <c:pt idx="597" formatCode="General">
                  <c:v>3.82</c:v>
                </c:pt>
                <c:pt idx="598" formatCode="General">
                  <c:v>3.69</c:v>
                </c:pt>
                <c:pt idx="599" formatCode="General">
                  <c:v>3.75</c:v>
                </c:pt>
                <c:pt idx="600" formatCode="General">
                  <c:v>3.78</c:v>
                </c:pt>
                <c:pt idx="601" formatCode="General">
                  <c:v>3.61</c:v>
                </c:pt>
                <c:pt idx="602" formatCode="General">
                  <c:v>3.66</c:v>
                </c:pt>
                <c:pt idx="603" formatCode="General">
                  <c:v>3.49</c:v>
                </c:pt>
                <c:pt idx="604" formatCode="General">
                  <c:v>3.62</c:v>
                </c:pt>
                <c:pt idx="605" formatCode="General">
                  <c:v>3.64</c:v>
                </c:pt>
                <c:pt idx="606" formatCode="General">
                  <c:v>3.56</c:v>
                </c:pt>
                <c:pt idx="607" formatCode="General">
                  <c:v>3.27</c:v>
                </c:pt>
                <c:pt idx="608" formatCode="General">
                  <c:v>3.27</c:v>
                </c:pt>
                <c:pt idx="609" formatCode="General">
                  <c:v>3.24</c:v>
                </c:pt>
                <c:pt idx="610" formatCode="General">
                  <c:v>3.3</c:v>
                </c:pt>
                <c:pt idx="611" formatCode="General">
                  <c:v>3.35</c:v>
                </c:pt>
                <c:pt idx="612" formatCode="General">
                  <c:v>3.37</c:v>
                </c:pt>
                <c:pt idx="613" formatCode="General">
                  <c:v>3.47</c:v>
                </c:pt>
                <c:pt idx="614" formatCode="General">
                  <c:v>3.45</c:v>
                </c:pt>
                <c:pt idx="615" formatCode="General">
                  <c:v>3.53</c:v>
                </c:pt>
                <c:pt idx="616" formatCode="General">
                  <c:v>3.5</c:v>
                </c:pt>
                <c:pt idx="617" formatCode="General">
                  <c:v>3.52</c:v>
                </c:pt>
                <c:pt idx="618" formatCode="General">
                  <c:v>3.55</c:v>
                </c:pt>
                <c:pt idx="619" formatCode="General">
                  <c:v>3.48</c:v>
                </c:pt>
                <c:pt idx="620" formatCode="General">
                  <c:v>3.47</c:v>
                </c:pt>
                <c:pt idx="621" formatCode="General">
                  <c:v>3.26</c:v>
                </c:pt>
                <c:pt idx="622" formatCode="General">
                  <c:v>3.2</c:v>
                </c:pt>
                <c:pt idx="623" formatCode="General">
                  <c:v>3.33</c:v>
                </c:pt>
                <c:pt idx="624" formatCode="General">
                  <c:v>3.36</c:v>
                </c:pt>
                <c:pt idx="625" formatCode="General">
                  <c:v>3.33</c:v>
                </c:pt>
                <c:pt idx="626" formatCode="General">
                  <c:v>3.37</c:v>
                </c:pt>
                <c:pt idx="627" formatCode="General">
                  <c:v>3.36</c:v>
                </c:pt>
                <c:pt idx="628" formatCode="General">
                  <c:v>3.38</c:v>
                </c:pt>
                <c:pt idx="629" formatCode="General">
                  <c:v>3.34</c:v>
                </c:pt>
                <c:pt idx="630" formatCode="General">
                  <c:v>3.29</c:v>
                </c:pt>
                <c:pt idx="631" formatCode="General">
                  <c:v>3.28</c:v>
                </c:pt>
                <c:pt idx="632" formatCode="General">
                  <c:v>3.36</c:v>
                </c:pt>
                <c:pt idx="633" formatCode="General">
                  <c:v>3.39</c:v>
                </c:pt>
                <c:pt idx="634" formatCode="General">
                  <c:v>3.45</c:v>
                </c:pt>
                <c:pt idx="635" formatCode="General">
                  <c:v>3.48</c:v>
                </c:pt>
                <c:pt idx="636" formatCode="General">
                  <c:v>3.47</c:v>
                </c:pt>
                <c:pt idx="637" formatCode="General">
                  <c:v>3.43</c:v>
                </c:pt>
                <c:pt idx="638" formatCode="General">
                  <c:v>3.36</c:v>
                </c:pt>
                <c:pt idx="639" formatCode="General">
                  <c:v>3.36</c:v>
                </c:pt>
                <c:pt idx="640" formatCode="General">
                  <c:v>3.34</c:v>
                </c:pt>
                <c:pt idx="641" formatCode="General">
                  <c:v>3.37</c:v>
                </c:pt>
                <c:pt idx="642" formatCode="General">
                  <c:v>3.35</c:v>
                </c:pt>
                <c:pt idx="643" formatCode="General">
                  <c:v>3.36</c:v>
                </c:pt>
                <c:pt idx="644" formatCode="General">
                  <c:v>3.45</c:v>
                </c:pt>
                <c:pt idx="645" formatCode="General">
                  <c:v>3.45</c:v>
                </c:pt>
                <c:pt idx="646" formatCode="General">
                  <c:v>3.68</c:v>
                </c:pt>
                <c:pt idx="647" formatCode="General">
                  <c:v>4.01</c:v>
                </c:pt>
                <c:pt idx="648" formatCode="General">
                  <c:v>3.87</c:v>
                </c:pt>
                <c:pt idx="649" formatCode="General">
                  <c:v>3.93</c:v>
                </c:pt>
                <c:pt idx="650" formatCode="General">
                  <c:v>4.17</c:v>
                </c:pt>
                <c:pt idx="651" formatCode="General">
                  <c:v>4.0199999999999996</c:v>
                </c:pt>
                <c:pt idx="652" formatCode="General">
                  <c:v>3.98</c:v>
                </c:pt>
                <c:pt idx="653" formatCode="0.00">
                  <c:v>3.96</c:v>
                </c:pt>
                <c:pt idx="654" formatCode="General">
                  <c:v>3.96</c:v>
                </c:pt>
                <c:pt idx="655" formatCode="General">
                  <c:v>3.97</c:v>
                </c:pt>
                <c:pt idx="656" formatCode="General">
                  <c:v>3.77</c:v>
                </c:pt>
                <c:pt idx="657" formatCode="General">
                  <c:v>3.77</c:v>
                </c:pt>
                <c:pt idx="658" formatCode="General">
                  <c:v>3.65</c:v>
                </c:pt>
                <c:pt idx="659" formatCode="General">
                  <c:v>3.52</c:v>
                </c:pt>
                <c:pt idx="660" formatCode="General">
                  <c:v>3.52</c:v>
                </c:pt>
                <c:pt idx="661" formatCode="General">
                  <c:v>3.48</c:v>
                </c:pt>
                <c:pt idx="662" formatCode="General">
                  <c:v>3.49</c:v>
                </c:pt>
                <c:pt idx="663" formatCode="General">
                  <c:v>3.48</c:v>
                </c:pt>
                <c:pt idx="664" formatCode="General">
                  <c:v>3.45</c:v>
                </c:pt>
                <c:pt idx="665" formatCode="General">
                  <c:v>3.4</c:v>
                </c:pt>
                <c:pt idx="666" formatCode="General">
                  <c:v>3.52</c:v>
                </c:pt>
                <c:pt idx="667" formatCode="General">
                  <c:v>3.52</c:v>
                </c:pt>
                <c:pt idx="668" formatCode="General">
                  <c:v>3.56</c:v>
                </c:pt>
                <c:pt idx="669" formatCode="General">
                  <c:v>3.62</c:v>
                </c:pt>
                <c:pt idx="670" formatCode="General">
                  <c:v>3.58</c:v>
                </c:pt>
                <c:pt idx="671" formatCode="General">
                  <c:v>3.55</c:v>
                </c:pt>
                <c:pt idx="672" formatCode="General">
                  <c:v>3.59</c:v>
                </c:pt>
                <c:pt idx="673" formatCode="General">
                  <c:v>3.45</c:v>
                </c:pt>
                <c:pt idx="674" formatCode="General">
                  <c:v>3.56</c:v>
                </c:pt>
                <c:pt idx="675" formatCode="General">
                  <c:v>3.61</c:v>
                </c:pt>
                <c:pt idx="676" formatCode="General">
                  <c:v>3.6</c:v>
                </c:pt>
                <c:pt idx="677" formatCode="General">
                  <c:v>3.79</c:v>
                </c:pt>
                <c:pt idx="678" formatCode="General">
                  <c:v>3.79</c:v>
                </c:pt>
                <c:pt idx="679" formatCode="General">
                  <c:v>3.72</c:v>
                </c:pt>
                <c:pt idx="680" formatCode="General">
                  <c:v>3.66</c:v>
                </c:pt>
                <c:pt idx="681" formatCode="General">
                  <c:v>3.63</c:v>
                </c:pt>
                <c:pt idx="682" formatCode="General">
                  <c:v>3.61</c:v>
                </c:pt>
                <c:pt idx="683" formatCode="General">
                  <c:v>3.61</c:v>
                </c:pt>
                <c:pt idx="684" formatCode="General">
                  <c:v>3.56</c:v>
                </c:pt>
                <c:pt idx="685" formatCode="General">
                  <c:v>3.56</c:v>
                </c:pt>
                <c:pt idx="686" formatCode="General">
                  <c:v>3.51</c:v>
                </c:pt>
                <c:pt idx="687" formatCode="General">
                  <c:v>3.57</c:v>
                </c:pt>
                <c:pt idx="688" formatCode="General">
                  <c:v>3.64</c:v>
                </c:pt>
                <c:pt idx="689" formatCode="General">
                  <c:v>3.63</c:v>
                </c:pt>
                <c:pt idx="690" formatCode="General">
                  <c:v>3.66</c:v>
                </c:pt>
                <c:pt idx="691" formatCode="General">
                  <c:v>3.58</c:v>
                </c:pt>
                <c:pt idx="692" formatCode="General">
                  <c:v>3.58</c:v>
                </c:pt>
                <c:pt idx="693" formatCode="General">
                  <c:v>3.59</c:v>
                </c:pt>
                <c:pt idx="694" formatCode="General">
                  <c:v>3.53</c:v>
                </c:pt>
                <c:pt idx="695" formatCode="General">
                  <c:v>3.74</c:v>
                </c:pt>
                <c:pt idx="696" formatCode="General">
                  <c:v>3.58</c:v>
                </c:pt>
                <c:pt idx="697" formatCode="General">
                  <c:v>3.68</c:v>
                </c:pt>
                <c:pt idx="698" formatCode="General">
                  <c:v>3.56</c:v>
                </c:pt>
                <c:pt idx="699" formatCode="General">
                  <c:v>3.54</c:v>
                </c:pt>
                <c:pt idx="700" formatCode="General">
                  <c:v>3.39</c:v>
                </c:pt>
                <c:pt idx="701" formatCode="General">
                  <c:v>3.64</c:v>
                </c:pt>
                <c:pt idx="702" formatCode="General">
                  <c:v>3.58</c:v>
                </c:pt>
                <c:pt idx="703" formatCode="General">
                  <c:v>3.51</c:v>
                </c:pt>
                <c:pt idx="704" formatCode="General">
                  <c:v>3.48</c:v>
                </c:pt>
                <c:pt idx="705" formatCode="General">
                  <c:v>3.48</c:v>
                </c:pt>
                <c:pt idx="706" formatCode="General">
                  <c:v>3.49</c:v>
                </c:pt>
                <c:pt idx="707" formatCode="General">
                  <c:v>3.42</c:v>
                </c:pt>
                <c:pt idx="708" formatCode="General">
                  <c:v>3.37</c:v>
                </c:pt>
                <c:pt idx="709" formatCode="General">
                  <c:v>3.38</c:v>
                </c:pt>
                <c:pt idx="710" formatCode="General">
                  <c:v>3.29</c:v>
                </c:pt>
                <c:pt idx="711" formatCode="General">
                  <c:v>3.26</c:v>
                </c:pt>
                <c:pt idx="712" formatCode="General">
                  <c:v>3.29</c:v>
                </c:pt>
                <c:pt idx="713" formatCode="General">
                  <c:v>3.25</c:v>
                </c:pt>
                <c:pt idx="714" formatCode="General">
                  <c:v>3.27</c:v>
                </c:pt>
                <c:pt idx="715" formatCode="General">
                  <c:v>3.27</c:v>
                </c:pt>
                <c:pt idx="716" formatCode="General">
                  <c:v>3.18</c:v>
                </c:pt>
                <c:pt idx="717" formatCode="General">
                  <c:v>3.19</c:v>
                </c:pt>
                <c:pt idx="718" formatCode="General">
                  <c:v>3.13</c:v>
                </c:pt>
                <c:pt idx="719" formatCode="General">
                  <c:v>3.06</c:v>
                </c:pt>
                <c:pt idx="720" formatCode="General">
                  <c:v>3.08</c:v>
                </c:pt>
                <c:pt idx="721" formatCode="General">
                  <c:v>3.01</c:v>
                </c:pt>
                <c:pt idx="722" formatCode="General">
                  <c:v>2.98</c:v>
                </c:pt>
                <c:pt idx="723" formatCode="General">
                  <c:v>3.08</c:v>
                </c:pt>
                <c:pt idx="724" formatCode="General">
                  <c:v>3.1</c:v>
                </c:pt>
                <c:pt idx="725" formatCode="General">
                  <c:v>3.01</c:v>
                </c:pt>
                <c:pt idx="726" formatCode="General">
                  <c:v>2.99</c:v>
                </c:pt>
                <c:pt idx="727" formatCode="General">
                  <c:v>3.02</c:v>
                </c:pt>
                <c:pt idx="728" formatCode="General">
                  <c:v>2.98</c:v>
                </c:pt>
                <c:pt idx="729" formatCode="General">
                  <c:v>3</c:v>
                </c:pt>
                <c:pt idx="730" formatCode="General">
                  <c:v>2.97</c:v>
                </c:pt>
                <c:pt idx="731" formatCode="General">
                  <c:v>2.98</c:v>
                </c:pt>
                <c:pt idx="732" formatCode="General">
                  <c:v>3.01</c:v>
                </c:pt>
                <c:pt idx="733" formatCode="General">
                  <c:v>3.08</c:v>
                </c:pt>
                <c:pt idx="734" formatCode="General">
                  <c:v>3.08</c:v>
                </c:pt>
                <c:pt idx="735" formatCode="General">
                  <c:v>3.05</c:v>
                </c:pt>
                <c:pt idx="736" formatCode="General">
                  <c:v>3.08</c:v>
                </c:pt>
                <c:pt idx="737" formatCode="General">
                  <c:v>3.05</c:v>
                </c:pt>
                <c:pt idx="738" formatCode="General">
                  <c:v>3.1</c:v>
                </c:pt>
                <c:pt idx="739" formatCode="General">
                  <c:v>3.09</c:v>
                </c:pt>
                <c:pt idx="740" formatCode="General">
                  <c:v>3.01</c:v>
                </c:pt>
                <c:pt idx="741" formatCode="General">
                  <c:v>2.96</c:v>
                </c:pt>
                <c:pt idx="742" formatCode="General">
                  <c:v>3.23</c:v>
                </c:pt>
                <c:pt idx="743" formatCode="General">
                  <c:v>3.43</c:v>
                </c:pt>
                <c:pt idx="744" formatCode="General">
                  <c:v>3.33</c:v>
                </c:pt>
                <c:pt idx="745" formatCode="General">
                  <c:v>3.29</c:v>
                </c:pt>
                <c:pt idx="746" formatCode="General">
                  <c:v>3.17</c:v>
                </c:pt>
                <c:pt idx="747" formatCode="General">
                  <c:v>3.16</c:v>
                </c:pt>
                <c:pt idx="748" formatCode="General">
                  <c:v>3.17</c:v>
                </c:pt>
                <c:pt idx="749" formatCode="General">
                  <c:v>3.15</c:v>
                </c:pt>
                <c:pt idx="750" formatCode="General">
                  <c:v>3.15</c:v>
                </c:pt>
                <c:pt idx="751" formatCode="General">
                  <c:v>3.11</c:v>
                </c:pt>
                <c:pt idx="752" formatCode="General">
                  <c:v>3.03</c:v>
                </c:pt>
                <c:pt idx="753" formatCode="General">
                  <c:v>2.96</c:v>
                </c:pt>
                <c:pt idx="754" formatCode="General">
                  <c:v>2.96</c:v>
                </c:pt>
                <c:pt idx="755" formatCode="General">
                  <c:v>2.94</c:v>
                </c:pt>
                <c:pt idx="756" formatCode="General">
                  <c:v>2.85</c:v>
                </c:pt>
                <c:pt idx="757" formatCode="General">
                  <c:v>2.85</c:v>
                </c:pt>
                <c:pt idx="758" formatCode="General">
                  <c:v>2.78</c:v>
                </c:pt>
                <c:pt idx="759" formatCode="General">
                  <c:v>2.66</c:v>
                </c:pt>
                <c:pt idx="760" formatCode="General">
                  <c:v>2.61</c:v>
                </c:pt>
                <c:pt idx="761" formatCode="General">
                  <c:v>2.6</c:v>
                </c:pt>
                <c:pt idx="762" formatCode="General">
                  <c:v>2.56</c:v>
                </c:pt>
                <c:pt idx="763" formatCode="General">
                  <c:v>2.65</c:v>
                </c:pt>
                <c:pt idx="764" formatCode="General">
                  <c:v>2.35</c:v>
                </c:pt>
                <c:pt idx="765" formatCode="General">
                  <c:v>2.34</c:v>
                </c:pt>
                <c:pt idx="766" formatCode="General">
                  <c:v>2.34</c:v>
                </c:pt>
                <c:pt idx="767" formatCode="General">
                  <c:v>2.31</c:v>
                </c:pt>
                <c:pt idx="768" formatCode="General">
                  <c:v>2.35</c:v>
                </c:pt>
                <c:pt idx="769" formatCode="General">
                  <c:v>2.38</c:v>
                </c:pt>
                <c:pt idx="770" formatCode="General">
                  <c:v>2.37</c:v>
                </c:pt>
                <c:pt idx="771" formatCode="General">
                  <c:v>2.37</c:v>
                </c:pt>
                <c:pt idx="772" formatCode="General">
                  <c:v>2.41</c:v>
                </c:pt>
                <c:pt idx="773" formatCode="General">
                  <c:v>2.5099999999999998</c:v>
                </c:pt>
                <c:pt idx="774" formatCode="General">
                  <c:v>2.56</c:v>
                </c:pt>
                <c:pt idx="775" formatCode="General">
                  <c:v>2.67</c:v>
                </c:pt>
                <c:pt idx="776" formatCode="General">
                  <c:v>2.69</c:v>
                </c:pt>
                <c:pt idx="777" formatCode="General">
                  <c:v>2.75</c:v>
                </c:pt>
                <c:pt idx="778" formatCode="General">
                  <c:v>2.69</c:v>
                </c:pt>
                <c:pt idx="779" formatCode="General">
                  <c:v>2.61</c:v>
                </c:pt>
                <c:pt idx="780" formatCode="General">
                  <c:v>2.62</c:v>
                </c:pt>
                <c:pt idx="781" formatCode="General">
                  <c:v>2.72</c:v>
                </c:pt>
                <c:pt idx="782" formatCode="General">
                  <c:v>2.87</c:v>
                </c:pt>
                <c:pt idx="783" formatCode="General">
                  <c:v>2.75</c:v>
                </c:pt>
                <c:pt idx="784" formatCode="General">
                  <c:v>2.74</c:v>
                </c:pt>
                <c:pt idx="785" formatCode="General">
                  <c:v>2.73</c:v>
                </c:pt>
                <c:pt idx="786" formatCode="General">
                  <c:v>2.66</c:v>
                </c:pt>
                <c:pt idx="787" formatCode="General">
                  <c:v>2.58</c:v>
                </c:pt>
                <c:pt idx="788" formatCode="General">
                  <c:v>2.4700000000000002</c:v>
                </c:pt>
                <c:pt idx="789" formatCode="General">
                  <c:v>2.4700000000000002</c:v>
                </c:pt>
                <c:pt idx="790" formatCode="General">
                  <c:v>2.42</c:v>
                </c:pt>
                <c:pt idx="791" formatCode="General">
                  <c:v>2.4500000000000002</c:v>
                </c:pt>
                <c:pt idx="792" formatCode="General">
                  <c:v>2.5299999999999998</c:v>
                </c:pt>
                <c:pt idx="793" formatCode="General">
                  <c:v>2.69</c:v>
                </c:pt>
                <c:pt idx="794" formatCode="General">
                  <c:v>2.67</c:v>
                </c:pt>
                <c:pt idx="795" formatCode="General">
                  <c:v>2.88</c:v>
                </c:pt>
                <c:pt idx="796" formatCode="General">
                  <c:v>3.1</c:v>
                </c:pt>
                <c:pt idx="797" formatCode="General">
                  <c:v>3.04</c:v>
                </c:pt>
                <c:pt idx="798" formatCode="General">
                  <c:v>2.9</c:v>
                </c:pt>
                <c:pt idx="799" formatCode="General">
                  <c:v>2.95</c:v>
                </c:pt>
                <c:pt idx="800" formatCode="General">
                  <c:v>2.94</c:v>
                </c:pt>
                <c:pt idx="801" formatCode="General">
                  <c:v>2.89</c:v>
                </c:pt>
                <c:pt idx="802" formatCode="General">
                  <c:v>2.84</c:v>
                </c:pt>
                <c:pt idx="803" formatCode="General">
                  <c:v>2.6</c:v>
                </c:pt>
                <c:pt idx="804" formatCode="General">
                  <c:v>2.54</c:v>
                </c:pt>
                <c:pt idx="805" formatCode="General">
                  <c:v>2.5</c:v>
                </c:pt>
                <c:pt idx="806" formatCode="General">
                  <c:v>2.5299999999999998</c:v>
                </c:pt>
                <c:pt idx="807" formatCode="General">
                  <c:v>2.4500000000000002</c:v>
                </c:pt>
                <c:pt idx="808" formatCode="General">
                  <c:v>2.54</c:v>
                </c:pt>
                <c:pt idx="809" formatCode="General">
                  <c:v>2.65</c:v>
                </c:pt>
                <c:pt idx="810" formatCode="General">
                  <c:v>2.57</c:v>
                </c:pt>
                <c:pt idx="811" formatCode="General">
                  <c:v>2.6</c:v>
                </c:pt>
                <c:pt idx="812" formatCode="General">
                  <c:v>2.65</c:v>
                </c:pt>
                <c:pt idx="813" formatCode="General">
                  <c:v>2.64</c:v>
                </c:pt>
                <c:pt idx="814" formatCode="General">
                  <c:v>2.62</c:v>
                </c:pt>
                <c:pt idx="815" formatCode="General">
                  <c:v>2.54</c:v>
                </c:pt>
                <c:pt idx="816" formatCode="General">
                  <c:v>2.4900000000000002</c:v>
                </c:pt>
                <c:pt idx="817" formatCode="General">
                  <c:v>2.56</c:v>
                </c:pt>
                <c:pt idx="818" formatCode="General">
                  <c:v>2.63</c:v>
                </c:pt>
                <c:pt idx="819" formatCode="General">
                  <c:v>2.6</c:v>
                </c:pt>
                <c:pt idx="820" formatCode="General">
                  <c:v>2.59</c:v>
                </c:pt>
                <c:pt idx="821" formatCode="General">
                  <c:v>2.61</c:v>
                </c:pt>
                <c:pt idx="822" formatCode="General">
                  <c:v>2.63</c:v>
                </c:pt>
                <c:pt idx="823" formatCode="General">
                  <c:v>2.65</c:v>
                </c:pt>
                <c:pt idx="824" formatCode="General">
                  <c:v>2.64</c:v>
                </c:pt>
                <c:pt idx="825" formatCode="General">
                  <c:v>2.67</c:v>
                </c:pt>
                <c:pt idx="826" formatCode="General">
                  <c:v>2.7</c:v>
                </c:pt>
                <c:pt idx="827" formatCode="General">
                  <c:v>2.64</c:v>
                </c:pt>
                <c:pt idx="828" formatCode="General">
                  <c:v>2.66</c:v>
                </c:pt>
                <c:pt idx="829" formatCode="General">
                  <c:v>2.67</c:v>
                </c:pt>
                <c:pt idx="830" formatCode="General">
                  <c:v>2.73</c:v>
                </c:pt>
                <c:pt idx="831" formatCode="General">
                  <c:v>2.88</c:v>
                </c:pt>
                <c:pt idx="832" formatCode="General">
                  <c:v>2.92</c:v>
                </c:pt>
                <c:pt idx="833" formatCode="General">
                  <c:v>2.9</c:v>
                </c:pt>
                <c:pt idx="834" formatCode="General">
                  <c:v>3.03</c:v>
                </c:pt>
                <c:pt idx="835" formatCode="General">
                  <c:v>3.14</c:v>
                </c:pt>
                <c:pt idx="836" formatCode="General">
                  <c:v>3.05</c:v>
                </c:pt>
                <c:pt idx="837" formatCode="General">
                  <c:v>3.02</c:v>
                </c:pt>
                <c:pt idx="838" formatCode="General">
                  <c:v>3.17</c:v>
                </c:pt>
                <c:pt idx="839" formatCode="General">
                  <c:v>3.13</c:v>
                </c:pt>
                <c:pt idx="840" formatCode="General">
                  <c:v>3.19</c:v>
                </c:pt>
                <c:pt idx="841" formatCode="General">
                  <c:v>3.05</c:v>
                </c:pt>
                <c:pt idx="842" formatCode="General">
                  <c:v>3.02</c:v>
                </c:pt>
                <c:pt idx="843" formatCode="General">
                  <c:v>3.02</c:v>
                </c:pt>
                <c:pt idx="844" formatCode="0.00">
                  <c:v>3</c:v>
                </c:pt>
                <c:pt idx="845" formatCode="0.00">
                  <c:v>2.99</c:v>
                </c:pt>
                <c:pt idx="846" formatCode="0.00">
                  <c:v>2.97</c:v>
                </c:pt>
                <c:pt idx="847" formatCode="0.00">
                  <c:v>2.96</c:v>
                </c:pt>
                <c:pt idx="848" formatCode="0.00">
                  <c:v>2.94</c:v>
                </c:pt>
                <c:pt idx="849" formatCode="0.00">
                  <c:v>2.87</c:v>
                </c:pt>
                <c:pt idx="850" formatCode="0.00">
                  <c:v>2.8</c:v>
                </c:pt>
                <c:pt idx="851" formatCode="0.00">
                  <c:v>2.82</c:v>
                </c:pt>
                <c:pt idx="852" formatCode="0.00">
                  <c:v>2.77</c:v>
                </c:pt>
                <c:pt idx="853" formatCode="0.00">
                  <c:v>2.75</c:v>
                </c:pt>
                <c:pt idx="854" formatCode="0.00">
                  <c:v>2.86</c:v>
                </c:pt>
                <c:pt idx="855" formatCode="0.00">
                  <c:v>2.78</c:v>
                </c:pt>
                <c:pt idx="856" formatCode="0.00">
                  <c:v>2.9</c:v>
                </c:pt>
                <c:pt idx="857" formatCode="0.00">
                  <c:v>2.93</c:v>
                </c:pt>
                <c:pt idx="858" formatCode="0.00">
                  <c:v>3.07</c:v>
                </c:pt>
                <c:pt idx="859" formatCode="0.00">
                  <c:v>3.06</c:v>
                </c:pt>
                <c:pt idx="860" formatCode="0.00">
                  <c:v>3.01</c:v>
                </c:pt>
                <c:pt idx="861" formatCode="0.00">
                  <c:v>3.17</c:v>
                </c:pt>
                <c:pt idx="862" formatCode="0.00">
                  <c:v>3.17</c:v>
                </c:pt>
                <c:pt idx="863" formatCode="0.00">
                  <c:v>3.12</c:v>
                </c:pt>
                <c:pt idx="864" formatCode="0.00">
                  <c:v>3.07</c:v>
                </c:pt>
                <c:pt idx="865" formatCode="0.00">
                  <c:v>3.09</c:v>
                </c:pt>
                <c:pt idx="866" formatCode="0.00">
                  <c:v>3.01</c:v>
                </c:pt>
                <c:pt idx="867" formatCode="0.00">
                  <c:v>2.93</c:v>
                </c:pt>
                <c:pt idx="868" formatCode="0.00">
                  <c:v>2.91</c:v>
                </c:pt>
                <c:pt idx="869" formatCode="0.00">
                  <c:v>2.92</c:v>
                </c:pt>
                <c:pt idx="870" formatCode="0.00">
                  <c:v>2.88</c:v>
                </c:pt>
                <c:pt idx="871" formatCode="0.00">
                  <c:v>3.02</c:v>
                </c:pt>
                <c:pt idx="872" formatCode="0.00">
                  <c:v>2.98</c:v>
                </c:pt>
                <c:pt idx="873" formatCode="0.00">
                  <c:v>2.93</c:v>
                </c:pt>
                <c:pt idx="874" formatCode="0.00">
                  <c:v>2.97</c:v>
                </c:pt>
                <c:pt idx="875" formatCode="0.00">
                  <c:v>2.92</c:v>
                </c:pt>
                <c:pt idx="876" formatCode="0.00">
                  <c:v>2.95</c:v>
                </c:pt>
                <c:pt idx="877" formatCode="General">
                  <c:v>2.84</c:v>
                </c:pt>
                <c:pt idx="878" formatCode="General">
                  <c:v>2.89</c:v>
                </c:pt>
                <c:pt idx="879" formatCode="General">
                  <c:v>2.79</c:v>
                </c:pt>
                <c:pt idx="880" formatCode="General">
                  <c:v>2.76</c:v>
                </c:pt>
                <c:pt idx="881" formatCode="General">
                  <c:v>2.76</c:v>
                </c:pt>
                <c:pt idx="882" formatCode="General">
                  <c:v>2.78</c:v>
                </c:pt>
                <c:pt idx="883" formatCode="General">
                  <c:v>2.77</c:v>
                </c:pt>
                <c:pt idx="884" formatCode="General">
                  <c:v>2.71</c:v>
                </c:pt>
                <c:pt idx="885" formatCode="General">
                  <c:v>2.75</c:v>
                </c:pt>
                <c:pt idx="886" formatCode="General">
                  <c:v>2.75</c:v>
                </c:pt>
                <c:pt idx="887" formatCode="General">
                  <c:v>2.81</c:v>
                </c:pt>
                <c:pt idx="888" formatCode="General">
                  <c:v>2.8</c:v>
                </c:pt>
                <c:pt idx="889" formatCode="General">
                  <c:v>2.68</c:v>
                </c:pt>
                <c:pt idx="890" formatCode="General">
                  <c:v>2.72</c:v>
                </c:pt>
                <c:pt idx="896" formatCode="0.00">
                  <c:v>2.9645454545454544</c:v>
                </c:pt>
                <c:pt idx="897" formatCode="0.00">
                  <c:v>2.8099999999999996</c:v>
                </c:pt>
              </c:numCache>
            </c:numRef>
          </c:val>
          <c:smooth val="0"/>
        </c:ser>
        <c:ser>
          <c:idx val="4"/>
          <c:order val="2"/>
          <c:tx>
            <c:strRef>
              <c:f>yield_out!$G$1</c:f>
              <c:strCache>
                <c:ptCount val="1"/>
                <c:pt idx="0">
                  <c:v>10 éves</c:v>
                </c:pt>
              </c:strCache>
            </c:strRef>
          </c:tx>
          <c:marker>
            <c:symbol val="none"/>
          </c:marker>
          <c:cat>
            <c:numRef>
              <c:f>yield_out!$A$1012:$A$1980</c:f>
              <c:numCache>
                <c:formatCode>dd\.mm\.yyyy</c:formatCode>
                <c:ptCount val="969"/>
                <c:pt idx="0">
                  <c:v>40910</c:v>
                </c:pt>
                <c:pt idx="1">
                  <c:v>40911</c:v>
                </c:pt>
                <c:pt idx="2">
                  <c:v>40912</c:v>
                </c:pt>
                <c:pt idx="3">
                  <c:v>40913</c:v>
                </c:pt>
                <c:pt idx="4">
                  <c:v>40914</c:v>
                </c:pt>
                <c:pt idx="5">
                  <c:v>40917</c:v>
                </c:pt>
                <c:pt idx="6">
                  <c:v>40918</c:v>
                </c:pt>
                <c:pt idx="7">
                  <c:v>40919</c:v>
                </c:pt>
                <c:pt idx="8">
                  <c:v>40920</c:v>
                </c:pt>
                <c:pt idx="9">
                  <c:v>40921</c:v>
                </c:pt>
                <c:pt idx="10">
                  <c:v>40924</c:v>
                </c:pt>
                <c:pt idx="11">
                  <c:v>40925</c:v>
                </c:pt>
                <c:pt idx="12">
                  <c:v>40926</c:v>
                </c:pt>
                <c:pt idx="13">
                  <c:v>40927</c:v>
                </c:pt>
                <c:pt idx="14">
                  <c:v>40928</c:v>
                </c:pt>
                <c:pt idx="15">
                  <c:v>40931</c:v>
                </c:pt>
                <c:pt idx="16">
                  <c:v>40932</c:v>
                </c:pt>
                <c:pt idx="17">
                  <c:v>40933</c:v>
                </c:pt>
                <c:pt idx="18">
                  <c:v>40934</c:v>
                </c:pt>
                <c:pt idx="19">
                  <c:v>40935</c:v>
                </c:pt>
                <c:pt idx="20">
                  <c:v>40938</c:v>
                </c:pt>
                <c:pt idx="21">
                  <c:v>40939</c:v>
                </c:pt>
                <c:pt idx="22">
                  <c:v>40940</c:v>
                </c:pt>
                <c:pt idx="23">
                  <c:v>40941</c:v>
                </c:pt>
                <c:pt idx="24">
                  <c:v>40942</c:v>
                </c:pt>
                <c:pt idx="25">
                  <c:v>40945</c:v>
                </c:pt>
                <c:pt idx="26">
                  <c:v>40946</c:v>
                </c:pt>
                <c:pt idx="27">
                  <c:v>40947</c:v>
                </c:pt>
                <c:pt idx="28">
                  <c:v>40948</c:v>
                </c:pt>
                <c:pt idx="29">
                  <c:v>40949</c:v>
                </c:pt>
                <c:pt idx="30">
                  <c:v>40952</c:v>
                </c:pt>
                <c:pt idx="31">
                  <c:v>40953</c:v>
                </c:pt>
                <c:pt idx="32">
                  <c:v>40954</c:v>
                </c:pt>
                <c:pt idx="33">
                  <c:v>40955</c:v>
                </c:pt>
                <c:pt idx="34">
                  <c:v>40956</c:v>
                </c:pt>
                <c:pt idx="35">
                  <c:v>40959</c:v>
                </c:pt>
                <c:pt idx="36">
                  <c:v>40960</c:v>
                </c:pt>
                <c:pt idx="37">
                  <c:v>40961</c:v>
                </c:pt>
                <c:pt idx="38">
                  <c:v>40962</c:v>
                </c:pt>
                <c:pt idx="39">
                  <c:v>40963</c:v>
                </c:pt>
                <c:pt idx="40">
                  <c:v>40966</c:v>
                </c:pt>
                <c:pt idx="41">
                  <c:v>40967</c:v>
                </c:pt>
                <c:pt idx="42">
                  <c:v>40968</c:v>
                </c:pt>
                <c:pt idx="43">
                  <c:v>40969</c:v>
                </c:pt>
                <c:pt idx="44">
                  <c:v>40970</c:v>
                </c:pt>
                <c:pt idx="45">
                  <c:v>40973</c:v>
                </c:pt>
                <c:pt idx="46">
                  <c:v>40974</c:v>
                </c:pt>
                <c:pt idx="47">
                  <c:v>40975</c:v>
                </c:pt>
                <c:pt idx="48">
                  <c:v>40976</c:v>
                </c:pt>
                <c:pt idx="49">
                  <c:v>40977</c:v>
                </c:pt>
                <c:pt idx="50">
                  <c:v>40980</c:v>
                </c:pt>
                <c:pt idx="51">
                  <c:v>40981</c:v>
                </c:pt>
                <c:pt idx="52">
                  <c:v>40982</c:v>
                </c:pt>
                <c:pt idx="53">
                  <c:v>40987</c:v>
                </c:pt>
                <c:pt idx="54">
                  <c:v>40988</c:v>
                </c:pt>
                <c:pt idx="55">
                  <c:v>40989</c:v>
                </c:pt>
                <c:pt idx="56">
                  <c:v>40990</c:v>
                </c:pt>
                <c:pt idx="57">
                  <c:v>40991</c:v>
                </c:pt>
                <c:pt idx="58">
                  <c:v>40994</c:v>
                </c:pt>
                <c:pt idx="59">
                  <c:v>40995</c:v>
                </c:pt>
                <c:pt idx="60">
                  <c:v>40996</c:v>
                </c:pt>
                <c:pt idx="61">
                  <c:v>40997</c:v>
                </c:pt>
                <c:pt idx="62">
                  <c:v>40998</c:v>
                </c:pt>
                <c:pt idx="63">
                  <c:v>41001</c:v>
                </c:pt>
                <c:pt idx="64">
                  <c:v>41002</c:v>
                </c:pt>
                <c:pt idx="65">
                  <c:v>41003</c:v>
                </c:pt>
                <c:pt idx="66">
                  <c:v>41004</c:v>
                </c:pt>
                <c:pt idx="67">
                  <c:v>41009</c:v>
                </c:pt>
                <c:pt idx="68">
                  <c:v>41010</c:v>
                </c:pt>
                <c:pt idx="69">
                  <c:v>41011</c:v>
                </c:pt>
                <c:pt idx="70">
                  <c:v>41012</c:v>
                </c:pt>
                <c:pt idx="71">
                  <c:v>41015</c:v>
                </c:pt>
                <c:pt idx="72">
                  <c:v>41016</c:v>
                </c:pt>
                <c:pt idx="73">
                  <c:v>41017</c:v>
                </c:pt>
                <c:pt idx="74">
                  <c:v>41018</c:v>
                </c:pt>
                <c:pt idx="75">
                  <c:v>41019</c:v>
                </c:pt>
                <c:pt idx="76">
                  <c:v>41022</c:v>
                </c:pt>
                <c:pt idx="77">
                  <c:v>41023</c:v>
                </c:pt>
                <c:pt idx="78">
                  <c:v>41024</c:v>
                </c:pt>
                <c:pt idx="79">
                  <c:v>41025</c:v>
                </c:pt>
                <c:pt idx="80">
                  <c:v>41026</c:v>
                </c:pt>
                <c:pt idx="81">
                  <c:v>41031</c:v>
                </c:pt>
                <c:pt idx="82">
                  <c:v>41032</c:v>
                </c:pt>
                <c:pt idx="83">
                  <c:v>41033</c:v>
                </c:pt>
                <c:pt idx="84">
                  <c:v>41036</c:v>
                </c:pt>
                <c:pt idx="85">
                  <c:v>41037</c:v>
                </c:pt>
                <c:pt idx="86">
                  <c:v>41038</c:v>
                </c:pt>
                <c:pt idx="87">
                  <c:v>41039</c:v>
                </c:pt>
                <c:pt idx="88">
                  <c:v>41040</c:v>
                </c:pt>
                <c:pt idx="89">
                  <c:v>41043</c:v>
                </c:pt>
                <c:pt idx="90">
                  <c:v>41044</c:v>
                </c:pt>
                <c:pt idx="91">
                  <c:v>41045</c:v>
                </c:pt>
                <c:pt idx="92">
                  <c:v>41046</c:v>
                </c:pt>
                <c:pt idx="93">
                  <c:v>41047</c:v>
                </c:pt>
                <c:pt idx="94">
                  <c:v>41050</c:v>
                </c:pt>
                <c:pt idx="95">
                  <c:v>41051</c:v>
                </c:pt>
                <c:pt idx="96">
                  <c:v>41052</c:v>
                </c:pt>
                <c:pt idx="97">
                  <c:v>41053</c:v>
                </c:pt>
                <c:pt idx="98">
                  <c:v>41054</c:v>
                </c:pt>
                <c:pt idx="99">
                  <c:v>41058</c:v>
                </c:pt>
                <c:pt idx="100">
                  <c:v>41059</c:v>
                </c:pt>
                <c:pt idx="101">
                  <c:v>41060</c:v>
                </c:pt>
                <c:pt idx="102">
                  <c:v>41061</c:v>
                </c:pt>
                <c:pt idx="103">
                  <c:v>41064</c:v>
                </c:pt>
                <c:pt idx="104">
                  <c:v>41065</c:v>
                </c:pt>
                <c:pt idx="105">
                  <c:v>41066</c:v>
                </c:pt>
                <c:pt idx="106">
                  <c:v>41067</c:v>
                </c:pt>
                <c:pt idx="107">
                  <c:v>41068</c:v>
                </c:pt>
                <c:pt idx="108">
                  <c:v>41071</c:v>
                </c:pt>
                <c:pt idx="109">
                  <c:v>41072</c:v>
                </c:pt>
                <c:pt idx="110">
                  <c:v>41073</c:v>
                </c:pt>
                <c:pt idx="111">
                  <c:v>41074</c:v>
                </c:pt>
                <c:pt idx="112">
                  <c:v>41075</c:v>
                </c:pt>
                <c:pt idx="113">
                  <c:v>41078</c:v>
                </c:pt>
                <c:pt idx="114">
                  <c:v>41079</c:v>
                </c:pt>
                <c:pt idx="115">
                  <c:v>41080</c:v>
                </c:pt>
                <c:pt idx="116">
                  <c:v>41081</c:v>
                </c:pt>
                <c:pt idx="117">
                  <c:v>41082</c:v>
                </c:pt>
                <c:pt idx="118">
                  <c:v>41085</c:v>
                </c:pt>
                <c:pt idx="119">
                  <c:v>41086</c:v>
                </c:pt>
                <c:pt idx="120">
                  <c:v>41087</c:v>
                </c:pt>
                <c:pt idx="121">
                  <c:v>41088</c:v>
                </c:pt>
                <c:pt idx="122">
                  <c:v>41089</c:v>
                </c:pt>
                <c:pt idx="123">
                  <c:v>41092</c:v>
                </c:pt>
                <c:pt idx="124">
                  <c:v>41093</c:v>
                </c:pt>
                <c:pt idx="125">
                  <c:v>41094</c:v>
                </c:pt>
                <c:pt idx="126">
                  <c:v>41095</c:v>
                </c:pt>
                <c:pt idx="127">
                  <c:v>41096</c:v>
                </c:pt>
                <c:pt idx="128">
                  <c:v>41099</c:v>
                </c:pt>
                <c:pt idx="129">
                  <c:v>41100</c:v>
                </c:pt>
                <c:pt idx="130">
                  <c:v>41101</c:v>
                </c:pt>
                <c:pt idx="131">
                  <c:v>41102</c:v>
                </c:pt>
                <c:pt idx="132">
                  <c:v>41103</c:v>
                </c:pt>
                <c:pt idx="133">
                  <c:v>41106</c:v>
                </c:pt>
                <c:pt idx="134">
                  <c:v>41107</c:v>
                </c:pt>
                <c:pt idx="135">
                  <c:v>41108</c:v>
                </c:pt>
                <c:pt idx="136">
                  <c:v>41109</c:v>
                </c:pt>
                <c:pt idx="137">
                  <c:v>41110</c:v>
                </c:pt>
                <c:pt idx="138">
                  <c:v>41113</c:v>
                </c:pt>
                <c:pt idx="139">
                  <c:v>41114</c:v>
                </c:pt>
                <c:pt idx="140">
                  <c:v>41115</c:v>
                </c:pt>
                <c:pt idx="141">
                  <c:v>41116</c:v>
                </c:pt>
                <c:pt idx="142">
                  <c:v>41117</c:v>
                </c:pt>
                <c:pt idx="143">
                  <c:v>41120</c:v>
                </c:pt>
                <c:pt idx="144">
                  <c:v>41121</c:v>
                </c:pt>
                <c:pt idx="145">
                  <c:v>41122</c:v>
                </c:pt>
                <c:pt idx="146">
                  <c:v>41123</c:v>
                </c:pt>
                <c:pt idx="147">
                  <c:v>41124</c:v>
                </c:pt>
                <c:pt idx="148">
                  <c:v>41127</c:v>
                </c:pt>
                <c:pt idx="149">
                  <c:v>41128</c:v>
                </c:pt>
                <c:pt idx="150">
                  <c:v>41129</c:v>
                </c:pt>
                <c:pt idx="151">
                  <c:v>41130</c:v>
                </c:pt>
                <c:pt idx="152">
                  <c:v>41131</c:v>
                </c:pt>
                <c:pt idx="153">
                  <c:v>41134</c:v>
                </c:pt>
                <c:pt idx="154">
                  <c:v>41135</c:v>
                </c:pt>
                <c:pt idx="155">
                  <c:v>41136</c:v>
                </c:pt>
                <c:pt idx="156">
                  <c:v>41137</c:v>
                </c:pt>
                <c:pt idx="157">
                  <c:v>41138</c:v>
                </c:pt>
                <c:pt idx="158">
                  <c:v>41142</c:v>
                </c:pt>
                <c:pt idx="159">
                  <c:v>41143</c:v>
                </c:pt>
                <c:pt idx="160">
                  <c:v>41144</c:v>
                </c:pt>
                <c:pt idx="161">
                  <c:v>41145</c:v>
                </c:pt>
                <c:pt idx="162">
                  <c:v>41148</c:v>
                </c:pt>
                <c:pt idx="163">
                  <c:v>41149</c:v>
                </c:pt>
                <c:pt idx="164">
                  <c:v>41150</c:v>
                </c:pt>
                <c:pt idx="165">
                  <c:v>41151</c:v>
                </c:pt>
                <c:pt idx="166">
                  <c:v>41152</c:v>
                </c:pt>
                <c:pt idx="167">
                  <c:v>41155</c:v>
                </c:pt>
                <c:pt idx="168">
                  <c:v>41156</c:v>
                </c:pt>
                <c:pt idx="169">
                  <c:v>41157</c:v>
                </c:pt>
                <c:pt idx="170">
                  <c:v>41158</c:v>
                </c:pt>
                <c:pt idx="171">
                  <c:v>41159</c:v>
                </c:pt>
                <c:pt idx="172">
                  <c:v>41162</c:v>
                </c:pt>
                <c:pt idx="173">
                  <c:v>41163</c:v>
                </c:pt>
                <c:pt idx="174">
                  <c:v>41164</c:v>
                </c:pt>
                <c:pt idx="175">
                  <c:v>41165</c:v>
                </c:pt>
                <c:pt idx="176">
                  <c:v>41166</c:v>
                </c:pt>
                <c:pt idx="177">
                  <c:v>41169</c:v>
                </c:pt>
                <c:pt idx="178">
                  <c:v>41170</c:v>
                </c:pt>
                <c:pt idx="179">
                  <c:v>41171</c:v>
                </c:pt>
                <c:pt idx="180">
                  <c:v>41172</c:v>
                </c:pt>
                <c:pt idx="181">
                  <c:v>41173</c:v>
                </c:pt>
                <c:pt idx="182">
                  <c:v>41176</c:v>
                </c:pt>
                <c:pt idx="183">
                  <c:v>41177</c:v>
                </c:pt>
                <c:pt idx="184">
                  <c:v>41178</c:v>
                </c:pt>
                <c:pt idx="185">
                  <c:v>41179</c:v>
                </c:pt>
                <c:pt idx="186">
                  <c:v>41180</c:v>
                </c:pt>
                <c:pt idx="187">
                  <c:v>41183</c:v>
                </c:pt>
                <c:pt idx="188">
                  <c:v>41184</c:v>
                </c:pt>
                <c:pt idx="189">
                  <c:v>41185</c:v>
                </c:pt>
                <c:pt idx="190">
                  <c:v>41186</c:v>
                </c:pt>
                <c:pt idx="191">
                  <c:v>41187</c:v>
                </c:pt>
                <c:pt idx="192">
                  <c:v>41190</c:v>
                </c:pt>
                <c:pt idx="193">
                  <c:v>41191</c:v>
                </c:pt>
                <c:pt idx="194">
                  <c:v>41192</c:v>
                </c:pt>
                <c:pt idx="195">
                  <c:v>41193</c:v>
                </c:pt>
                <c:pt idx="196">
                  <c:v>41194</c:v>
                </c:pt>
                <c:pt idx="197">
                  <c:v>41197</c:v>
                </c:pt>
                <c:pt idx="198">
                  <c:v>41198</c:v>
                </c:pt>
                <c:pt idx="199">
                  <c:v>41199</c:v>
                </c:pt>
                <c:pt idx="200">
                  <c:v>41200</c:v>
                </c:pt>
                <c:pt idx="201">
                  <c:v>41201</c:v>
                </c:pt>
                <c:pt idx="202">
                  <c:v>41206</c:v>
                </c:pt>
                <c:pt idx="203">
                  <c:v>41207</c:v>
                </c:pt>
                <c:pt idx="204">
                  <c:v>41208</c:v>
                </c:pt>
                <c:pt idx="205">
                  <c:v>41211</c:v>
                </c:pt>
                <c:pt idx="206">
                  <c:v>41212</c:v>
                </c:pt>
                <c:pt idx="207">
                  <c:v>41213</c:v>
                </c:pt>
                <c:pt idx="208">
                  <c:v>41218</c:v>
                </c:pt>
                <c:pt idx="209">
                  <c:v>41219</c:v>
                </c:pt>
                <c:pt idx="210">
                  <c:v>41220</c:v>
                </c:pt>
                <c:pt idx="211">
                  <c:v>41221</c:v>
                </c:pt>
                <c:pt idx="212">
                  <c:v>41222</c:v>
                </c:pt>
                <c:pt idx="213">
                  <c:v>41225</c:v>
                </c:pt>
                <c:pt idx="214">
                  <c:v>41226</c:v>
                </c:pt>
                <c:pt idx="215">
                  <c:v>41227</c:v>
                </c:pt>
                <c:pt idx="216">
                  <c:v>41228</c:v>
                </c:pt>
                <c:pt idx="217">
                  <c:v>41229</c:v>
                </c:pt>
                <c:pt idx="218">
                  <c:v>41232</c:v>
                </c:pt>
                <c:pt idx="219">
                  <c:v>41233</c:v>
                </c:pt>
                <c:pt idx="220">
                  <c:v>41234</c:v>
                </c:pt>
                <c:pt idx="221">
                  <c:v>41235</c:v>
                </c:pt>
                <c:pt idx="222">
                  <c:v>41236</c:v>
                </c:pt>
                <c:pt idx="223">
                  <c:v>41239</c:v>
                </c:pt>
                <c:pt idx="224">
                  <c:v>41240</c:v>
                </c:pt>
                <c:pt idx="225">
                  <c:v>41241</c:v>
                </c:pt>
                <c:pt idx="226">
                  <c:v>41242</c:v>
                </c:pt>
                <c:pt idx="227">
                  <c:v>41243</c:v>
                </c:pt>
                <c:pt idx="228">
                  <c:v>41246</c:v>
                </c:pt>
                <c:pt idx="229">
                  <c:v>41247</c:v>
                </c:pt>
                <c:pt idx="230">
                  <c:v>41248</c:v>
                </c:pt>
                <c:pt idx="231">
                  <c:v>41249</c:v>
                </c:pt>
                <c:pt idx="232">
                  <c:v>41250</c:v>
                </c:pt>
                <c:pt idx="233">
                  <c:v>41253</c:v>
                </c:pt>
                <c:pt idx="234">
                  <c:v>41254</c:v>
                </c:pt>
                <c:pt idx="235">
                  <c:v>41255</c:v>
                </c:pt>
                <c:pt idx="236">
                  <c:v>41256</c:v>
                </c:pt>
                <c:pt idx="237">
                  <c:v>41257</c:v>
                </c:pt>
                <c:pt idx="238">
                  <c:v>41260</c:v>
                </c:pt>
                <c:pt idx="239">
                  <c:v>41261</c:v>
                </c:pt>
                <c:pt idx="240">
                  <c:v>41262</c:v>
                </c:pt>
                <c:pt idx="241">
                  <c:v>41263</c:v>
                </c:pt>
                <c:pt idx="242">
                  <c:v>41264</c:v>
                </c:pt>
                <c:pt idx="243">
                  <c:v>41270</c:v>
                </c:pt>
                <c:pt idx="244">
                  <c:v>41271</c:v>
                </c:pt>
                <c:pt idx="245">
                  <c:v>41276</c:v>
                </c:pt>
                <c:pt idx="246">
                  <c:v>41277</c:v>
                </c:pt>
                <c:pt idx="247">
                  <c:v>41278</c:v>
                </c:pt>
                <c:pt idx="248">
                  <c:v>41281</c:v>
                </c:pt>
                <c:pt idx="249">
                  <c:v>41282</c:v>
                </c:pt>
                <c:pt idx="250">
                  <c:v>41283</c:v>
                </c:pt>
                <c:pt idx="251">
                  <c:v>41284</c:v>
                </c:pt>
                <c:pt idx="252">
                  <c:v>41285</c:v>
                </c:pt>
                <c:pt idx="253">
                  <c:v>41288</c:v>
                </c:pt>
                <c:pt idx="254">
                  <c:v>41289</c:v>
                </c:pt>
                <c:pt idx="255">
                  <c:v>41290</c:v>
                </c:pt>
                <c:pt idx="256">
                  <c:v>41291</c:v>
                </c:pt>
                <c:pt idx="257">
                  <c:v>41292</c:v>
                </c:pt>
                <c:pt idx="258">
                  <c:v>41295</c:v>
                </c:pt>
                <c:pt idx="259">
                  <c:v>41296</c:v>
                </c:pt>
                <c:pt idx="260">
                  <c:v>41297</c:v>
                </c:pt>
                <c:pt idx="261">
                  <c:v>41298</c:v>
                </c:pt>
                <c:pt idx="262">
                  <c:v>41299</c:v>
                </c:pt>
                <c:pt idx="263">
                  <c:v>41302</c:v>
                </c:pt>
                <c:pt idx="264">
                  <c:v>41303</c:v>
                </c:pt>
                <c:pt idx="265">
                  <c:v>41304</c:v>
                </c:pt>
                <c:pt idx="266">
                  <c:v>41305</c:v>
                </c:pt>
                <c:pt idx="267">
                  <c:v>41306</c:v>
                </c:pt>
                <c:pt idx="268">
                  <c:v>41309</c:v>
                </c:pt>
                <c:pt idx="269">
                  <c:v>41310</c:v>
                </c:pt>
                <c:pt idx="270">
                  <c:v>41311</c:v>
                </c:pt>
                <c:pt idx="271">
                  <c:v>41312</c:v>
                </c:pt>
                <c:pt idx="272">
                  <c:v>41313</c:v>
                </c:pt>
                <c:pt idx="273">
                  <c:v>41316</c:v>
                </c:pt>
                <c:pt idx="274">
                  <c:v>41317</c:v>
                </c:pt>
                <c:pt idx="275">
                  <c:v>41318</c:v>
                </c:pt>
                <c:pt idx="276">
                  <c:v>41319</c:v>
                </c:pt>
                <c:pt idx="277">
                  <c:v>41320</c:v>
                </c:pt>
                <c:pt idx="278">
                  <c:v>41323</c:v>
                </c:pt>
                <c:pt idx="279">
                  <c:v>41324</c:v>
                </c:pt>
                <c:pt idx="280">
                  <c:v>41325</c:v>
                </c:pt>
                <c:pt idx="281">
                  <c:v>41326</c:v>
                </c:pt>
                <c:pt idx="282">
                  <c:v>41327</c:v>
                </c:pt>
                <c:pt idx="283">
                  <c:v>41330</c:v>
                </c:pt>
                <c:pt idx="284">
                  <c:v>41331</c:v>
                </c:pt>
                <c:pt idx="285">
                  <c:v>41332</c:v>
                </c:pt>
                <c:pt idx="286">
                  <c:v>41333</c:v>
                </c:pt>
                <c:pt idx="287">
                  <c:v>41334</c:v>
                </c:pt>
                <c:pt idx="288">
                  <c:v>41337</c:v>
                </c:pt>
                <c:pt idx="289">
                  <c:v>41338</c:v>
                </c:pt>
                <c:pt idx="290">
                  <c:v>41339</c:v>
                </c:pt>
                <c:pt idx="291">
                  <c:v>41340</c:v>
                </c:pt>
                <c:pt idx="292">
                  <c:v>41341</c:v>
                </c:pt>
                <c:pt idx="293">
                  <c:v>41344</c:v>
                </c:pt>
                <c:pt idx="294">
                  <c:v>41345</c:v>
                </c:pt>
                <c:pt idx="295">
                  <c:v>41346</c:v>
                </c:pt>
                <c:pt idx="296">
                  <c:v>41347</c:v>
                </c:pt>
                <c:pt idx="297">
                  <c:v>41351</c:v>
                </c:pt>
                <c:pt idx="298">
                  <c:v>41352</c:v>
                </c:pt>
                <c:pt idx="299">
                  <c:v>41353</c:v>
                </c:pt>
                <c:pt idx="300">
                  <c:v>41354</c:v>
                </c:pt>
                <c:pt idx="301">
                  <c:v>41355</c:v>
                </c:pt>
                <c:pt idx="302">
                  <c:v>41358</c:v>
                </c:pt>
                <c:pt idx="303">
                  <c:v>41359</c:v>
                </c:pt>
                <c:pt idx="304">
                  <c:v>41360</c:v>
                </c:pt>
                <c:pt idx="305">
                  <c:v>41361</c:v>
                </c:pt>
                <c:pt idx="306">
                  <c:v>41366</c:v>
                </c:pt>
                <c:pt idx="307">
                  <c:v>41367</c:v>
                </c:pt>
                <c:pt idx="308">
                  <c:v>41368</c:v>
                </c:pt>
                <c:pt idx="309">
                  <c:v>41369</c:v>
                </c:pt>
                <c:pt idx="310">
                  <c:v>41372</c:v>
                </c:pt>
                <c:pt idx="311">
                  <c:v>41373</c:v>
                </c:pt>
                <c:pt idx="312">
                  <c:v>41374</c:v>
                </c:pt>
                <c:pt idx="313">
                  <c:v>41375</c:v>
                </c:pt>
                <c:pt idx="314">
                  <c:v>41376</c:v>
                </c:pt>
                <c:pt idx="315">
                  <c:v>41379</c:v>
                </c:pt>
                <c:pt idx="316">
                  <c:v>41380</c:v>
                </c:pt>
                <c:pt idx="317">
                  <c:v>41381</c:v>
                </c:pt>
                <c:pt idx="318">
                  <c:v>41382</c:v>
                </c:pt>
                <c:pt idx="319">
                  <c:v>41383</c:v>
                </c:pt>
                <c:pt idx="320">
                  <c:v>41386</c:v>
                </c:pt>
                <c:pt idx="321">
                  <c:v>41387</c:v>
                </c:pt>
                <c:pt idx="322">
                  <c:v>41388</c:v>
                </c:pt>
                <c:pt idx="323">
                  <c:v>41389</c:v>
                </c:pt>
                <c:pt idx="324">
                  <c:v>41390</c:v>
                </c:pt>
                <c:pt idx="325">
                  <c:v>41393</c:v>
                </c:pt>
                <c:pt idx="326">
                  <c:v>41394</c:v>
                </c:pt>
                <c:pt idx="327">
                  <c:v>41396</c:v>
                </c:pt>
                <c:pt idx="328">
                  <c:v>41397</c:v>
                </c:pt>
                <c:pt idx="329">
                  <c:v>41400</c:v>
                </c:pt>
                <c:pt idx="330">
                  <c:v>41401</c:v>
                </c:pt>
                <c:pt idx="331">
                  <c:v>41402</c:v>
                </c:pt>
                <c:pt idx="332">
                  <c:v>41403</c:v>
                </c:pt>
                <c:pt idx="333">
                  <c:v>41404</c:v>
                </c:pt>
                <c:pt idx="334">
                  <c:v>41407</c:v>
                </c:pt>
                <c:pt idx="335">
                  <c:v>41408</c:v>
                </c:pt>
                <c:pt idx="336">
                  <c:v>41409</c:v>
                </c:pt>
                <c:pt idx="337">
                  <c:v>41410</c:v>
                </c:pt>
                <c:pt idx="338">
                  <c:v>41411</c:v>
                </c:pt>
                <c:pt idx="339">
                  <c:v>41415</c:v>
                </c:pt>
                <c:pt idx="340">
                  <c:v>41416</c:v>
                </c:pt>
                <c:pt idx="341">
                  <c:v>41417</c:v>
                </c:pt>
                <c:pt idx="342">
                  <c:v>41418</c:v>
                </c:pt>
                <c:pt idx="343">
                  <c:v>41421</c:v>
                </c:pt>
                <c:pt idx="344">
                  <c:v>41422</c:v>
                </c:pt>
                <c:pt idx="345">
                  <c:v>41423</c:v>
                </c:pt>
                <c:pt idx="346">
                  <c:v>41424</c:v>
                </c:pt>
                <c:pt idx="347">
                  <c:v>41425</c:v>
                </c:pt>
                <c:pt idx="348">
                  <c:v>41428</c:v>
                </c:pt>
                <c:pt idx="349">
                  <c:v>41429</c:v>
                </c:pt>
                <c:pt idx="350">
                  <c:v>41430</c:v>
                </c:pt>
                <c:pt idx="351">
                  <c:v>41431</c:v>
                </c:pt>
                <c:pt idx="352">
                  <c:v>41432</c:v>
                </c:pt>
                <c:pt idx="353">
                  <c:v>41435</c:v>
                </c:pt>
                <c:pt idx="354">
                  <c:v>41436</c:v>
                </c:pt>
                <c:pt idx="355">
                  <c:v>41437</c:v>
                </c:pt>
                <c:pt idx="356">
                  <c:v>41438</c:v>
                </c:pt>
                <c:pt idx="357">
                  <c:v>41439</c:v>
                </c:pt>
                <c:pt idx="358">
                  <c:v>41442</c:v>
                </c:pt>
                <c:pt idx="359">
                  <c:v>41443</c:v>
                </c:pt>
                <c:pt idx="360">
                  <c:v>41444</c:v>
                </c:pt>
                <c:pt idx="361">
                  <c:v>41445</c:v>
                </c:pt>
                <c:pt idx="362">
                  <c:v>41446</c:v>
                </c:pt>
                <c:pt idx="363">
                  <c:v>41449</c:v>
                </c:pt>
                <c:pt idx="364">
                  <c:v>41450</c:v>
                </c:pt>
                <c:pt idx="365">
                  <c:v>41451</c:v>
                </c:pt>
                <c:pt idx="366">
                  <c:v>41452</c:v>
                </c:pt>
                <c:pt idx="367">
                  <c:v>41453</c:v>
                </c:pt>
                <c:pt idx="368">
                  <c:v>41456</c:v>
                </c:pt>
                <c:pt idx="369">
                  <c:v>41457</c:v>
                </c:pt>
                <c:pt idx="370">
                  <c:v>41458</c:v>
                </c:pt>
                <c:pt idx="371">
                  <c:v>41459</c:v>
                </c:pt>
                <c:pt idx="372">
                  <c:v>41460</c:v>
                </c:pt>
                <c:pt idx="373">
                  <c:v>41463</c:v>
                </c:pt>
                <c:pt idx="374">
                  <c:v>41464</c:v>
                </c:pt>
                <c:pt idx="375">
                  <c:v>41465</c:v>
                </c:pt>
                <c:pt idx="376">
                  <c:v>41466</c:v>
                </c:pt>
                <c:pt idx="377">
                  <c:v>41467</c:v>
                </c:pt>
                <c:pt idx="378">
                  <c:v>41470</c:v>
                </c:pt>
                <c:pt idx="379">
                  <c:v>41471</c:v>
                </c:pt>
                <c:pt idx="380">
                  <c:v>41472</c:v>
                </c:pt>
                <c:pt idx="381">
                  <c:v>41473</c:v>
                </c:pt>
                <c:pt idx="382">
                  <c:v>41474</c:v>
                </c:pt>
                <c:pt idx="383">
                  <c:v>41477</c:v>
                </c:pt>
                <c:pt idx="384">
                  <c:v>41478</c:v>
                </c:pt>
                <c:pt idx="385">
                  <c:v>41479</c:v>
                </c:pt>
                <c:pt idx="386">
                  <c:v>41480</c:v>
                </c:pt>
                <c:pt idx="387">
                  <c:v>41481</c:v>
                </c:pt>
                <c:pt idx="388">
                  <c:v>41484</c:v>
                </c:pt>
                <c:pt idx="389">
                  <c:v>41485</c:v>
                </c:pt>
                <c:pt idx="390">
                  <c:v>41486</c:v>
                </c:pt>
                <c:pt idx="391">
                  <c:v>41487</c:v>
                </c:pt>
                <c:pt idx="392">
                  <c:v>41488</c:v>
                </c:pt>
                <c:pt idx="393">
                  <c:v>41491</c:v>
                </c:pt>
                <c:pt idx="394">
                  <c:v>41492</c:v>
                </c:pt>
                <c:pt idx="395">
                  <c:v>41493</c:v>
                </c:pt>
                <c:pt idx="396">
                  <c:v>41494</c:v>
                </c:pt>
                <c:pt idx="397">
                  <c:v>41495</c:v>
                </c:pt>
                <c:pt idx="398">
                  <c:v>41498</c:v>
                </c:pt>
                <c:pt idx="399">
                  <c:v>41499</c:v>
                </c:pt>
                <c:pt idx="400">
                  <c:v>41500</c:v>
                </c:pt>
                <c:pt idx="401">
                  <c:v>41501</c:v>
                </c:pt>
                <c:pt idx="402">
                  <c:v>41502</c:v>
                </c:pt>
                <c:pt idx="403">
                  <c:v>41505</c:v>
                </c:pt>
                <c:pt idx="404">
                  <c:v>41506</c:v>
                </c:pt>
                <c:pt idx="405">
                  <c:v>41507</c:v>
                </c:pt>
                <c:pt idx="406">
                  <c:v>41508</c:v>
                </c:pt>
                <c:pt idx="407">
                  <c:v>41509</c:v>
                </c:pt>
                <c:pt idx="408">
                  <c:v>41512</c:v>
                </c:pt>
                <c:pt idx="409">
                  <c:v>41513</c:v>
                </c:pt>
                <c:pt idx="410">
                  <c:v>41514</c:v>
                </c:pt>
                <c:pt idx="411">
                  <c:v>41515</c:v>
                </c:pt>
                <c:pt idx="412">
                  <c:v>41516</c:v>
                </c:pt>
                <c:pt idx="413">
                  <c:v>41519</c:v>
                </c:pt>
                <c:pt idx="414">
                  <c:v>41520</c:v>
                </c:pt>
                <c:pt idx="415">
                  <c:v>41521</c:v>
                </c:pt>
                <c:pt idx="416">
                  <c:v>41522</c:v>
                </c:pt>
                <c:pt idx="417">
                  <c:v>41523</c:v>
                </c:pt>
                <c:pt idx="418">
                  <c:v>41526</c:v>
                </c:pt>
                <c:pt idx="419">
                  <c:v>41527</c:v>
                </c:pt>
                <c:pt idx="420">
                  <c:v>41528</c:v>
                </c:pt>
                <c:pt idx="421">
                  <c:v>41529</c:v>
                </c:pt>
                <c:pt idx="422">
                  <c:v>41530</c:v>
                </c:pt>
                <c:pt idx="423">
                  <c:v>41533</c:v>
                </c:pt>
                <c:pt idx="424">
                  <c:v>41534</c:v>
                </c:pt>
                <c:pt idx="425">
                  <c:v>41535</c:v>
                </c:pt>
                <c:pt idx="426">
                  <c:v>41536</c:v>
                </c:pt>
                <c:pt idx="427">
                  <c:v>41537</c:v>
                </c:pt>
                <c:pt idx="428">
                  <c:v>41540</c:v>
                </c:pt>
                <c:pt idx="429">
                  <c:v>41541</c:v>
                </c:pt>
                <c:pt idx="430">
                  <c:v>41542</c:v>
                </c:pt>
                <c:pt idx="431">
                  <c:v>41543</c:v>
                </c:pt>
                <c:pt idx="432">
                  <c:v>41544</c:v>
                </c:pt>
                <c:pt idx="433">
                  <c:v>41547</c:v>
                </c:pt>
                <c:pt idx="434">
                  <c:v>41548</c:v>
                </c:pt>
                <c:pt idx="435">
                  <c:v>41549</c:v>
                </c:pt>
                <c:pt idx="436">
                  <c:v>41550</c:v>
                </c:pt>
                <c:pt idx="437">
                  <c:v>41551</c:v>
                </c:pt>
                <c:pt idx="438">
                  <c:v>41554</c:v>
                </c:pt>
                <c:pt idx="439">
                  <c:v>41555</c:v>
                </c:pt>
                <c:pt idx="440">
                  <c:v>41556</c:v>
                </c:pt>
                <c:pt idx="441">
                  <c:v>41557</c:v>
                </c:pt>
                <c:pt idx="442">
                  <c:v>41558</c:v>
                </c:pt>
                <c:pt idx="443">
                  <c:v>41561</c:v>
                </c:pt>
                <c:pt idx="444">
                  <c:v>41562</c:v>
                </c:pt>
                <c:pt idx="445">
                  <c:v>41563</c:v>
                </c:pt>
                <c:pt idx="446">
                  <c:v>41564</c:v>
                </c:pt>
                <c:pt idx="447">
                  <c:v>41565</c:v>
                </c:pt>
                <c:pt idx="448">
                  <c:v>41568</c:v>
                </c:pt>
                <c:pt idx="449">
                  <c:v>41569</c:v>
                </c:pt>
                <c:pt idx="450">
                  <c:v>41570</c:v>
                </c:pt>
                <c:pt idx="451">
                  <c:v>41571</c:v>
                </c:pt>
                <c:pt idx="452">
                  <c:v>41572</c:v>
                </c:pt>
                <c:pt idx="453">
                  <c:v>41575</c:v>
                </c:pt>
                <c:pt idx="454">
                  <c:v>41576</c:v>
                </c:pt>
                <c:pt idx="455">
                  <c:v>41577</c:v>
                </c:pt>
                <c:pt idx="456">
                  <c:v>41578</c:v>
                </c:pt>
                <c:pt idx="457">
                  <c:v>41579</c:v>
                </c:pt>
                <c:pt idx="458">
                  <c:v>41582</c:v>
                </c:pt>
                <c:pt idx="459">
                  <c:v>41583</c:v>
                </c:pt>
                <c:pt idx="460">
                  <c:v>41584</c:v>
                </c:pt>
                <c:pt idx="461">
                  <c:v>41585</c:v>
                </c:pt>
                <c:pt idx="462">
                  <c:v>41586</c:v>
                </c:pt>
                <c:pt idx="463">
                  <c:v>41589</c:v>
                </c:pt>
                <c:pt idx="464">
                  <c:v>41590</c:v>
                </c:pt>
                <c:pt idx="465">
                  <c:v>41591</c:v>
                </c:pt>
                <c:pt idx="466">
                  <c:v>41592</c:v>
                </c:pt>
                <c:pt idx="467">
                  <c:v>41593</c:v>
                </c:pt>
                <c:pt idx="468">
                  <c:v>41596</c:v>
                </c:pt>
                <c:pt idx="469">
                  <c:v>41597</c:v>
                </c:pt>
                <c:pt idx="470">
                  <c:v>41598</c:v>
                </c:pt>
                <c:pt idx="471">
                  <c:v>41599</c:v>
                </c:pt>
                <c:pt idx="472">
                  <c:v>41600</c:v>
                </c:pt>
                <c:pt idx="473">
                  <c:v>41603</c:v>
                </c:pt>
                <c:pt idx="474">
                  <c:v>41604</c:v>
                </c:pt>
                <c:pt idx="475">
                  <c:v>41605</c:v>
                </c:pt>
                <c:pt idx="476">
                  <c:v>41606</c:v>
                </c:pt>
                <c:pt idx="477">
                  <c:v>41607</c:v>
                </c:pt>
                <c:pt idx="478">
                  <c:v>41610</c:v>
                </c:pt>
                <c:pt idx="479">
                  <c:v>41611</c:v>
                </c:pt>
                <c:pt idx="480">
                  <c:v>41612</c:v>
                </c:pt>
                <c:pt idx="481">
                  <c:v>41613</c:v>
                </c:pt>
                <c:pt idx="482">
                  <c:v>41614</c:v>
                </c:pt>
                <c:pt idx="483">
                  <c:v>41617</c:v>
                </c:pt>
                <c:pt idx="484">
                  <c:v>41618</c:v>
                </c:pt>
                <c:pt idx="485">
                  <c:v>41619</c:v>
                </c:pt>
                <c:pt idx="486">
                  <c:v>41620</c:v>
                </c:pt>
                <c:pt idx="487">
                  <c:v>41621</c:v>
                </c:pt>
                <c:pt idx="488">
                  <c:v>41624</c:v>
                </c:pt>
                <c:pt idx="489">
                  <c:v>41625</c:v>
                </c:pt>
                <c:pt idx="490">
                  <c:v>41626</c:v>
                </c:pt>
                <c:pt idx="491">
                  <c:v>41627</c:v>
                </c:pt>
                <c:pt idx="492">
                  <c:v>41628</c:v>
                </c:pt>
                <c:pt idx="493">
                  <c:v>41631</c:v>
                </c:pt>
                <c:pt idx="494">
                  <c:v>41638</c:v>
                </c:pt>
                <c:pt idx="495">
                  <c:v>41639</c:v>
                </c:pt>
                <c:pt idx="496">
                  <c:v>41641</c:v>
                </c:pt>
                <c:pt idx="497">
                  <c:v>41642</c:v>
                </c:pt>
                <c:pt idx="498">
                  <c:v>41645</c:v>
                </c:pt>
                <c:pt idx="499">
                  <c:v>41646</c:v>
                </c:pt>
                <c:pt idx="500">
                  <c:v>41647</c:v>
                </c:pt>
                <c:pt idx="501">
                  <c:v>41648</c:v>
                </c:pt>
                <c:pt idx="502">
                  <c:v>41649</c:v>
                </c:pt>
                <c:pt idx="503">
                  <c:v>41652</c:v>
                </c:pt>
                <c:pt idx="504">
                  <c:v>41653</c:v>
                </c:pt>
                <c:pt idx="505">
                  <c:v>41654</c:v>
                </c:pt>
                <c:pt idx="506">
                  <c:v>41655</c:v>
                </c:pt>
                <c:pt idx="507">
                  <c:v>41656</c:v>
                </c:pt>
                <c:pt idx="508">
                  <c:v>41659</c:v>
                </c:pt>
                <c:pt idx="509">
                  <c:v>41660</c:v>
                </c:pt>
                <c:pt idx="510">
                  <c:v>41661</c:v>
                </c:pt>
                <c:pt idx="511">
                  <c:v>41662</c:v>
                </c:pt>
                <c:pt idx="512">
                  <c:v>41663</c:v>
                </c:pt>
                <c:pt idx="513">
                  <c:v>41666</c:v>
                </c:pt>
                <c:pt idx="514">
                  <c:v>41667</c:v>
                </c:pt>
                <c:pt idx="515">
                  <c:v>41668</c:v>
                </c:pt>
                <c:pt idx="516">
                  <c:v>41669</c:v>
                </c:pt>
                <c:pt idx="517">
                  <c:v>41670</c:v>
                </c:pt>
                <c:pt idx="518">
                  <c:v>41673</c:v>
                </c:pt>
                <c:pt idx="519">
                  <c:v>41674</c:v>
                </c:pt>
                <c:pt idx="520">
                  <c:v>41675</c:v>
                </c:pt>
                <c:pt idx="521">
                  <c:v>41676</c:v>
                </c:pt>
                <c:pt idx="522">
                  <c:v>41677</c:v>
                </c:pt>
                <c:pt idx="523">
                  <c:v>41680</c:v>
                </c:pt>
                <c:pt idx="524">
                  <c:v>41681</c:v>
                </c:pt>
                <c:pt idx="525">
                  <c:v>41682</c:v>
                </c:pt>
                <c:pt idx="526">
                  <c:v>41683</c:v>
                </c:pt>
                <c:pt idx="527">
                  <c:v>41684</c:v>
                </c:pt>
                <c:pt idx="528">
                  <c:v>41687</c:v>
                </c:pt>
                <c:pt idx="529">
                  <c:v>41688</c:v>
                </c:pt>
                <c:pt idx="530">
                  <c:v>41689</c:v>
                </c:pt>
                <c:pt idx="531">
                  <c:v>41690</c:v>
                </c:pt>
                <c:pt idx="532">
                  <c:v>41691</c:v>
                </c:pt>
                <c:pt idx="533">
                  <c:v>41694</c:v>
                </c:pt>
                <c:pt idx="534">
                  <c:v>41695</c:v>
                </c:pt>
                <c:pt idx="535">
                  <c:v>41696</c:v>
                </c:pt>
                <c:pt idx="536">
                  <c:v>41697</c:v>
                </c:pt>
                <c:pt idx="537">
                  <c:v>41698</c:v>
                </c:pt>
                <c:pt idx="538">
                  <c:v>41701</c:v>
                </c:pt>
                <c:pt idx="539">
                  <c:v>41702</c:v>
                </c:pt>
                <c:pt idx="540">
                  <c:v>41703</c:v>
                </c:pt>
                <c:pt idx="541">
                  <c:v>41704</c:v>
                </c:pt>
                <c:pt idx="542">
                  <c:v>41705</c:v>
                </c:pt>
                <c:pt idx="543">
                  <c:v>41708</c:v>
                </c:pt>
                <c:pt idx="544">
                  <c:v>41709</c:v>
                </c:pt>
                <c:pt idx="545">
                  <c:v>41710</c:v>
                </c:pt>
                <c:pt idx="546">
                  <c:v>41711</c:v>
                </c:pt>
                <c:pt idx="547">
                  <c:v>41712</c:v>
                </c:pt>
                <c:pt idx="548">
                  <c:v>41715</c:v>
                </c:pt>
                <c:pt idx="549">
                  <c:v>41716</c:v>
                </c:pt>
                <c:pt idx="550">
                  <c:v>41717</c:v>
                </c:pt>
                <c:pt idx="551">
                  <c:v>41718</c:v>
                </c:pt>
                <c:pt idx="552">
                  <c:v>41719</c:v>
                </c:pt>
                <c:pt idx="553">
                  <c:v>41722</c:v>
                </c:pt>
                <c:pt idx="554">
                  <c:v>41723</c:v>
                </c:pt>
                <c:pt idx="555">
                  <c:v>41724</c:v>
                </c:pt>
                <c:pt idx="556">
                  <c:v>41725</c:v>
                </c:pt>
                <c:pt idx="557">
                  <c:v>41726</c:v>
                </c:pt>
                <c:pt idx="558">
                  <c:v>41729</c:v>
                </c:pt>
                <c:pt idx="559">
                  <c:v>41730</c:v>
                </c:pt>
                <c:pt idx="560">
                  <c:v>41731</c:v>
                </c:pt>
                <c:pt idx="561">
                  <c:v>41732</c:v>
                </c:pt>
                <c:pt idx="562">
                  <c:v>41733</c:v>
                </c:pt>
                <c:pt idx="563">
                  <c:v>41736</c:v>
                </c:pt>
                <c:pt idx="564">
                  <c:v>41737</c:v>
                </c:pt>
                <c:pt idx="565">
                  <c:v>41738</c:v>
                </c:pt>
                <c:pt idx="566">
                  <c:v>41739</c:v>
                </c:pt>
                <c:pt idx="567">
                  <c:v>41740</c:v>
                </c:pt>
                <c:pt idx="568">
                  <c:v>41743</c:v>
                </c:pt>
                <c:pt idx="569">
                  <c:v>41744</c:v>
                </c:pt>
                <c:pt idx="570">
                  <c:v>41745</c:v>
                </c:pt>
                <c:pt idx="571">
                  <c:v>41746</c:v>
                </c:pt>
                <c:pt idx="572">
                  <c:v>41747</c:v>
                </c:pt>
                <c:pt idx="573">
                  <c:v>41750</c:v>
                </c:pt>
                <c:pt idx="574">
                  <c:v>41751</c:v>
                </c:pt>
                <c:pt idx="575">
                  <c:v>41752</c:v>
                </c:pt>
                <c:pt idx="576">
                  <c:v>41753</c:v>
                </c:pt>
                <c:pt idx="577">
                  <c:v>41754</c:v>
                </c:pt>
                <c:pt idx="578">
                  <c:v>41757</c:v>
                </c:pt>
                <c:pt idx="579">
                  <c:v>41758</c:v>
                </c:pt>
                <c:pt idx="580">
                  <c:v>41759</c:v>
                </c:pt>
                <c:pt idx="581">
                  <c:v>41760</c:v>
                </c:pt>
                <c:pt idx="582">
                  <c:v>41761</c:v>
                </c:pt>
                <c:pt idx="583">
                  <c:v>41764</c:v>
                </c:pt>
                <c:pt idx="584">
                  <c:v>41765</c:v>
                </c:pt>
                <c:pt idx="585">
                  <c:v>41766</c:v>
                </c:pt>
                <c:pt idx="586">
                  <c:v>41767</c:v>
                </c:pt>
                <c:pt idx="587">
                  <c:v>41768</c:v>
                </c:pt>
                <c:pt idx="588">
                  <c:v>41771</c:v>
                </c:pt>
                <c:pt idx="589">
                  <c:v>41772</c:v>
                </c:pt>
                <c:pt idx="590">
                  <c:v>41773</c:v>
                </c:pt>
                <c:pt idx="591">
                  <c:v>41774</c:v>
                </c:pt>
                <c:pt idx="592">
                  <c:v>41775</c:v>
                </c:pt>
                <c:pt idx="593">
                  <c:v>41778</c:v>
                </c:pt>
                <c:pt idx="594">
                  <c:v>41779</c:v>
                </c:pt>
                <c:pt idx="595">
                  <c:v>41780</c:v>
                </c:pt>
                <c:pt idx="596">
                  <c:v>41781</c:v>
                </c:pt>
                <c:pt idx="597">
                  <c:v>41782</c:v>
                </c:pt>
                <c:pt idx="598">
                  <c:v>41785</c:v>
                </c:pt>
                <c:pt idx="599">
                  <c:v>41786</c:v>
                </c:pt>
                <c:pt idx="600">
                  <c:v>41787</c:v>
                </c:pt>
                <c:pt idx="601">
                  <c:v>41788</c:v>
                </c:pt>
                <c:pt idx="602">
                  <c:v>41789</c:v>
                </c:pt>
                <c:pt idx="603">
                  <c:v>41792</c:v>
                </c:pt>
                <c:pt idx="604">
                  <c:v>41793</c:v>
                </c:pt>
                <c:pt idx="605">
                  <c:v>41794</c:v>
                </c:pt>
                <c:pt idx="606">
                  <c:v>41795</c:v>
                </c:pt>
                <c:pt idx="607">
                  <c:v>41796</c:v>
                </c:pt>
                <c:pt idx="608">
                  <c:v>41799</c:v>
                </c:pt>
                <c:pt idx="609">
                  <c:v>41800</c:v>
                </c:pt>
                <c:pt idx="610">
                  <c:v>41801</c:v>
                </c:pt>
                <c:pt idx="611">
                  <c:v>41802</c:v>
                </c:pt>
                <c:pt idx="612">
                  <c:v>41803</c:v>
                </c:pt>
                <c:pt idx="613">
                  <c:v>41806</c:v>
                </c:pt>
                <c:pt idx="614">
                  <c:v>41807</c:v>
                </c:pt>
                <c:pt idx="615">
                  <c:v>41808</c:v>
                </c:pt>
                <c:pt idx="616">
                  <c:v>41809</c:v>
                </c:pt>
                <c:pt idx="617">
                  <c:v>41810</c:v>
                </c:pt>
                <c:pt idx="618">
                  <c:v>41813</c:v>
                </c:pt>
                <c:pt idx="619">
                  <c:v>41814</c:v>
                </c:pt>
                <c:pt idx="620">
                  <c:v>41815</c:v>
                </c:pt>
                <c:pt idx="621">
                  <c:v>41816</c:v>
                </c:pt>
                <c:pt idx="622">
                  <c:v>41817</c:v>
                </c:pt>
                <c:pt idx="623">
                  <c:v>41820</c:v>
                </c:pt>
                <c:pt idx="624">
                  <c:v>41821</c:v>
                </c:pt>
                <c:pt idx="625">
                  <c:v>41822</c:v>
                </c:pt>
                <c:pt idx="626">
                  <c:v>41823</c:v>
                </c:pt>
                <c:pt idx="627">
                  <c:v>41824</c:v>
                </c:pt>
                <c:pt idx="628">
                  <c:v>41827</c:v>
                </c:pt>
                <c:pt idx="629">
                  <c:v>41828</c:v>
                </c:pt>
                <c:pt idx="630">
                  <c:v>41829</c:v>
                </c:pt>
                <c:pt idx="631">
                  <c:v>41830</c:v>
                </c:pt>
                <c:pt idx="632">
                  <c:v>41831</c:v>
                </c:pt>
                <c:pt idx="633">
                  <c:v>41834</c:v>
                </c:pt>
                <c:pt idx="634">
                  <c:v>41835</c:v>
                </c:pt>
                <c:pt idx="635">
                  <c:v>41836</c:v>
                </c:pt>
                <c:pt idx="636">
                  <c:v>41837</c:v>
                </c:pt>
                <c:pt idx="637">
                  <c:v>41838</c:v>
                </c:pt>
                <c:pt idx="638">
                  <c:v>41841</c:v>
                </c:pt>
                <c:pt idx="639">
                  <c:v>41842</c:v>
                </c:pt>
                <c:pt idx="640">
                  <c:v>41843</c:v>
                </c:pt>
                <c:pt idx="641">
                  <c:v>41844</c:v>
                </c:pt>
                <c:pt idx="642">
                  <c:v>41845</c:v>
                </c:pt>
                <c:pt idx="643">
                  <c:v>41848</c:v>
                </c:pt>
                <c:pt idx="644">
                  <c:v>41849</c:v>
                </c:pt>
                <c:pt idx="645">
                  <c:v>41850</c:v>
                </c:pt>
                <c:pt idx="646">
                  <c:v>41851</c:v>
                </c:pt>
                <c:pt idx="647">
                  <c:v>41852</c:v>
                </c:pt>
                <c:pt idx="648">
                  <c:v>41855</c:v>
                </c:pt>
                <c:pt idx="649">
                  <c:v>41856</c:v>
                </c:pt>
                <c:pt idx="650">
                  <c:v>41857</c:v>
                </c:pt>
                <c:pt idx="651">
                  <c:v>41858</c:v>
                </c:pt>
                <c:pt idx="652">
                  <c:v>41859</c:v>
                </c:pt>
                <c:pt idx="653">
                  <c:v>41862</c:v>
                </c:pt>
                <c:pt idx="654">
                  <c:v>41863</c:v>
                </c:pt>
                <c:pt idx="655">
                  <c:v>41864</c:v>
                </c:pt>
                <c:pt idx="656">
                  <c:v>41865</c:v>
                </c:pt>
                <c:pt idx="657">
                  <c:v>41866</c:v>
                </c:pt>
                <c:pt idx="658">
                  <c:v>41869</c:v>
                </c:pt>
                <c:pt idx="659">
                  <c:v>41870</c:v>
                </c:pt>
                <c:pt idx="660">
                  <c:v>41871</c:v>
                </c:pt>
                <c:pt idx="661">
                  <c:v>41872</c:v>
                </c:pt>
                <c:pt idx="662">
                  <c:v>41873</c:v>
                </c:pt>
                <c:pt idx="663">
                  <c:v>41876</c:v>
                </c:pt>
                <c:pt idx="664">
                  <c:v>41877</c:v>
                </c:pt>
                <c:pt idx="665">
                  <c:v>41878</c:v>
                </c:pt>
                <c:pt idx="666">
                  <c:v>41879</c:v>
                </c:pt>
                <c:pt idx="667">
                  <c:v>41880</c:v>
                </c:pt>
                <c:pt idx="668">
                  <c:v>41883</c:v>
                </c:pt>
                <c:pt idx="669">
                  <c:v>41884</c:v>
                </c:pt>
                <c:pt idx="670">
                  <c:v>41885</c:v>
                </c:pt>
                <c:pt idx="671">
                  <c:v>41886</c:v>
                </c:pt>
                <c:pt idx="672">
                  <c:v>41887</c:v>
                </c:pt>
                <c:pt idx="673">
                  <c:v>41890</c:v>
                </c:pt>
                <c:pt idx="674">
                  <c:v>41891</c:v>
                </c:pt>
                <c:pt idx="675">
                  <c:v>41892</c:v>
                </c:pt>
                <c:pt idx="676">
                  <c:v>41893</c:v>
                </c:pt>
                <c:pt idx="677">
                  <c:v>41894</c:v>
                </c:pt>
                <c:pt idx="678">
                  <c:v>41897</c:v>
                </c:pt>
                <c:pt idx="679">
                  <c:v>41898</c:v>
                </c:pt>
                <c:pt idx="680">
                  <c:v>41899</c:v>
                </c:pt>
                <c:pt idx="681">
                  <c:v>41900</c:v>
                </c:pt>
                <c:pt idx="682">
                  <c:v>41901</c:v>
                </c:pt>
                <c:pt idx="683">
                  <c:v>41904</c:v>
                </c:pt>
                <c:pt idx="684">
                  <c:v>41905</c:v>
                </c:pt>
                <c:pt idx="685">
                  <c:v>41906</c:v>
                </c:pt>
                <c:pt idx="686">
                  <c:v>41907</c:v>
                </c:pt>
                <c:pt idx="687">
                  <c:v>41908</c:v>
                </c:pt>
                <c:pt idx="688">
                  <c:v>41911</c:v>
                </c:pt>
                <c:pt idx="689">
                  <c:v>41912</c:v>
                </c:pt>
                <c:pt idx="690">
                  <c:v>41913</c:v>
                </c:pt>
                <c:pt idx="691">
                  <c:v>41914</c:v>
                </c:pt>
                <c:pt idx="692">
                  <c:v>41915</c:v>
                </c:pt>
                <c:pt idx="693">
                  <c:v>41918</c:v>
                </c:pt>
                <c:pt idx="694">
                  <c:v>41919</c:v>
                </c:pt>
                <c:pt idx="695">
                  <c:v>41920</c:v>
                </c:pt>
                <c:pt idx="696">
                  <c:v>41921</c:v>
                </c:pt>
                <c:pt idx="697">
                  <c:v>41922</c:v>
                </c:pt>
                <c:pt idx="698">
                  <c:v>41925</c:v>
                </c:pt>
                <c:pt idx="699">
                  <c:v>41926</c:v>
                </c:pt>
                <c:pt idx="700">
                  <c:v>41927</c:v>
                </c:pt>
                <c:pt idx="701">
                  <c:v>41928</c:v>
                </c:pt>
                <c:pt idx="702">
                  <c:v>41929</c:v>
                </c:pt>
                <c:pt idx="703">
                  <c:v>41932</c:v>
                </c:pt>
                <c:pt idx="704">
                  <c:v>41933</c:v>
                </c:pt>
                <c:pt idx="705">
                  <c:v>41934</c:v>
                </c:pt>
                <c:pt idx="706">
                  <c:v>41939</c:v>
                </c:pt>
                <c:pt idx="707">
                  <c:v>41940</c:v>
                </c:pt>
                <c:pt idx="708">
                  <c:v>41941</c:v>
                </c:pt>
                <c:pt idx="709">
                  <c:v>41942</c:v>
                </c:pt>
                <c:pt idx="710">
                  <c:v>41943</c:v>
                </c:pt>
                <c:pt idx="711">
                  <c:v>41946</c:v>
                </c:pt>
                <c:pt idx="712">
                  <c:v>41947</c:v>
                </c:pt>
                <c:pt idx="713">
                  <c:v>41948</c:v>
                </c:pt>
                <c:pt idx="714">
                  <c:v>41949</c:v>
                </c:pt>
                <c:pt idx="715">
                  <c:v>41950</c:v>
                </c:pt>
                <c:pt idx="716">
                  <c:v>41953</c:v>
                </c:pt>
                <c:pt idx="717">
                  <c:v>41954</c:v>
                </c:pt>
                <c:pt idx="718">
                  <c:v>41955</c:v>
                </c:pt>
                <c:pt idx="719">
                  <c:v>41956</c:v>
                </c:pt>
                <c:pt idx="720">
                  <c:v>41957</c:v>
                </c:pt>
                <c:pt idx="721">
                  <c:v>41960</c:v>
                </c:pt>
                <c:pt idx="722">
                  <c:v>41961</c:v>
                </c:pt>
                <c:pt idx="723">
                  <c:v>41962</c:v>
                </c:pt>
                <c:pt idx="724">
                  <c:v>41963</c:v>
                </c:pt>
                <c:pt idx="725">
                  <c:v>41964</c:v>
                </c:pt>
                <c:pt idx="726">
                  <c:v>41967</c:v>
                </c:pt>
                <c:pt idx="727">
                  <c:v>41968</c:v>
                </c:pt>
                <c:pt idx="728">
                  <c:v>41969</c:v>
                </c:pt>
                <c:pt idx="729">
                  <c:v>41970</c:v>
                </c:pt>
                <c:pt idx="730">
                  <c:v>41971</c:v>
                </c:pt>
                <c:pt idx="731">
                  <c:v>41974</c:v>
                </c:pt>
                <c:pt idx="732">
                  <c:v>41975</c:v>
                </c:pt>
                <c:pt idx="733">
                  <c:v>41976</c:v>
                </c:pt>
                <c:pt idx="734">
                  <c:v>41977</c:v>
                </c:pt>
                <c:pt idx="735">
                  <c:v>41978</c:v>
                </c:pt>
                <c:pt idx="736">
                  <c:v>41981</c:v>
                </c:pt>
                <c:pt idx="737">
                  <c:v>41982</c:v>
                </c:pt>
                <c:pt idx="738">
                  <c:v>41983</c:v>
                </c:pt>
                <c:pt idx="739">
                  <c:v>41984</c:v>
                </c:pt>
                <c:pt idx="740">
                  <c:v>41985</c:v>
                </c:pt>
                <c:pt idx="741">
                  <c:v>41988</c:v>
                </c:pt>
                <c:pt idx="742">
                  <c:v>41989</c:v>
                </c:pt>
                <c:pt idx="743">
                  <c:v>41990</c:v>
                </c:pt>
                <c:pt idx="744">
                  <c:v>41991</c:v>
                </c:pt>
                <c:pt idx="745">
                  <c:v>41992</c:v>
                </c:pt>
                <c:pt idx="746">
                  <c:v>41995</c:v>
                </c:pt>
                <c:pt idx="747">
                  <c:v>41996</c:v>
                </c:pt>
                <c:pt idx="748">
                  <c:v>42002</c:v>
                </c:pt>
                <c:pt idx="749">
                  <c:v>42003</c:v>
                </c:pt>
                <c:pt idx="750">
                  <c:v>42009</c:v>
                </c:pt>
                <c:pt idx="751">
                  <c:v>42010</c:v>
                </c:pt>
                <c:pt idx="752">
                  <c:v>42011</c:v>
                </c:pt>
                <c:pt idx="753">
                  <c:v>42012</c:v>
                </c:pt>
                <c:pt idx="754">
                  <c:v>42013</c:v>
                </c:pt>
                <c:pt idx="755">
                  <c:v>42016</c:v>
                </c:pt>
                <c:pt idx="756">
                  <c:v>42017</c:v>
                </c:pt>
                <c:pt idx="757">
                  <c:v>42018</c:v>
                </c:pt>
                <c:pt idx="758">
                  <c:v>42019</c:v>
                </c:pt>
                <c:pt idx="759">
                  <c:v>42020</c:v>
                </c:pt>
                <c:pt idx="760">
                  <c:v>42023</c:v>
                </c:pt>
                <c:pt idx="761">
                  <c:v>42024</c:v>
                </c:pt>
                <c:pt idx="762">
                  <c:v>42025</c:v>
                </c:pt>
                <c:pt idx="763">
                  <c:v>42026</c:v>
                </c:pt>
                <c:pt idx="764">
                  <c:v>42027</c:v>
                </c:pt>
                <c:pt idx="765">
                  <c:v>42030</c:v>
                </c:pt>
                <c:pt idx="766">
                  <c:v>42031</c:v>
                </c:pt>
                <c:pt idx="767">
                  <c:v>42032</c:v>
                </c:pt>
                <c:pt idx="768">
                  <c:v>42033</c:v>
                </c:pt>
                <c:pt idx="769">
                  <c:v>42034</c:v>
                </c:pt>
                <c:pt idx="770">
                  <c:v>42037</c:v>
                </c:pt>
                <c:pt idx="771">
                  <c:v>42038</c:v>
                </c:pt>
                <c:pt idx="772">
                  <c:v>42039</c:v>
                </c:pt>
                <c:pt idx="773">
                  <c:v>42040</c:v>
                </c:pt>
                <c:pt idx="774">
                  <c:v>42041</c:v>
                </c:pt>
                <c:pt idx="775">
                  <c:v>42044</c:v>
                </c:pt>
                <c:pt idx="776">
                  <c:v>42045</c:v>
                </c:pt>
                <c:pt idx="777">
                  <c:v>42046</c:v>
                </c:pt>
                <c:pt idx="778">
                  <c:v>42047</c:v>
                </c:pt>
                <c:pt idx="779">
                  <c:v>42048</c:v>
                </c:pt>
                <c:pt idx="780">
                  <c:v>42051</c:v>
                </c:pt>
                <c:pt idx="781">
                  <c:v>42052</c:v>
                </c:pt>
                <c:pt idx="782">
                  <c:v>42053</c:v>
                </c:pt>
                <c:pt idx="783">
                  <c:v>42054</c:v>
                </c:pt>
                <c:pt idx="784">
                  <c:v>42055</c:v>
                </c:pt>
                <c:pt idx="785">
                  <c:v>42058</c:v>
                </c:pt>
                <c:pt idx="786">
                  <c:v>42059</c:v>
                </c:pt>
                <c:pt idx="787">
                  <c:v>42060</c:v>
                </c:pt>
                <c:pt idx="788">
                  <c:v>42061</c:v>
                </c:pt>
                <c:pt idx="789">
                  <c:v>42062</c:v>
                </c:pt>
                <c:pt idx="790">
                  <c:v>42065</c:v>
                </c:pt>
                <c:pt idx="791">
                  <c:v>42066</c:v>
                </c:pt>
                <c:pt idx="792">
                  <c:v>42067</c:v>
                </c:pt>
                <c:pt idx="793">
                  <c:v>42068</c:v>
                </c:pt>
                <c:pt idx="794">
                  <c:v>42069</c:v>
                </c:pt>
                <c:pt idx="795">
                  <c:v>42072</c:v>
                </c:pt>
                <c:pt idx="796">
                  <c:v>42073</c:v>
                </c:pt>
                <c:pt idx="797">
                  <c:v>42074</c:v>
                </c:pt>
                <c:pt idx="798">
                  <c:v>42075</c:v>
                </c:pt>
                <c:pt idx="799">
                  <c:v>42076</c:v>
                </c:pt>
                <c:pt idx="800">
                  <c:v>42079</c:v>
                </c:pt>
                <c:pt idx="801">
                  <c:v>42080</c:v>
                </c:pt>
                <c:pt idx="802">
                  <c:v>42081</c:v>
                </c:pt>
                <c:pt idx="803">
                  <c:v>42082</c:v>
                </c:pt>
                <c:pt idx="804">
                  <c:v>42083</c:v>
                </c:pt>
                <c:pt idx="805">
                  <c:v>42086</c:v>
                </c:pt>
                <c:pt idx="806">
                  <c:v>42087</c:v>
                </c:pt>
                <c:pt idx="807">
                  <c:v>42088</c:v>
                </c:pt>
                <c:pt idx="808">
                  <c:v>42089</c:v>
                </c:pt>
                <c:pt idx="809">
                  <c:v>42090</c:v>
                </c:pt>
                <c:pt idx="810">
                  <c:v>42093</c:v>
                </c:pt>
                <c:pt idx="811">
                  <c:v>42094</c:v>
                </c:pt>
                <c:pt idx="812">
                  <c:v>42095</c:v>
                </c:pt>
                <c:pt idx="813">
                  <c:v>42096</c:v>
                </c:pt>
                <c:pt idx="814">
                  <c:v>42101</c:v>
                </c:pt>
                <c:pt idx="815">
                  <c:v>42102</c:v>
                </c:pt>
                <c:pt idx="816">
                  <c:v>42103</c:v>
                </c:pt>
                <c:pt idx="817">
                  <c:v>42104</c:v>
                </c:pt>
                <c:pt idx="818">
                  <c:v>42107</c:v>
                </c:pt>
                <c:pt idx="819">
                  <c:v>42108</c:v>
                </c:pt>
                <c:pt idx="820">
                  <c:v>42109</c:v>
                </c:pt>
                <c:pt idx="821">
                  <c:v>42110</c:v>
                </c:pt>
                <c:pt idx="822">
                  <c:v>42111</c:v>
                </c:pt>
                <c:pt idx="823">
                  <c:v>42114</c:v>
                </c:pt>
                <c:pt idx="824">
                  <c:v>42115</c:v>
                </c:pt>
                <c:pt idx="825">
                  <c:v>42116</c:v>
                </c:pt>
                <c:pt idx="826">
                  <c:v>42117</c:v>
                </c:pt>
                <c:pt idx="827">
                  <c:v>42118</c:v>
                </c:pt>
                <c:pt idx="828">
                  <c:v>42121</c:v>
                </c:pt>
                <c:pt idx="829">
                  <c:v>42122</c:v>
                </c:pt>
                <c:pt idx="830">
                  <c:v>42123</c:v>
                </c:pt>
                <c:pt idx="831">
                  <c:v>42124</c:v>
                </c:pt>
                <c:pt idx="832">
                  <c:v>42128</c:v>
                </c:pt>
                <c:pt idx="833">
                  <c:v>42129</c:v>
                </c:pt>
                <c:pt idx="834">
                  <c:v>42130</c:v>
                </c:pt>
                <c:pt idx="835">
                  <c:v>42131</c:v>
                </c:pt>
                <c:pt idx="836">
                  <c:v>42132</c:v>
                </c:pt>
                <c:pt idx="837">
                  <c:v>42135</c:v>
                </c:pt>
                <c:pt idx="838">
                  <c:v>42136</c:v>
                </c:pt>
                <c:pt idx="839">
                  <c:v>42137</c:v>
                </c:pt>
                <c:pt idx="840">
                  <c:v>42138</c:v>
                </c:pt>
                <c:pt idx="841">
                  <c:v>42139</c:v>
                </c:pt>
                <c:pt idx="842">
                  <c:v>42142</c:v>
                </c:pt>
                <c:pt idx="843">
                  <c:v>42143</c:v>
                </c:pt>
                <c:pt idx="844">
                  <c:v>42144</c:v>
                </c:pt>
                <c:pt idx="845">
                  <c:v>42145</c:v>
                </c:pt>
                <c:pt idx="846">
                  <c:v>42146</c:v>
                </c:pt>
                <c:pt idx="847">
                  <c:v>42150</c:v>
                </c:pt>
                <c:pt idx="848">
                  <c:v>42151</c:v>
                </c:pt>
                <c:pt idx="849">
                  <c:v>42152</c:v>
                </c:pt>
                <c:pt idx="850">
                  <c:v>42153</c:v>
                </c:pt>
                <c:pt idx="851">
                  <c:v>42156</c:v>
                </c:pt>
                <c:pt idx="852">
                  <c:v>42157</c:v>
                </c:pt>
                <c:pt idx="853">
                  <c:v>42158</c:v>
                </c:pt>
                <c:pt idx="854">
                  <c:v>42159</c:v>
                </c:pt>
                <c:pt idx="855">
                  <c:v>42160</c:v>
                </c:pt>
                <c:pt idx="856">
                  <c:v>42163</c:v>
                </c:pt>
                <c:pt idx="857">
                  <c:v>42164</c:v>
                </c:pt>
                <c:pt idx="858">
                  <c:v>42165</c:v>
                </c:pt>
                <c:pt idx="859">
                  <c:v>42166</c:v>
                </c:pt>
                <c:pt idx="860">
                  <c:v>42167</c:v>
                </c:pt>
                <c:pt idx="861">
                  <c:v>42170</c:v>
                </c:pt>
                <c:pt idx="862">
                  <c:v>42171</c:v>
                </c:pt>
                <c:pt idx="863">
                  <c:v>42172</c:v>
                </c:pt>
                <c:pt idx="864">
                  <c:v>42173</c:v>
                </c:pt>
                <c:pt idx="865">
                  <c:v>42174</c:v>
                </c:pt>
                <c:pt idx="866">
                  <c:v>42177</c:v>
                </c:pt>
                <c:pt idx="867">
                  <c:v>42178</c:v>
                </c:pt>
                <c:pt idx="868">
                  <c:v>42179</c:v>
                </c:pt>
                <c:pt idx="869">
                  <c:v>42180</c:v>
                </c:pt>
                <c:pt idx="870">
                  <c:v>42181</c:v>
                </c:pt>
                <c:pt idx="871">
                  <c:v>42184</c:v>
                </c:pt>
                <c:pt idx="872">
                  <c:v>42185</c:v>
                </c:pt>
                <c:pt idx="873">
                  <c:v>42186</c:v>
                </c:pt>
                <c:pt idx="874">
                  <c:v>42187</c:v>
                </c:pt>
                <c:pt idx="875">
                  <c:v>42188</c:v>
                </c:pt>
                <c:pt idx="876">
                  <c:v>42191</c:v>
                </c:pt>
                <c:pt idx="877">
                  <c:v>42192</c:v>
                </c:pt>
                <c:pt idx="878">
                  <c:v>42193</c:v>
                </c:pt>
                <c:pt idx="879">
                  <c:v>42194</c:v>
                </c:pt>
                <c:pt idx="880">
                  <c:v>42195</c:v>
                </c:pt>
                <c:pt idx="881">
                  <c:v>42198</c:v>
                </c:pt>
                <c:pt idx="882">
                  <c:v>42199</c:v>
                </c:pt>
                <c:pt idx="883">
                  <c:v>42200</c:v>
                </c:pt>
                <c:pt idx="884">
                  <c:v>42201</c:v>
                </c:pt>
                <c:pt idx="885">
                  <c:v>42202</c:v>
                </c:pt>
                <c:pt idx="886">
                  <c:v>42205</c:v>
                </c:pt>
                <c:pt idx="887">
                  <c:v>42206</c:v>
                </c:pt>
                <c:pt idx="888">
                  <c:v>42207</c:v>
                </c:pt>
                <c:pt idx="889">
                  <c:v>42208</c:v>
                </c:pt>
                <c:pt idx="890">
                  <c:v>42209</c:v>
                </c:pt>
              </c:numCache>
            </c:numRef>
          </c:cat>
          <c:val>
            <c:numRef>
              <c:f>yield_out!$G$1012:$G$1980</c:f>
              <c:numCache>
                <c:formatCode>#\ ##0.00\ </c:formatCode>
                <c:ptCount val="969"/>
                <c:pt idx="0">
                  <c:v>10.039999999999999</c:v>
                </c:pt>
                <c:pt idx="1">
                  <c:v>10.32</c:v>
                </c:pt>
                <c:pt idx="2">
                  <c:v>10.58</c:v>
                </c:pt>
                <c:pt idx="3">
                  <c:v>10.69</c:v>
                </c:pt>
                <c:pt idx="4">
                  <c:v>9.98</c:v>
                </c:pt>
                <c:pt idx="5">
                  <c:v>9.69</c:v>
                </c:pt>
                <c:pt idx="6">
                  <c:v>9.73</c:v>
                </c:pt>
                <c:pt idx="7">
                  <c:v>9.48</c:v>
                </c:pt>
                <c:pt idx="8">
                  <c:v>9.2899999999999991</c:v>
                </c:pt>
                <c:pt idx="9">
                  <c:v>9.48</c:v>
                </c:pt>
                <c:pt idx="10">
                  <c:v>9.6</c:v>
                </c:pt>
                <c:pt idx="11">
                  <c:v>9.7100000000000009</c:v>
                </c:pt>
                <c:pt idx="12">
                  <c:v>9.48</c:v>
                </c:pt>
                <c:pt idx="13">
                  <c:v>9.18</c:v>
                </c:pt>
                <c:pt idx="14">
                  <c:v>9.31</c:v>
                </c:pt>
                <c:pt idx="15">
                  <c:v>9.26</c:v>
                </c:pt>
                <c:pt idx="16">
                  <c:v>9.14</c:v>
                </c:pt>
                <c:pt idx="17">
                  <c:v>8.9</c:v>
                </c:pt>
                <c:pt idx="18">
                  <c:v>8.75</c:v>
                </c:pt>
                <c:pt idx="19">
                  <c:v>8.77</c:v>
                </c:pt>
                <c:pt idx="20">
                  <c:v>8.93</c:v>
                </c:pt>
                <c:pt idx="21">
                  <c:v>8.89</c:v>
                </c:pt>
                <c:pt idx="22">
                  <c:v>8.8800000000000008</c:v>
                </c:pt>
                <c:pt idx="23">
                  <c:v>8.7899999999999991</c:v>
                </c:pt>
                <c:pt idx="24">
                  <c:v>8.6999999999999993</c:v>
                </c:pt>
                <c:pt idx="25">
                  <c:v>8.6</c:v>
                </c:pt>
                <c:pt idx="26">
                  <c:v>8.5299999999999994</c:v>
                </c:pt>
                <c:pt idx="27">
                  <c:v>8.31</c:v>
                </c:pt>
                <c:pt idx="28">
                  <c:v>8.4499999999999993</c:v>
                </c:pt>
                <c:pt idx="29">
                  <c:v>8.65</c:v>
                </c:pt>
                <c:pt idx="30">
                  <c:v>8.5</c:v>
                </c:pt>
                <c:pt idx="31">
                  <c:v>8.61</c:v>
                </c:pt>
                <c:pt idx="32">
                  <c:v>8.27</c:v>
                </c:pt>
                <c:pt idx="33">
                  <c:v>8.5</c:v>
                </c:pt>
                <c:pt idx="34">
                  <c:v>8.42</c:v>
                </c:pt>
                <c:pt idx="35">
                  <c:v>8.3800000000000008</c:v>
                </c:pt>
                <c:pt idx="36">
                  <c:v>8.49</c:v>
                </c:pt>
                <c:pt idx="37">
                  <c:v>8.82</c:v>
                </c:pt>
                <c:pt idx="38">
                  <c:v>8.83</c:v>
                </c:pt>
                <c:pt idx="39">
                  <c:v>8.65</c:v>
                </c:pt>
                <c:pt idx="40">
                  <c:v>8.86</c:v>
                </c:pt>
                <c:pt idx="41">
                  <c:v>8.73</c:v>
                </c:pt>
                <c:pt idx="42">
                  <c:v>8.57</c:v>
                </c:pt>
                <c:pt idx="43">
                  <c:v>8.4</c:v>
                </c:pt>
                <c:pt idx="44">
                  <c:v>8.43</c:v>
                </c:pt>
                <c:pt idx="45">
                  <c:v>8.6</c:v>
                </c:pt>
                <c:pt idx="46">
                  <c:v>8.64</c:v>
                </c:pt>
                <c:pt idx="47">
                  <c:v>8.6999999999999993</c:v>
                </c:pt>
                <c:pt idx="48">
                  <c:v>8.6300000000000008</c:v>
                </c:pt>
                <c:pt idx="49">
                  <c:v>8.65</c:v>
                </c:pt>
                <c:pt idx="50">
                  <c:v>8.68</c:v>
                </c:pt>
                <c:pt idx="51">
                  <c:v>8.66</c:v>
                </c:pt>
                <c:pt idx="52">
                  <c:v>8.61</c:v>
                </c:pt>
                <c:pt idx="53">
                  <c:v>8.6199999999999992</c:v>
                </c:pt>
                <c:pt idx="54">
                  <c:v>8.69</c:v>
                </c:pt>
                <c:pt idx="55">
                  <c:v>8.73</c:v>
                </c:pt>
                <c:pt idx="56">
                  <c:v>8.8800000000000008</c:v>
                </c:pt>
                <c:pt idx="57">
                  <c:v>8.93</c:v>
                </c:pt>
                <c:pt idx="58">
                  <c:v>8.94</c:v>
                </c:pt>
                <c:pt idx="59">
                  <c:v>8.82</c:v>
                </c:pt>
                <c:pt idx="60">
                  <c:v>8.93</c:v>
                </c:pt>
                <c:pt idx="61">
                  <c:v>9.01</c:v>
                </c:pt>
                <c:pt idx="62">
                  <c:v>9.06</c:v>
                </c:pt>
                <c:pt idx="63">
                  <c:v>8.89</c:v>
                </c:pt>
                <c:pt idx="64">
                  <c:v>8.86</c:v>
                </c:pt>
                <c:pt idx="65">
                  <c:v>8.9700000000000006</c:v>
                </c:pt>
                <c:pt idx="66">
                  <c:v>9.0299999999999994</c:v>
                </c:pt>
                <c:pt idx="67">
                  <c:v>9.0399999999999991</c:v>
                </c:pt>
                <c:pt idx="68">
                  <c:v>8.9700000000000006</c:v>
                </c:pt>
                <c:pt idx="69">
                  <c:v>8.91</c:v>
                </c:pt>
                <c:pt idx="70">
                  <c:v>8.9700000000000006</c:v>
                </c:pt>
                <c:pt idx="71">
                  <c:v>8.98</c:v>
                </c:pt>
                <c:pt idx="72">
                  <c:v>8.9600000000000009</c:v>
                </c:pt>
                <c:pt idx="73">
                  <c:v>8.8800000000000008</c:v>
                </c:pt>
                <c:pt idx="74">
                  <c:v>8.8699999999999992</c:v>
                </c:pt>
                <c:pt idx="75">
                  <c:v>8.83</c:v>
                </c:pt>
                <c:pt idx="76">
                  <c:v>8.89</c:v>
                </c:pt>
                <c:pt idx="77">
                  <c:v>8.9</c:v>
                </c:pt>
                <c:pt idx="78">
                  <c:v>7.97</c:v>
                </c:pt>
                <c:pt idx="79">
                  <c:v>7.97</c:v>
                </c:pt>
                <c:pt idx="80">
                  <c:v>7.98</c:v>
                </c:pt>
                <c:pt idx="81">
                  <c:v>7.98</c:v>
                </c:pt>
                <c:pt idx="82">
                  <c:v>7.96</c:v>
                </c:pt>
                <c:pt idx="83">
                  <c:v>7.99</c:v>
                </c:pt>
                <c:pt idx="84">
                  <c:v>8.1</c:v>
                </c:pt>
                <c:pt idx="85">
                  <c:v>8.08</c:v>
                </c:pt>
                <c:pt idx="86">
                  <c:v>8.19</c:v>
                </c:pt>
                <c:pt idx="87">
                  <c:v>8.1999999999999993</c:v>
                </c:pt>
                <c:pt idx="88">
                  <c:v>8.1999999999999993</c:v>
                </c:pt>
                <c:pt idx="89">
                  <c:v>8.24</c:v>
                </c:pt>
                <c:pt idx="90">
                  <c:v>8.2200000000000006</c:v>
                </c:pt>
                <c:pt idx="91">
                  <c:v>8.43</c:v>
                </c:pt>
                <c:pt idx="92">
                  <c:v>8.49</c:v>
                </c:pt>
                <c:pt idx="93">
                  <c:v>8.5399999999999991</c:v>
                </c:pt>
                <c:pt idx="94">
                  <c:v>8.4700000000000006</c:v>
                </c:pt>
                <c:pt idx="95">
                  <c:v>8.41</c:v>
                </c:pt>
                <c:pt idx="96">
                  <c:v>8.6199999999999992</c:v>
                </c:pt>
                <c:pt idx="97">
                  <c:v>8.5399999999999991</c:v>
                </c:pt>
                <c:pt idx="98">
                  <c:v>8.48</c:v>
                </c:pt>
                <c:pt idx="99">
                  <c:v>8.4700000000000006</c:v>
                </c:pt>
                <c:pt idx="100">
                  <c:v>8.5299999999999994</c:v>
                </c:pt>
                <c:pt idx="101">
                  <c:v>8.7100000000000009</c:v>
                </c:pt>
                <c:pt idx="102">
                  <c:v>8.9499999999999993</c:v>
                </c:pt>
                <c:pt idx="103">
                  <c:v>8.86</c:v>
                </c:pt>
                <c:pt idx="104">
                  <c:v>8.83</c:v>
                </c:pt>
                <c:pt idx="105">
                  <c:v>8.73</c:v>
                </c:pt>
                <c:pt idx="106">
                  <c:v>8.2799999999999994</c:v>
                </c:pt>
                <c:pt idx="107">
                  <c:v>8.3699999999999992</c:v>
                </c:pt>
                <c:pt idx="108">
                  <c:v>8.43</c:v>
                </c:pt>
                <c:pt idx="109">
                  <c:v>8.4600000000000009</c:v>
                </c:pt>
                <c:pt idx="110">
                  <c:v>8.49</c:v>
                </c:pt>
                <c:pt idx="111">
                  <c:v>8.51</c:v>
                </c:pt>
                <c:pt idx="112">
                  <c:v>8.4499999999999993</c:v>
                </c:pt>
                <c:pt idx="113">
                  <c:v>8.19</c:v>
                </c:pt>
                <c:pt idx="114">
                  <c:v>8.08</c:v>
                </c:pt>
                <c:pt idx="115">
                  <c:v>8.0500000000000007</c:v>
                </c:pt>
                <c:pt idx="116">
                  <c:v>7.93</c:v>
                </c:pt>
                <c:pt idx="117">
                  <c:v>8.01</c:v>
                </c:pt>
                <c:pt idx="118">
                  <c:v>8.02</c:v>
                </c:pt>
                <c:pt idx="119">
                  <c:v>7.97</c:v>
                </c:pt>
                <c:pt idx="120">
                  <c:v>8</c:v>
                </c:pt>
                <c:pt idx="121">
                  <c:v>7.87</c:v>
                </c:pt>
                <c:pt idx="122">
                  <c:v>7.9</c:v>
                </c:pt>
                <c:pt idx="123">
                  <c:v>7.8</c:v>
                </c:pt>
                <c:pt idx="124">
                  <c:v>7.82</c:v>
                </c:pt>
                <c:pt idx="125">
                  <c:v>7.75</c:v>
                </c:pt>
                <c:pt idx="126">
                  <c:v>7.75</c:v>
                </c:pt>
                <c:pt idx="127">
                  <c:v>7.85</c:v>
                </c:pt>
                <c:pt idx="128">
                  <c:v>7.9</c:v>
                </c:pt>
                <c:pt idx="129">
                  <c:v>7.89</c:v>
                </c:pt>
                <c:pt idx="130">
                  <c:v>7.91</c:v>
                </c:pt>
                <c:pt idx="131">
                  <c:v>7.85</c:v>
                </c:pt>
                <c:pt idx="132">
                  <c:v>7.62</c:v>
                </c:pt>
                <c:pt idx="133">
                  <c:v>7.31</c:v>
                </c:pt>
                <c:pt idx="134">
                  <c:v>7.25</c:v>
                </c:pt>
                <c:pt idx="135">
                  <c:v>7.34</c:v>
                </c:pt>
                <c:pt idx="136">
                  <c:v>7.13</c:v>
                </c:pt>
                <c:pt idx="137">
                  <c:v>7.18</c:v>
                </c:pt>
                <c:pt idx="138">
                  <c:v>7.3</c:v>
                </c:pt>
                <c:pt idx="139">
                  <c:v>7.32</c:v>
                </c:pt>
                <c:pt idx="140">
                  <c:v>7.64</c:v>
                </c:pt>
                <c:pt idx="141">
                  <c:v>7.6</c:v>
                </c:pt>
                <c:pt idx="142">
                  <c:v>7.47</c:v>
                </c:pt>
                <c:pt idx="143">
                  <c:v>7.36</c:v>
                </c:pt>
                <c:pt idx="144">
                  <c:v>7.37</c:v>
                </c:pt>
                <c:pt idx="145">
                  <c:v>7.4</c:v>
                </c:pt>
                <c:pt idx="146">
                  <c:v>7.39</c:v>
                </c:pt>
                <c:pt idx="147">
                  <c:v>7.42</c:v>
                </c:pt>
                <c:pt idx="148">
                  <c:v>7.29</c:v>
                </c:pt>
                <c:pt idx="149">
                  <c:v>7.31</c:v>
                </c:pt>
                <c:pt idx="150">
                  <c:v>7.42</c:v>
                </c:pt>
                <c:pt idx="151">
                  <c:v>7.3</c:v>
                </c:pt>
                <c:pt idx="152">
                  <c:v>7.36</c:v>
                </c:pt>
                <c:pt idx="153">
                  <c:v>7.37</c:v>
                </c:pt>
                <c:pt idx="154">
                  <c:v>7.39</c:v>
                </c:pt>
                <c:pt idx="155">
                  <c:v>7.38</c:v>
                </c:pt>
                <c:pt idx="156">
                  <c:v>7.39</c:v>
                </c:pt>
                <c:pt idx="157">
                  <c:v>7.39</c:v>
                </c:pt>
                <c:pt idx="158">
                  <c:v>7.35</c:v>
                </c:pt>
                <c:pt idx="159">
                  <c:v>7.36</c:v>
                </c:pt>
                <c:pt idx="160">
                  <c:v>7.31</c:v>
                </c:pt>
                <c:pt idx="161">
                  <c:v>7.36</c:v>
                </c:pt>
                <c:pt idx="162">
                  <c:v>7.37</c:v>
                </c:pt>
                <c:pt idx="163">
                  <c:v>7.4</c:v>
                </c:pt>
                <c:pt idx="164">
                  <c:v>7.4</c:v>
                </c:pt>
                <c:pt idx="165">
                  <c:v>7.4</c:v>
                </c:pt>
                <c:pt idx="166">
                  <c:v>7.25</c:v>
                </c:pt>
                <c:pt idx="167">
                  <c:v>7.28</c:v>
                </c:pt>
                <c:pt idx="168">
                  <c:v>7.27</c:v>
                </c:pt>
                <c:pt idx="169">
                  <c:v>7.33</c:v>
                </c:pt>
                <c:pt idx="170">
                  <c:v>7.35</c:v>
                </c:pt>
                <c:pt idx="171">
                  <c:v>7.47</c:v>
                </c:pt>
                <c:pt idx="172">
                  <c:v>7.37</c:v>
                </c:pt>
                <c:pt idx="173">
                  <c:v>7.35</c:v>
                </c:pt>
                <c:pt idx="174">
                  <c:v>7.27</c:v>
                </c:pt>
                <c:pt idx="175">
                  <c:v>7.29</c:v>
                </c:pt>
                <c:pt idx="176">
                  <c:v>7.16</c:v>
                </c:pt>
                <c:pt idx="177">
                  <c:v>7.24</c:v>
                </c:pt>
                <c:pt idx="178">
                  <c:v>7.28</c:v>
                </c:pt>
                <c:pt idx="179">
                  <c:v>7.27</c:v>
                </c:pt>
                <c:pt idx="180">
                  <c:v>7.29</c:v>
                </c:pt>
                <c:pt idx="181">
                  <c:v>7.25</c:v>
                </c:pt>
                <c:pt idx="182">
                  <c:v>7.24</c:v>
                </c:pt>
                <c:pt idx="183">
                  <c:v>7.18</c:v>
                </c:pt>
                <c:pt idx="184">
                  <c:v>7.24</c:v>
                </c:pt>
                <c:pt idx="185">
                  <c:v>7.26</c:v>
                </c:pt>
                <c:pt idx="186">
                  <c:v>7.24</c:v>
                </c:pt>
                <c:pt idx="187">
                  <c:v>7.31</c:v>
                </c:pt>
                <c:pt idx="188">
                  <c:v>7.36</c:v>
                </c:pt>
                <c:pt idx="189">
                  <c:v>7.37</c:v>
                </c:pt>
                <c:pt idx="190">
                  <c:v>7.39</c:v>
                </c:pt>
                <c:pt idx="191">
                  <c:v>7.26</c:v>
                </c:pt>
                <c:pt idx="192">
                  <c:v>7.2</c:v>
                </c:pt>
                <c:pt idx="193">
                  <c:v>7.17</c:v>
                </c:pt>
                <c:pt idx="194">
                  <c:v>7.15</c:v>
                </c:pt>
                <c:pt idx="195">
                  <c:v>7.07</c:v>
                </c:pt>
                <c:pt idx="196">
                  <c:v>6.8</c:v>
                </c:pt>
                <c:pt idx="197">
                  <c:v>6.69</c:v>
                </c:pt>
                <c:pt idx="198">
                  <c:v>6.49</c:v>
                </c:pt>
                <c:pt idx="199">
                  <c:v>6.68</c:v>
                </c:pt>
                <c:pt idx="200">
                  <c:v>6.51</c:v>
                </c:pt>
                <c:pt idx="201">
                  <c:v>6.6</c:v>
                </c:pt>
                <c:pt idx="202">
                  <c:v>6.55</c:v>
                </c:pt>
                <c:pt idx="203">
                  <c:v>6.56</c:v>
                </c:pt>
                <c:pt idx="204">
                  <c:v>6.75</c:v>
                </c:pt>
                <c:pt idx="205">
                  <c:v>7.12</c:v>
                </c:pt>
                <c:pt idx="206">
                  <c:v>6.92</c:v>
                </c:pt>
                <c:pt idx="207">
                  <c:v>6.88</c:v>
                </c:pt>
                <c:pt idx="208">
                  <c:v>6.87</c:v>
                </c:pt>
                <c:pt idx="209">
                  <c:v>6.86</c:v>
                </c:pt>
                <c:pt idx="210">
                  <c:v>6.8</c:v>
                </c:pt>
                <c:pt idx="211">
                  <c:v>6.95</c:v>
                </c:pt>
                <c:pt idx="212">
                  <c:v>6.91</c:v>
                </c:pt>
                <c:pt idx="213">
                  <c:v>6.85</c:v>
                </c:pt>
                <c:pt idx="214">
                  <c:v>6.89</c:v>
                </c:pt>
                <c:pt idx="215">
                  <c:v>6.83</c:v>
                </c:pt>
                <c:pt idx="216">
                  <c:v>6.81</c:v>
                </c:pt>
                <c:pt idx="217">
                  <c:v>6.81</c:v>
                </c:pt>
                <c:pt idx="218">
                  <c:v>6.84</c:v>
                </c:pt>
                <c:pt idx="219">
                  <c:v>6.82</c:v>
                </c:pt>
                <c:pt idx="220">
                  <c:v>6.9</c:v>
                </c:pt>
                <c:pt idx="221">
                  <c:v>6.88</c:v>
                </c:pt>
                <c:pt idx="222">
                  <c:v>6.86</c:v>
                </c:pt>
                <c:pt idx="223">
                  <c:v>6.93</c:v>
                </c:pt>
                <c:pt idx="224">
                  <c:v>6.91</c:v>
                </c:pt>
                <c:pt idx="225">
                  <c:v>6.91</c:v>
                </c:pt>
                <c:pt idx="226">
                  <c:v>6.86</c:v>
                </c:pt>
                <c:pt idx="227">
                  <c:v>6.82</c:v>
                </c:pt>
                <c:pt idx="228">
                  <c:v>6.82</c:v>
                </c:pt>
                <c:pt idx="229">
                  <c:v>6.84</c:v>
                </c:pt>
                <c:pt idx="230">
                  <c:v>6.8</c:v>
                </c:pt>
                <c:pt idx="231">
                  <c:v>6.75</c:v>
                </c:pt>
                <c:pt idx="232">
                  <c:v>6.69</c:v>
                </c:pt>
                <c:pt idx="233">
                  <c:v>6.55</c:v>
                </c:pt>
                <c:pt idx="234">
                  <c:v>6.27</c:v>
                </c:pt>
                <c:pt idx="235">
                  <c:v>6.39</c:v>
                </c:pt>
                <c:pt idx="236">
                  <c:v>6.34</c:v>
                </c:pt>
                <c:pt idx="237">
                  <c:v>6.39</c:v>
                </c:pt>
                <c:pt idx="238">
                  <c:v>6.4</c:v>
                </c:pt>
                <c:pt idx="239">
                  <c:v>6.44</c:v>
                </c:pt>
                <c:pt idx="240">
                  <c:v>6.33</c:v>
                </c:pt>
                <c:pt idx="241">
                  <c:v>6.16</c:v>
                </c:pt>
                <c:pt idx="242">
                  <c:v>6.1</c:v>
                </c:pt>
                <c:pt idx="243">
                  <c:v>6.12</c:v>
                </c:pt>
                <c:pt idx="244">
                  <c:v>6.11</c:v>
                </c:pt>
                <c:pt idx="245">
                  <c:v>6.08</c:v>
                </c:pt>
                <c:pt idx="246">
                  <c:v>5.93</c:v>
                </c:pt>
                <c:pt idx="247">
                  <c:v>6.33</c:v>
                </c:pt>
                <c:pt idx="248">
                  <c:v>6.15</c:v>
                </c:pt>
                <c:pt idx="249">
                  <c:v>6.13</c:v>
                </c:pt>
                <c:pt idx="250">
                  <c:v>6.12</c:v>
                </c:pt>
                <c:pt idx="251">
                  <c:v>6.05</c:v>
                </c:pt>
                <c:pt idx="252">
                  <c:v>6.22</c:v>
                </c:pt>
                <c:pt idx="253">
                  <c:v>6.17</c:v>
                </c:pt>
                <c:pt idx="254">
                  <c:v>6.1</c:v>
                </c:pt>
                <c:pt idx="255">
                  <c:v>6.17</c:v>
                </c:pt>
                <c:pt idx="256">
                  <c:v>6.19</c:v>
                </c:pt>
                <c:pt idx="257">
                  <c:v>6.22</c:v>
                </c:pt>
                <c:pt idx="258">
                  <c:v>6.24</c:v>
                </c:pt>
                <c:pt idx="259">
                  <c:v>6.29</c:v>
                </c:pt>
                <c:pt idx="260">
                  <c:v>6.3</c:v>
                </c:pt>
                <c:pt idx="261">
                  <c:v>6.27</c:v>
                </c:pt>
                <c:pt idx="262">
                  <c:v>6.41</c:v>
                </c:pt>
                <c:pt idx="263">
                  <c:v>6.44</c:v>
                </c:pt>
                <c:pt idx="264">
                  <c:v>6.42</c:v>
                </c:pt>
                <c:pt idx="265">
                  <c:v>6.4</c:v>
                </c:pt>
                <c:pt idx="266">
                  <c:v>6.34</c:v>
                </c:pt>
                <c:pt idx="267">
                  <c:v>6.34</c:v>
                </c:pt>
                <c:pt idx="268">
                  <c:v>6.31</c:v>
                </c:pt>
                <c:pt idx="269">
                  <c:v>6.38</c:v>
                </c:pt>
                <c:pt idx="270">
                  <c:v>6.46</c:v>
                </c:pt>
                <c:pt idx="271">
                  <c:v>6.46</c:v>
                </c:pt>
                <c:pt idx="272">
                  <c:v>6.43</c:v>
                </c:pt>
                <c:pt idx="273">
                  <c:v>6.37</c:v>
                </c:pt>
                <c:pt idx="274">
                  <c:v>6.35</c:v>
                </c:pt>
                <c:pt idx="275">
                  <c:v>6.28</c:v>
                </c:pt>
                <c:pt idx="276">
                  <c:v>6.28</c:v>
                </c:pt>
                <c:pt idx="277">
                  <c:v>6.32</c:v>
                </c:pt>
                <c:pt idx="278">
                  <c:v>6.26</c:v>
                </c:pt>
                <c:pt idx="279">
                  <c:v>6.05</c:v>
                </c:pt>
                <c:pt idx="280">
                  <c:v>6.19</c:v>
                </c:pt>
                <c:pt idx="281">
                  <c:v>6.22</c:v>
                </c:pt>
                <c:pt idx="282">
                  <c:v>6.19</c:v>
                </c:pt>
                <c:pt idx="283">
                  <c:v>6.19</c:v>
                </c:pt>
                <c:pt idx="284">
                  <c:v>6.24</c:v>
                </c:pt>
                <c:pt idx="285">
                  <c:v>6.26</c:v>
                </c:pt>
                <c:pt idx="286">
                  <c:v>6.25</c:v>
                </c:pt>
                <c:pt idx="287">
                  <c:v>6.14</c:v>
                </c:pt>
                <c:pt idx="288">
                  <c:v>6.2</c:v>
                </c:pt>
                <c:pt idx="289">
                  <c:v>6.31</c:v>
                </c:pt>
                <c:pt idx="290">
                  <c:v>6.3</c:v>
                </c:pt>
                <c:pt idx="291">
                  <c:v>6.33</c:v>
                </c:pt>
                <c:pt idx="292">
                  <c:v>6.33</c:v>
                </c:pt>
                <c:pt idx="293">
                  <c:v>6.41</c:v>
                </c:pt>
                <c:pt idx="294">
                  <c:v>6.42</c:v>
                </c:pt>
                <c:pt idx="295">
                  <c:v>6.52</c:v>
                </c:pt>
                <c:pt idx="296">
                  <c:v>6.5</c:v>
                </c:pt>
                <c:pt idx="297">
                  <c:v>6.53</c:v>
                </c:pt>
                <c:pt idx="298">
                  <c:v>6.49</c:v>
                </c:pt>
                <c:pt idx="299">
                  <c:v>6.47</c:v>
                </c:pt>
                <c:pt idx="300">
                  <c:v>6.43</c:v>
                </c:pt>
                <c:pt idx="301">
                  <c:v>6.51</c:v>
                </c:pt>
                <c:pt idx="302">
                  <c:v>6.45</c:v>
                </c:pt>
                <c:pt idx="303">
                  <c:v>6.38</c:v>
                </c:pt>
                <c:pt idx="304">
                  <c:v>6.27</c:v>
                </c:pt>
                <c:pt idx="305">
                  <c:v>6.27</c:v>
                </c:pt>
                <c:pt idx="306">
                  <c:v>6.23</c:v>
                </c:pt>
                <c:pt idx="307">
                  <c:v>6.11</c:v>
                </c:pt>
                <c:pt idx="308">
                  <c:v>5.99</c:v>
                </c:pt>
                <c:pt idx="309">
                  <c:v>6.02</c:v>
                </c:pt>
                <c:pt idx="310">
                  <c:v>5.83</c:v>
                </c:pt>
                <c:pt idx="311">
                  <c:v>5.8</c:v>
                </c:pt>
                <c:pt idx="312">
                  <c:v>5.79</c:v>
                </c:pt>
                <c:pt idx="313">
                  <c:v>5.75</c:v>
                </c:pt>
                <c:pt idx="314">
                  <c:v>5.68</c:v>
                </c:pt>
                <c:pt idx="315">
                  <c:v>5.56</c:v>
                </c:pt>
                <c:pt idx="316">
                  <c:v>5.53</c:v>
                </c:pt>
                <c:pt idx="317">
                  <c:v>5.56</c:v>
                </c:pt>
                <c:pt idx="318">
                  <c:v>5.53</c:v>
                </c:pt>
                <c:pt idx="319">
                  <c:v>5.49</c:v>
                </c:pt>
                <c:pt idx="320">
                  <c:v>5.5</c:v>
                </c:pt>
                <c:pt idx="321">
                  <c:v>5.33</c:v>
                </c:pt>
                <c:pt idx="322">
                  <c:v>5.31</c:v>
                </c:pt>
                <c:pt idx="323">
                  <c:v>5.37</c:v>
                </c:pt>
                <c:pt idx="324">
                  <c:v>5.49</c:v>
                </c:pt>
                <c:pt idx="325">
                  <c:v>5.42</c:v>
                </c:pt>
                <c:pt idx="326">
                  <c:v>5.32</c:v>
                </c:pt>
                <c:pt idx="327">
                  <c:v>5.19</c:v>
                </c:pt>
                <c:pt idx="328">
                  <c:v>4.95</c:v>
                </c:pt>
                <c:pt idx="329">
                  <c:v>5.03</c:v>
                </c:pt>
                <c:pt idx="330">
                  <c:v>5.04</c:v>
                </c:pt>
                <c:pt idx="331">
                  <c:v>4.9800000000000004</c:v>
                </c:pt>
                <c:pt idx="332">
                  <c:v>4.9400000000000004</c:v>
                </c:pt>
                <c:pt idx="333">
                  <c:v>5.09</c:v>
                </c:pt>
                <c:pt idx="334">
                  <c:v>5.09</c:v>
                </c:pt>
                <c:pt idx="335">
                  <c:v>5.1100000000000003</c:v>
                </c:pt>
                <c:pt idx="336">
                  <c:v>4.97</c:v>
                </c:pt>
                <c:pt idx="337">
                  <c:v>4.8899999999999997</c:v>
                </c:pt>
                <c:pt idx="338">
                  <c:v>4.88</c:v>
                </c:pt>
                <c:pt idx="339">
                  <c:v>4.9800000000000004</c:v>
                </c:pt>
                <c:pt idx="340">
                  <c:v>5</c:v>
                </c:pt>
                <c:pt idx="341">
                  <c:v>5.09</c:v>
                </c:pt>
                <c:pt idx="342">
                  <c:v>5.04</c:v>
                </c:pt>
                <c:pt idx="343">
                  <c:v>5.0999999999999996</c:v>
                </c:pt>
                <c:pt idx="344">
                  <c:v>5.04</c:v>
                </c:pt>
                <c:pt idx="345">
                  <c:v>5.17</c:v>
                </c:pt>
                <c:pt idx="346">
                  <c:v>5.48</c:v>
                </c:pt>
                <c:pt idx="347">
                  <c:v>5.64</c:v>
                </c:pt>
                <c:pt idx="348">
                  <c:v>5.6</c:v>
                </c:pt>
                <c:pt idx="349">
                  <c:v>5.37</c:v>
                </c:pt>
                <c:pt idx="350">
                  <c:v>5.6</c:v>
                </c:pt>
                <c:pt idx="351">
                  <c:v>5.8</c:v>
                </c:pt>
                <c:pt idx="352">
                  <c:v>5.83</c:v>
                </c:pt>
                <c:pt idx="353">
                  <c:v>5.93</c:v>
                </c:pt>
                <c:pt idx="354">
                  <c:v>6.38</c:v>
                </c:pt>
                <c:pt idx="355">
                  <c:v>6.04</c:v>
                </c:pt>
                <c:pt idx="356">
                  <c:v>6.06</c:v>
                </c:pt>
                <c:pt idx="357">
                  <c:v>5.71</c:v>
                </c:pt>
                <c:pt idx="358">
                  <c:v>5.65</c:v>
                </c:pt>
                <c:pt idx="359">
                  <c:v>5.75</c:v>
                </c:pt>
                <c:pt idx="360">
                  <c:v>5.83</c:v>
                </c:pt>
                <c:pt idx="361">
                  <c:v>6.19</c:v>
                </c:pt>
                <c:pt idx="362">
                  <c:v>6.33</c:v>
                </c:pt>
                <c:pt idx="363">
                  <c:v>6.75</c:v>
                </c:pt>
                <c:pt idx="364">
                  <c:v>6.56</c:v>
                </c:pt>
                <c:pt idx="365">
                  <c:v>6.65</c:v>
                </c:pt>
                <c:pt idx="366">
                  <c:v>6.32</c:v>
                </c:pt>
                <c:pt idx="367">
                  <c:v>6.12</c:v>
                </c:pt>
                <c:pt idx="368">
                  <c:v>5.94</c:v>
                </c:pt>
                <c:pt idx="369">
                  <c:v>5.56</c:v>
                </c:pt>
                <c:pt idx="370">
                  <c:v>5.61</c:v>
                </c:pt>
                <c:pt idx="371">
                  <c:v>5.57</c:v>
                </c:pt>
                <c:pt idx="372">
                  <c:v>5.44</c:v>
                </c:pt>
                <c:pt idx="373">
                  <c:v>5.55</c:v>
                </c:pt>
                <c:pt idx="374">
                  <c:v>5.55</c:v>
                </c:pt>
                <c:pt idx="375">
                  <c:v>5.61</c:v>
                </c:pt>
                <c:pt idx="376">
                  <c:v>5.65</c:v>
                </c:pt>
                <c:pt idx="377">
                  <c:v>5.62</c:v>
                </c:pt>
                <c:pt idx="378">
                  <c:v>5.6</c:v>
                </c:pt>
                <c:pt idx="379">
                  <c:v>5.59</c:v>
                </c:pt>
                <c:pt idx="380">
                  <c:v>5.69</c:v>
                </c:pt>
                <c:pt idx="381">
                  <c:v>5.7</c:v>
                </c:pt>
                <c:pt idx="382">
                  <c:v>5.86</c:v>
                </c:pt>
                <c:pt idx="383">
                  <c:v>5.85</c:v>
                </c:pt>
                <c:pt idx="384">
                  <c:v>5.83</c:v>
                </c:pt>
                <c:pt idx="385">
                  <c:v>5.85</c:v>
                </c:pt>
                <c:pt idx="386">
                  <c:v>6.01</c:v>
                </c:pt>
                <c:pt idx="387">
                  <c:v>5.96</c:v>
                </c:pt>
                <c:pt idx="388">
                  <c:v>6.15</c:v>
                </c:pt>
                <c:pt idx="389">
                  <c:v>6.35</c:v>
                </c:pt>
                <c:pt idx="390">
                  <c:v>6.41</c:v>
                </c:pt>
                <c:pt idx="391">
                  <c:v>6.17</c:v>
                </c:pt>
                <c:pt idx="392">
                  <c:v>6.32</c:v>
                </c:pt>
                <c:pt idx="393">
                  <c:v>6.22</c:v>
                </c:pt>
                <c:pt idx="394">
                  <c:v>6.12</c:v>
                </c:pt>
                <c:pt idx="395">
                  <c:v>6.14</c:v>
                </c:pt>
                <c:pt idx="396">
                  <c:v>6.17</c:v>
                </c:pt>
                <c:pt idx="397">
                  <c:v>6.09</c:v>
                </c:pt>
                <c:pt idx="398">
                  <c:v>6.09</c:v>
                </c:pt>
                <c:pt idx="399">
                  <c:v>6.16</c:v>
                </c:pt>
                <c:pt idx="400">
                  <c:v>6.22</c:v>
                </c:pt>
                <c:pt idx="401">
                  <c:v>6.23</c:v>
                </c:pt>
                <c:pt idx="402">
                  <c:v>6.48</c:v>
                </c:pt>
                <c:pt idx="403">
                  <c:v>6.48</c:v>
                </c:pt>
                <c:pt idx="404">
                  <c:v>6.48</c:v>
                </c:pt>
                <c:pt idx="405">
                  <c:v>6.39</c:v>
                </c:pt>
                <c:pt idx="406">
                  <c:v>6.4</c:v>
                </c:pt>
                <c:pt idx="407">
                  <c:v>6.4</c:v>
                </c:pt>
                <c:pt idx="408">
                  <c:v>6.42</c:v>
                </c:pt>
                <c:pt idx="409">
                  <c:v>6.42</c:v>
                </c:pt>
                <c:pt idx="410">
                  <c:v>6.64</c:v>
                </c:pt>
                <c:pt idx="411">
                  <c:v>6.61</c:v>
                </c:pt>
                <c:pt idx="412">
                  <c:v>6.58</c:v>
                </c:pt>
                <c:pt idx="413">
                  <c:v>6.56</c:v>
                </c:pt>
                <c:pt idx="414">
                  <c:v>6.6</c:v>
                </c:pt>
                <c:pt idx="415">
                  <c:v>6.59</c:v>
                </c:pt>
                <c:pt idx="416">
                  <c:v>6.73</c:v>
                </c:pt>
                <c:pt idx="417">
                  <c:v>6.73</c:v>
                </c:pt>
                <c:pt idx="418">
                  <c:v>6.64</c:v>
                </c:pt>
                <c:pt idx="419">
                  <c:v>6.52</c:v>
                </c:pt>
                <c:pt idx="420">
                  <c:v>6.35</c:v>
                </c:pt>
                <c:pt idx="421">
                  <c:v>6.33</c:v>
                </c:pt>
                <c:pt idx="422">
                  <c:v>6.17</c:v>
                </c:pt>
                <c:pt idx="423">
                  <c:v>5.99</c:v>
                </c:pt>
                <c:pt idx="424">
                  <c:v>6.05</c:v>
                </c:pt>
                <c:pt idx="425">
                  <c:v>5.98</c:v>
                </c:pt>
                <c:pt idx="426">
                  <c:v>5.61</c:v>
                </c:pt>
                <c:pt idx="427">
                  <c:v>5.8</c:v>
                </c:pt>
                <c:pt idx="428">
                  <c:v>5.81</c:v>
                </c:pt>
                <c:pt idx="429">
                  <c:v>5.76</c:v>
                </c:pt>
                <c:pt idx="430">
                  <c:v>5.72</c:v>
                </c:pt>
                <c:pt idx="431">
                  <c:v>5.78</c:v>
                </c:pt>
                <c:pt idx="432">
                  <c:v>5.85</c:v>
                </c:pt>
                <c:pt idx="433">
                  <c:v>5.83</c:v>
                </c:pt>
                <c:pt idx="434">
                  <c:v>5.78</c:v>
                </c:pt>
                <c:pt idx="435">
                  <c:v>5.77</c:v>
                </c:pt>
                <c:pt idx="436">
                  <c:v>5.74</c:v>
                </c:pt>
                <c:pt idx="437">
                  <c:v>5.8</c:v>
                </c:pt>
                <c:pt idx="438">
                  <c:v>5.78</c:v>
                </c:pt>
                <c:pt idx="439">
                  <c:v>5.71</c:v>
                </c:pt>
                <c:pt idx="440">
                  <c:v>5.74</c:v>
                </c:pt>
                <c:pt idx="441">
                  <c:v>5.68</c:v>
                </c:pt>
                <c:pt idx="442">
                  <c:v>5.6</c:v>
                </c:pt>
                <c:pt idx="443">
                  <c:v>5.62</c:v>
                </c:pt>
                <c:pt idx="444">
                  <c:v>5.63</c:v>
                </c:pt>
                <c:pt idx="445">
                  <c:v>5.64</c:v>
                </c:pt>
                <c:pt idx="446">
                  <c:v>5.55</c:v>
                </c:pt>
                <c:pt idx="447">
                  <c:v>5.5</c:v>
                </c:pt>
                <c:pt idx="448">
                  <c:v>5.46</c:v>
                </c:pt>
                <c:pt idx="449">
                  <c:v>5.46</c:v>
                </c:pt>
                <c:pt idx="450">
                  <c:v>5.46</c:v>
                </c:pt>
                <c:pt idx="451">
                  <c:v>5.35</c:v>
                </c:pt>
                <c:pt idx="452">
                  <c:v>5.36</c:v>
                </c:pt>
                <c:pt idx="453">
                  <c:v>5.36</c:v>
                </c:pt>
                <c:pt idx="454">
                  <c:v>5.32</c:v>
                </c:pt>
                <c:pt idx="455">
                  <c:v>5.36</c:v>
                </c:pt>
                <c:pt idx="456">
                  <c:v>5.45</c:v>
                </c:pt>
                <c:pt idx="457">
                  <c:v>5.45</c:v>
                </c:pt>
                <c:pt idx="458">
                  <c:v>5.53</c:v>
                </c:pt>
                <c:pt idx="459">
                  <c:v>5.54</c:v>
                </c:pt>
                <c:pt idx="460">
                  <c:v>5.65</c:v>
                </c:pt>
                <c:pt idx="461">
                  <c:v>5.6</c:v>
                </c:pt>
                <c:pt idx="462">
                  <c:v>5.69</c:v>
                </c:pt>
                <c:pt idx="463">
                  <c:v>5.86</c:v>
                </c:pt>
                <c:pt idx="464">
                  <c:v>6.07</c:v>
                </c:pt>
                <c:pt idx="465">
                  <c:v>5.86</c:v>
                </c:pt>
                <c:pt idx="466">
                  <c:v>5.79</c:v>
                </c:pt>
                <c:pt idx="467">
                  <c:v>5.8</c:v>
                </c:pt>
                <c:pt idx="468">
                  <c:v>5.75</c:v>
                </c:pt>
                <c:pt idx="469" formatCode="General">
                  <c:v>5.74</c:v>
                </c:pt>
                <c:pt idx="470" formatCode="General">
                  <c:v>5.85</c:v>
                </c:pt>
                <c:pt idx="471" formatCode="General">
                  <c:v>5.91</c:v>
                </c:pt>
                <c:pt idx="472" formatCode="General">
                  <c:v>5.89</c:v>
                </c:pt>
                <c:pt idx="473" formatCode="General">
                  <c:v>5.94</c:v>
                </c:pt>
                <c:pt idx="474" formatCode="General">
                  <c:v>5.91</c:v>
                </c:pt>
                <c:pt idx="475" formatCode="General">
                  <c:v>5.91</c:v>
                </c:pt>
                <c:pt idx="476" formatCode="General">
                  <c:v>5.99</c:v>
                </c:pt>
                <c:pt idx="477" formatCode="General">
                  <c:v>6.07</c:v>
                </c:pt>
                <c:pt idx="478" formatCode="General">
                  <c:v>6.07</c:v>
                </c:pt>
                <c:pt idx="479" formatCode="General">
                  <c:v>6.06</c:v>
                </c:pt>
                <c:pt idx="480" formatCode="0.00">
                  <c:v>6</c:v>
                </c:pt>
                <c:pt idx="481" formatCode="General">
                  <c:v>5.86</c:v>
                </c:pt>
                <c:pt idx="482">
                  <c:v>5.8</c:v>
                </c:pt>
                <c:pt idx="483">
                  <c:v>5.74</c:v>
                </c:pt>
                <c:pt idx="484">
                  <c:v>5.75</c:v>
                </c:pt>
                <c:pt idx="485">
                  <c:v>5.79</c:v>
                </c:pt>
                <c:pt idx="486">
                  <c:v>5.81</c:v>
                </c:pt>
                <c:pt idx="487">
                  <c:v>5.82</c:v>
                </c:pt>
                <c:pt idx="488" formatCode="General">
                  <c:v>5.68</c:v>
                </c:pt>
                <c:pt idx="489" formatCode="General">
                  <c:v>5.65</c:v>
                </c:pt>
                <c:pt idx="490" formatCode="General">
                  <c:v>5.65</c:v>
                </c:pt>
                <c:pt idx="491" formatCode="General">
                  <c:v>5.67</c:v>
                </c:pt>
                <c:pt idx="492" formatCode="General">
                  <c:v>5.7</c:v>
                </c:pt>
                <c:pt idx="493" formatCode="General">
                  <c:v>5.54</c:v>
                </c:pt>
                <c:pt idx="494" formatCode="General">
                  <c:v>5.61</c:v>
                </c:pt>
                <c:pt idx="495" formatCode="General">
                  <c:v>5.61</c:v>
                </c:pt>
                <c:pt idx="496" formatCode="General">
                  <c:v>5.64</c:v>
                </c:pt>
                <c:pt idx="497" formatCode="General">
                  <c:v>5.6</c:v>
                </c:pt>
                <c:pt idx="498" formatCode="General">
                  <c:v>5.59</c:v>
                </c:pt>
                <c:pt idx="499" formatCode="General">
                  <c:v>5.58</c:v>
                </c:pt>
                <c:pt idx="500" formatCode="General">
                  <c:v>5.56</c:v>
                </c:pt>
                <c:pt idx="501" formatCode="General">
                  <c:v>5.46</c:v>
                </c:pt>
                <c:pt idx="502" formatCode="General">
                  <c:v>5.5</c:v>
                </c:pt>
                <c:pt idx="503" formatCode="General">
                  <c:v>5.43</c:v>
                </c:pt>
                <c:pt idx="504" formatCode="General">
                  <c:v>5.46</c:v>
                </c:pt>
                <c:pt idx="505" formatCode="General">
                  <c:v>5.44</c:v>
                </c:pt>
                <c:pt idx="506" formatCode="General">
                  <c:v>5.44</c:v>
                </c:pt>
                <c:pt idx="507" formatCode="General">
                  <c:v>5.34</c:v>
                </c:pt>
                <c:pt idx="508" formatCode="General">
                  <c:v>5.41</c:v>
                </c:pt>
                <c:pt idx="509" formatCode="General">
                  <c:v>5.47</c:v>
                </c:pt>
                <c:pt idx="510" formatCode="General">
                  <c:v>5.4</c:v>
                </c:pt>
                <c:pt idx="511" formatCode="General">
                  <c:v>5.41</c:v>
                </c:pt>
                <c:pt idx="512" formatCode="General">
                  <c:v>5.66</c:v>
                </c:pt>
                <c:pt idx="513" formatCode="General">
                  <c:v>5.7</c:v>
                </c:pt>
                <c:pt idx="514" formatCode="General">
                  <c:v>5.68</c:v>
                </c:pt>
                <c:pt idx="515" formatCode="General">
                  <c:v>6.03</c:v>
                </c:pt>
                <c:pt idx="516" formatCode="General">
                  <c:v>6.19</c:v>
                </c:pt>
                <c:pt idx="517" formatCode="General">
                  <c:v>6.2</c:v>
                </c:pt>
                <c:pt idx="518" formatCode="General">
                  <c:v>6.17</c:v>
                </c:pt>
                <c:pt idx="519" formatCode="General">
                  <c:v>6.07</c:v>
                </c:pt>
                <c:pt idx="520" formatCode="General">
                  <c:v>5.93</c:v>
                </c:pt>
                <c:pt idx="521" formatCode="General">
                  <c:v>5.95</c:v>
                </c:pt>
                <c:pt idx="522" formatCode="General">
                  <c:v>5.99</c:v>
                </c:pt>
                <c:pt idx="523" formatCode="General">
                  <c:v>6.05</c:v>
                </c:pt>
                <c:pt idx="524" formatCode="General">
                  <c:v>6.03</c:v>
                </c:pt>
                <c:pt idx="525" formatCode="General">
                  <c:v>5.98</c:v>
                </c:pt>
                <c:pt idx="526" formatCode="General">
                  <c:v>5.99</c:v>
                </c:pt>
                <c:pt idx="527" formatCode="General">
                  <c:v>5.95</c:v>
                </c:pt>
                <c:pt idx="528" formatCode="General">
                  <c:v>6.01</c:v>
                </c:pt>
                <c:pt idx="529" formatCode="General">
                  <c:v>6.08</c:v>
                </c:pt>
                <c:pt idx="530" formatCode="General">
                  <c:v>6.21</c:v>
                </c:pt>
                <c:pt idx="531" formatCode="General">
                  <c:v>6.2</c:v>
                </c:pt>
                <c:pt idx="532" formatCode="General">
                  <c:v>6.02</c:v>
                </c:pt>
                <c:pt idx="533" formatCode="General">
                  <c:v>6.01</c:v>
                </c:pt>
                <c:pt idx="534" formatCode="General">
                  <c:v>5.96</c:v>
                </c:pt>
                <c:pt idx="535" formatCode="General">
                  <c:v>5.98</c:v>
                </c:pt>
                <c:pt idx="536" formatCode="General">
                  <c:v>6.03</c:v>
                </c:pt>
                <c:pt idx="537" formatCode="General">
                  <c:v>6.01</c:v>
                </c:pt>
                <c:pt idx="538" formatCode="General">
                  <c:v>6.11</c:v>
                </c:pt>
                <c:pt idx="539" formatCode="General">
                  <c:v>5.86</c:v>
                </c:pt>
                <c:pt idx="540" formatCode="General">
                  <c:v>5.81</c:v>
                </c:pt>
                <c:pt idx="541" formatCode="General">
                  <c:v>5.75</c:v>
                </c:pt>
                <c:pt idx="542" formatCode="General">
                  <c:v>5.81</c:v>
                </c:pt>
                <c:pt idx="543" formatCode="General">
                  <c:v>5.91</c:v>
                </c:pt>
                <c:pt idx="544" formatCode="General">
                  <c:v>5.92</c:v>
                </c:pt>
                <c:pt idx="545" formatCode="General">
                  <c:v>5.98</c:v>
                </c:pt>
                <c:pt idx="546" formatCode="General">
                  <c:v>5.92</c:v>
                </c:pt>
                <c:pt idx="547" formatCode="General">
                  <c:v>5.94</c:v>
                </c:pt>
                <c:pt idx="548" formatCode="General">
                  <c:v>5.88</c:v>
                </c:pt>
                <c:pt idx="549" formatCode="General">
                  <c:v>5.81</c:v>
                </c:pt>
                <c:pt idx="550" formatCode="General">
                  <c:v>5.78</c:v>
                </c:pt>
                <c:pt idx="551" formatCode="General">
                  <c:v>5.75</c:v>
                </c:pt>
                <c:pt idx="552" formatCode="General">
                  <c:v>5.77</c:v>
                </c:pt>
                <c:pt idx="553" formatCode="General">
                  <c:v>5.82</c:v>
                </c:pt>
                <c:pt idx="554" formatCode="General">
                  <c:v>5.82</c:v>
                </c:pt>
                <c:pt idx="555" formatCode="General">
                  <c:v>5.79</c:v>
                </c:pt>
                <c:pt idx="556" formatCode="General">
                  <c:v>5.79</c:v>
                </c:pt>
                <c:pt idx="557" formatCode="General">
                  <c:v>5.58</c:v>
                </c:pt>
                <c:pt idx="558" formatCode="General">
                  <c:v>5.54</c:v>
                </c:pt>
                <c:pt idx="559" formatCode="General">
                  <c:v>5.54</c:v>
                </c:pt>
                <c:pt idx="560" formatCode="General">
                  <c:v>5.58</c:v>
                </c:pt>
                <c:pt idx="561" formatCode="General">
                  <c:v>5.61</c:v>
                </c:pt>
                <c:pt idx="562">
                  <c:v>5.57</c:v>
                </c:pt>
                <c:pt idx="563" formatCode="General">
                  <c:v>5.54</c:v>
                </c:pt>
                <c:pt idx="564" formatCode="General">
                  <c:v>5.51</c:v>
                </c:pt>
                <c:pt idx="565" formatCode="General">
                  <c:v>5.64</c:v>
                </c:pt>
                <c:pt idx="566" formatCode="General">
                  <c:v>5.58</c:v>
                </c:pt>
                <c:pt idx="567" formatCode="General">
                  <c:v>5.58</c:v>
                </c:pt>
                <c:pt idx="568" formatCode="General">
                  <c:v>5.63</c:v>
                </c:pt>
                <c:pt idx="569" formatCode="General">
                  <c:v>5.64</c:v>
                </c:pt>
                <c:pt idx="570" formatCode="General">
                  <c:v>5.63</c:v>
                </c:pt>
                <c:pt idx="571" formatCode="General">
                  <c:v>5.58</c:v>
                </c:pt>
                <c:pt idx="572" formatCode="General">
                  <c:v>5.58</c:v>
                </c:pt>
                <c:pt idx="573" formatCode="General">
                  <c:v>5.58</c:v>
                </c:pt>
                <c:pt idx="574" formatCode="General">
                  <c:v>5.56</c:v>
                </c:pt>
                <c:pt idx="575" formatCode="General">
                  <c:v>5.59</c:v>
                </c:pt>
                <c:pt idx="576" formatCode="General">
                  <c:v>5.49</c:v>
                </c:pt>
                <c:pt idx="577" formatCode="General">
                  <c:v>5.55</c:v>
                </c:pt>
                <c:pt idx="578" formatCode="General">
                  <c:v>5.61</c:v>
                </c:pt>
                <c:pt idx="579" formatCode="General">
                  <c:v>5.46</c:v>
                </c:pt>
                <c:pt idx="580" formatCode="General">
                  <c:v>5.35</c:v>
                </c:pt>
                <c:pt idx="581" formatCode="General">
                  <c:v>5.35</c:v>
                </c:pt>
                <c:pt idx="582" formatCode="General">
                  <c:v>5.35</c:v>
                </c:pt>
                <c:pt idx="583" formatCode="General">
                  <c:v>5.35</c:v>
                </c:pt>
                <c:pt idx="584" formatCode="General">
                  <c:v>5.33</c:v>
                </c:pt>
                <c:pt idx="585" formatCode="General">
                  <c:v>5.3</c:v>
                </c:pt>
                <c:pt idx="586" formatCode="General">
                  <c:v>5.19</c:v>
                </c:pt>
                <c:pt idx="587" formatCode="General">
                  <c:v>5.16</c:v>
                </c:pt>
                <c:pt idx="588" formatCode="General">
                  <c:v>5.15</c:v>
                </c:pt>
                <c:pt idx="589" formatCode="General">
                  <c:v>5.14</c:v>
                </c:pt>
                <c:pt idx="590" formatCode="General">
                  <c:v>5</c:v>
                </c:pt>
                <c:pt idx="591" formatCode="General">
                  <c:v>4.8</c:v>
                </c:pt>
                <c:pt idx="592" formatCode="General">
                  <c:v>4.93</c:v>
                </c:pt>
                <c:pt idx="593" formatCode="General">
                  <c:v>4.99</c:v>
                </c:pt>
                <c:pt idx="594" formatCode="General">
                  <c:v>5.04</c:v>
                </c:pt>
                <c:pt idx="595" formatCode="General">
                  <c:v>5.05</c:v>
                </c:pt>
                <c:pt idx="596" formatCode="General">
                  <c:v>5</c:v>
                </c:pt>
                <c:pt idx="597" formatCode="General">
                  <c:v>4.88</c:v>
                </c:pt>
                <c:pt idx="598" formatCode="General">
                  <c:v>4.79</c:v>
                </c:pt>
                <c:pt idx="599" formatCode="General">
                  <c:v>4.83</c:v>
                </c:pt>
                <c:pt idx="600" formatCode="General">
                  <c:v>4.8600000000000003</c:v>
                </c:pt>
                <c:pt idx="601" formatCode="General">
                  <c:v>4.68</c:v>
                </c:pt>
                <c:pt idx="602" formatCode="General">
                  <c:v>4.71</c:v>
                </c:pt>
                <c:pt idx="603" formatCode="General">
                  <c:v>4.5599999999999996</c:v>
                </c:pt>
                <c:pt idx="604" formatCode="General">
                  <c:v>4.68</c:v>
                </c:pt>
                <c:pt idx="605" formatCode="General">
                  <c:v>4.79</c:v>
                </c:pt>
                <c:pt idx="606" formatCode="General">
                  <c:v>4.72</c:v>
                </c:pt>
                <c:pt idx="607" formatCode="General">
                  <c:v>4.4000000000000004</c:v>
                </c:pt>
                <c:pt idx="608" formatCode="General">
                  <c:v>4.4000000000000004</c:v>
                </c:pt>
                <c:pt idx="609" formatCode="General">
                  <c:v>4.3899999999999997</c:v>
                </c:pt>
                <c:pt idx="610" formatCode="General">
                  <c:v>4.42</c:v>
                </c:pt>
                <c:pt idx="611" formatCode="General">
                  <c:v>4.46</c:v>
                </c:pt>
                <c:pt idx="612" formatCode="General">
                  <c:v>4.46</c:v>
                </c:pt>
                <c:pt idx="613" formatCode="General">
                  <c:v>4.5199999999999996</c:v>
                </c:pt>
                <c:pt idx="614" formatCode="General">
                  <c:v>4.4800000000000004</c:v>
                </c:pt>
                <c:pt idx="615" formatCode="General">
                  <c:v>4.57</c:v>
                </c:pt>
                <c:pt idx="616" formatCode="General">
                  <c:v>4.51</c:v>
                </c:pt>
                <c:pt idx="617" formatCode="General">
                  <c:v>4.55</c:v>
                </c:pt>
                <c:pt idx="618" formatCode="General">
                  <c:v>4.57</c:v>
                </c:pt>
                <c:pt idx="619" formatCode="General">
                  <c:v>4.49</c:v>
                </c:pt>
                <c:pt idx="620" formatCode="General">
                  <c:v>4.4800000000000004</c:v>
                </c:pt>
                <c:pt idx="621" formatCode="General">
                  <c:v>4.25</c:v>
                </c:pt>
                <c:pt idx="622" formatCode="General">
                  <c:v>4.21</c:v>
                </c:pt>
                <c:pt idx="623" formatCode="General">
                  <c:v>4.3899999999999997</c:v>
                </c:pt>
                <c:pt idx="624" formatCode="General">
                  <c:v>4.43</c:v>
                </c:pt>
                <c:pt idx="625" formatCode="General">
                  <c:v>4.3499999999999996</c:v>
                </c:pt>
                <c:pt idx="626" formatCode="General">
                  <c:v>4.3899999999999997</c:v>
                </c:pt>
                <c:pt idx="627" formatCode="General">
                  <c:v>4.37</c:v>
                </c:pt>
                <c:pt idx="628" formatCode="General">
                  <c:v>4.37</c:v>
                </c:pt>
                <c:pt idx="629" formatCode="General">
                  <c:v>4.32</c:v>
                </c:pt>
                <c:pt idx="630" formatCode="General">
                  <c:v>4.28</c:v>
                </c:pt>
                <c:pt idx="631" formatCode="General">
                  <c:v>4.2699999999999996</c:v>
                </c:pt>
                <c:pt idx="632" formatCode="General">
                  <c:v>4.3099999999999996</c:v>
                </c:pt>
                <c:pt idx="633" formatCode="General">
                  <c:v>4.3499999999999996</c:v>
                </c:pt>
                <c:pt idx="634" formatCode="General">
                  <c:v>4.3899999999999997</c:v>
                </c:pt>
                <c:pt idx="635" formatCode="General">
                  <c:v>4.4000000000000004</c:v>
                </c:pt>
                <c:pt idx="636" formatCode="General">
                  <c:v>4.38</c:v>
                </c:pt>
                <c:pt idx="637" formatCode="General">
                  <c:v>4.32</c:v>
                </c:pt>
                <c:pt idx="638" formatCode="General">
                  <c:v>4.1900000000000004</c:v>
                </c:pt>
                <c:pt idx="639" formatCode="General">
                  <c:v>4.18</c:v>
                </c:pt>
                <c:pt idx="640" formatCode="General">
                  <c:v>4.1500000000000004</c:v>
                </c:pt>
                <c:pt idx="641" formatCode="General">
                  <c:v>4.22</c:v>
                </c:pt>
                <c:pt idx="642" formatCode="General">
                  <c:v>4.2</c:v>
                </c:pt>
                <c:pt idx="643" formatCode="General">
                  <c:v>4.2300000000000004</c:v>
                </c:pt>
                <c:pt idx="644" formatCode="General">
                  <c:v>4.43</c:v>
                </c:pt>
                <c:pt idx="645" formatCode="General">
                  <c:v>4.42</c:v>
                </c:pt>
                <c:pt idx="646" formatCode="General">
                  <c:v>4.7300000000000004</c:v>
                </c:pt>
                <c:pt idx="647" formatCode="General">
                  <c:v>4.96</c:v>
                </c:pt>
                <c:pt idx="648" formatCode="General">
                  <c:v>4.79</c:v>
                </c:pt>
                <c:pt idx="649" formatCode="General">
                  <c:v>4.99</c:v>
                </c:pt>
                <c:pt idx="650" formatCode="General">
                  <c:v>5.18</c:v>
                </c:pt>
                <c:pt idx="651" formatCode="General">
                  <c:v>5.0199999999999996</c:v>
                </c:pt>
                <c:pt idx="652" formatCode="General">
                  <c:v>4.99</c:v>
                </c:pt>
                <c:pt idx="653" formatCode="0.00">
                  <c:v>4.9800000000000004</c:v>
                </c:pt>
                <c:pt idx="654" formatCode="General">
                  <c:v>4.97</c:v>
                </c:pt>
                <c:pt idx="655" formatCode="General">
                  <c:v>4.9800000000000004</c:v>
                </c:pt>
                <c:pt idx="656" formatCode="General">
                  <c:v>4.7699999999999996</c:v>
                </c:pt>
                <c:pt idx="657" formatCode="General">
                  <c:v>4.78</c:v>
                </c:pt>
                <c:pt idx="658" formatCode="General">
                  <c:v>4.6500000000000004</c:v>
                </c:pt>
                <c:pt idx="659" formatCode="General">
                  <c:v>4.5</c:v>
                </c:pt>
                <c:pt idx="660" formatCode="General">
                  <c:v>4.5</c:v>
                </c:pt>
                <c:pt idx="661" formatCode="General">
                  <c:v>4.46</c:v>
                </c:pt>
                <c:pt idx="662" formatCode="General">
                  <c:v>4.47</c:v>
                </c:pt>
                <c:pt idx="663" formatCode="General">
                  <c:v>4.47</c:v>
                </c:pt>
                <c:pt idx="664" formatCode="General">
                  <c:v>4.43</c:v>
                </c:pt>
                <c:pt idx="665" formatCode="General">
                  <c:v>4.33</c:v>
                </c:pt>
                <c:pt idx="666" formatCode="General">
                  <c:v>4.45</c:v>
                </c:pt>
                <c:pt idx="667" formatCode="General">
                  <c:v>4.45</c:v>
                </c:pt>
                <c:pt idx="668" formatCode="General">
                  <c:v>4.46</c:v>
                </c:pt>
                <c:pt idx="669" formatCode="General">
                  <c:v>4.54</c:v>
                </c:pt>
                <c:pt idx="670" formatCode="General">
                  <c:v>4.47</c:v>
                </c:pt>
                <c:pt idx="671" formatCode="General">
                  <c:v>4.41</c:v>
                </c:pt>
                <c:pt idx="672" formatCode="General">
                  <c:v>4.4800000000000004</c:v>
                </c:pt>
                <c:pt idx="673" formatCode="General">
                  <c:v>4.34</c:v>
                </c:pt>
                <c:pt idx="674" formatCode="General">
                  <c:v>4.51</c:v>
                </c:pt>
                <c:pt idx="675" formatCode="General">
                  <c:v>4.6100000000000003</c:v>
                </c:pt>
                <c:pt idx="676" formatCode="General">
                  <c:v>4.6900000000000004</c:v>
                </c:pt>
                <c:pt idx="677" formatCode="General">
                  <c:v>4.83</c:v>
                </c:pt>
                <c:pt idx="678" formatCode="General">
                  <c:v>4.84</c:v>
                </c:pt>
                <c:pt idx="679" formatCode="General">
                  <c:v>4.7300000000000004</c:v>
                </c:pt>
                <c:pt idx="680" formatCode="General">
                  <c:v>4.6900000000000004</c:v>
                </c:pt>
                <c:pt idx="681" formatCode="General">
                  <c:v>4.66</c:v>
                </c:pt>
                <c:pt idx="682" formatCode="General">
                  <c:v>4.63</c:v>
                </c:pt>
                <c:pt idx="683" formatCode="General">
                  <c:v>4.62</c:v>
                </c:pt>
                <c:pt idx="684" formatCode="General">
                  <c:v>4.6100000000000003</c:v>
                </c:pt>
                <c:pt idx="685" formatCode="General">
                  <c:v>4.5999999999999996</c:v>
                </c:pt>
                <c:pt idx="686" formatCode="General">
                  <c:v>4.4800000000000004</c:v>
                </c:pt>
                <c:pt idx="687" formatCode="General">
                  <c:v>4.53</c:v>
                </c:pt>
                <c:pt idx="688" formatCode="General">
                  <c:v>4.62</c:v>
                </c:pt>
                <c:pt idx="689" formatCode="General">
                  <c:v>4.63</c:v>
                </c:pt>
                <c:pt idx="690" formatCode="General">
                  <c:v>4.6500000000000004</c:v>
                </c:pt>
                <c:pt idx="691" formatCode="General">
                  <c:v>4.55</c:v>
                </c:pt>
                <c:pt idx="692" formatCode="General">
                  <c:v>4.55</c:v>
                </c:pt>
                <c:pt idx="693" formatCode="General">
                  <c:v>4.55</c:v>
                </c:pt>
                <c:pt idx="694" formatCode="General">
                  <c:v>4.49</c:v>
                </c:pt>
                <c:pt idx="695" formatCode="General">
                  <c:v>4.41</c:v>
                </c:pt>
                <c:pt idx="696" formatCode="General">
                  <c:v>4.1500000000000004</c:v>
                </c:pt>
                <c:pt idx="697" formatCode="General">
                  <c:v>4.24</c:v>
                </c:pt>
                <c:pt idx="698" formatCode="General">
                  <c:v>4.1100000000000003</c:v>
                </c:pt>
                <c:pt idx="699" formatCode="General">
                  <c:v>4.08</c:v>
                </c:pt>
                <c:pt idx="700" formatCode="General">
                  <c:v>3.95</c:v>
                </c:pt>
                <c:pt idx="701" formatCode="General">
                  <c:v>4.25</c:v>
                </c:pt>
                <c:pt idx="702" formatCode="General">
                  <c:v>4.1900000000000004</c:v>
                </c:pt>
                <c:pt idx="703" formatCode="General">
                  <c:v>4.07</c:v>
                </c:pt>
                <c:pt idx="704" formatCode="General">
                  <c:v>4.07</c:v>
                </c:pt>
                <c:pt idx="705" formatCode="General">
                  <c:v>4.09</c:v>
                </c:pt>
                <c:pt idx="706" formatCode="General">
                  <c:v>4.13</c:v>
                </c:pt>
                <c:pt idx="707" formatCode="General">
                  <c:v>4.03</c:v>
                </c:pt>
                <c:pt idx="708" formatCode="General">
                  <c:v>3.98</c:v>
                </c:pt>
                <c:pt idx="709" formatCode="General">
                  <c:v>4</c:v>
                </c:pt>
                <c:pt idx="710" formatCode="General">
                  <c:v>3.9</c:v>
                </c:pt>
                <c:pt idx="711" formatCode="General">
                  <c:v>3.84</c:v>
                </c:pt>
                <c:pt idx="712" formatCode="General">
                  <c:v>3.86</c:v>
                </c:pt>
                <c:pt idx="713" formatCode="General">
                  <c:v>3.83</c:v>
                </c:pt>
                <c:pt idx="714" formatCode="General">
                  <c:v>3.86</c:v>
                </c:pt>
                <c:pt idx="715" formatCode="General">
                  <c:v>3.85</c:v>
                </c:pt>
                <c:pt idx="716" formatCode="General">
                  <c:v>3.77</c:v>
                </c:pt>
                <c:pt idx="717" formatCode="General">
                  <c:v>3.79</c:v>
                </c:pt>
                <c:pt idx="718" formatCode="General">
                  <c:v>3.74</c:v>
                </c:pt>
                <c:pt idx="719" formatCode="General">
                  <c:v>3.69</c:v>
                </c:pt>
                <c:pt idx="720" formatCode="General">
                  <c:v>3.69</c:v>
                </c:pt>
                <c:pt idx="721" formatCode="General">
                  <c:v>3.63</c:v>
                </c:pt>
                <c:pt idx="722" formatCode="General">
                  <c:v>3.56</c:v>
                </c:pt>
                <c:pt idx="723" formatCode="General">
                  <c:v>3.65</c:v>
                </c:pt>
                <c:pt idx="724" formatCode="General">
                  <c:v>3.71</c:v>
                </c:pt>
                <c:pt idx="725" formatCode="General">
                  <c:v>3.61</c:v>
                </c:pt>
                <c:pt idx="726" formatCode="General">
                  <c:v>3.59</c:v>
                </c:pt>
                <c:pt idx="727" formatCode="General">
                  <c:v>3.61</c:v>
                </c:pt>
                <c:pt idx="728" formatCode="General">
                  <c:v>3.56</c:v>
                </c:pt>
                <c:pt idx="729" formatCode="General">
                  <c:v>3.56</c:v>
                </c:pt>
                <c:pt idx="730" formatCode="General">
                  <c:v>3.52</c:v>
                </c:pt>
                <c:pt idx="731" formatCode="General">
                  <c:v>3.52</c:v>
                </c:pt>
                <c:pt idx="732" formatCode="General">
                  <c:v>3.56</c:v>
                </c:pt>
                <c:pt idx="733" formatCode="General">
                  <c:v>3.62</c:v>
                </c:pt>
                <c:pt idx="734" formatCode="General">
                  <c:v>3.62</c:v>
                </c:pt>
                <c:pt idx="735" formatCode="General">
                  <c:v>3.59</c:v>
                </c:pt>
                <c:pt idx="736" formatCode="General">
                  <c:v>3.59</c:v>
                </c:pt>
                <c:pt idx="737" formatCode="General">
                  <c:v>3.52</c:v>
                </c:pt>
                <c:pt idx="738" formatCode="General">
                  <c:v>3.55</c:v>
                </c:pt>
                <c:pt idx="739" formatCode="General">
                  <c:v>3.54</c:v>
                </c:pt>
                <c:pt idx="740" formatCode="General">
                  <c:v>3.47</c:v>
                </c:pt>
                <c:pt idx="741" formatCode="General">
                  <c:v>3.45</c:v>
                </c:pt>
                <c:pt idx="742" formatCode="General">
                  <c:v>3.77</c:v>
                </c:pt>
                <c:pt idx="743" formatCode="General">
                  <c:v>3.98</c:v>
                </c:pt>
                <c:pt idx="744" formatCode="General">
                  <c:v>3.82</c:v>
                </c:pt>
                <c:pt idx="745" formatCode="General">
                  <c:v>3.73</c:v>
                </c:pt>
                <c:pt idx="746" formatCode="General">
                  <c:v>3.63</c:v>
                </c:pt>
                <c:pt idx="747" formatCode="General">
                  <c:v>3.6</c:v>
                </c:pt>
                <c:pt idx="748" formatCode="General">
                  <c:v>3.6</c:v>
                </c:pt>
                <c:pt idx="749" formatCode="General">
                  <c:v>3.6</c:v>
                </c:pt>
                <c:pt idx="750" formatCode="General">
                  <c:v>3.64</c:v>
                </c:pt>
                <c:pt idx="751" formatCode="General">
                  <c:v>3.56</c:v>
                </c:pt>
                <c:pt idx="752" formatCode="General">
                  <c:v>3.49</c:v>
                </c:pt>
                <c:pt idx="753" formatCode="General">
                  <c:v>3.43</c:v>
                </c:pt>
                <c:pt idx="754" formatCode="General">
                  <c:v>3.48</c:v>
                </c:pt>
                <c:pt idx="755" formatCode="General">
                  <c:v>3.49</c:v>
                </c:pt>
                <c:pt idx="756" formatCode="General">
                  <c:v>3.39</c:v>
                </c:pt>
                <c:pt idx="757" formatCode="General">
                  <c:v>3.36</c:v>
                </c:pt>
                <c:pt idx="758" formatCode="General">
                  <c:v>3.34</c:v>
                </c:pt>
                <c:pt idx="759" formatCode="General">
                  <c:v>3.21</c:v>
                </c:pt>
                <c:pt idx="760" formatCode="General">
                  <c:v>3.14</c:v>
                </c:pt>
                <c:pt idx="761" formatCode="General">
                  <c:v>3.14</c:v>
                </c:pt>
                <c:pt idx="762" formatCode="General">
                  <c:v>3.1</c:v>
                </c:pt>
                <c:pt idx="763" formatCode="General">
                  <c:v>3.18</c:v>
                </c:pt>
                <c:pt idx="764" formatCode="General">
                  <c:v>2.84</c:v>
                </c:pt>
                <c:pt idx="765" formatCode="General">
                  <c:v>2.81</c:v>
                </c:pt>
                <c:pt idx="766" formatCode="General">
                  <c:v>2.79</c:v>
                </c:pt>
                <c:pt idx="767" formatCode="General">
                  <c:v>2.72</c:v>
                </c:pt>
                <c:pt idx="768" formatCode="General">
                  <c:v>2.74</c:v>
                </c:pt>
                <c:pt idx="769" formatCode="General">
                  <c:v>2.78</c:v>
                </c:pt>
                <c:pt idx="770" formatCode="General">
                  <c:v>2.77</c:v>
                </c:pt>
                <c:pt idx="771" formatCode="General">
                  <c:v>2.77</c:v>
                </c:pt>
                <c:pt idx="772" formatCode="General">
                  <c:v>2.82</c:v>
                </c:pt>
                <c:pt idx="773" formatCode="General">
                  <c:v>2.93</c:v>
                </c:pt>
                <c:pt idx="774" formatCode="General">
                  <c:v>3</c:v>
                </c:pt>
                <c:pt idx="775" formatCode="General">
                  <c:v>3.15</c:v>
                </c:pt>
                <c:pt idx="776" formatCode="General">
                  <c:v>3.14</c:v>
                </c:pt>
                <c:pt idx="777" formatCode="General">
                  <c:v>3.23</c:v>
                </c:pt>
                <c:pt idx="778" formatCode="General">
                  <c:v>3.12</c:v>
                </c:pt>
                <c:pt idx="779" formatCode="General">
                  <c:v>3.03</c:v>
                </c:pt>
                <c:pt idx="780" formatCode="General">
                  <c:v>3.06</c:v>
                </c:pt>
                <c:pt idx="781" formatCode="General">
                  <c:v>3.15</c:v>
                </c:pt>
                <c:pt idx="782" formatCode="General">
                  <c:v>3.37</c:v>
                </c:pt>
                <c:pt idx="783" formatCode="General">
                  <c:v>3.25</c:v>
                </c:pt>
                <c:pt idx="784" formatCode="General">
                  <c:v>3.26</c:v>
                </c:pt>
                <c:pt idx="785" formatCode="General">
                  <c:v>3.24</c:v>
                </c:pt>
                <c:pt idx="786" formatCode="General">
                  <c:v>3.15</c:v>
                </c:pt>
                <c:pt idx="787" formatCode="General">
                  <c:v>3.07</c:v>
                </c:pt>
                <c:pt idx="788" formatCode="General">
                  <c:v>2.91</c:v>
                </c:pt>
                <c:pt idx="789" formatCode="General">
                  <c:v>2.91</c:v>
                </c:pt>
                <c:pt idx="790" formatCode="General">
                  <c:v>2.83</c:v>
                </c:pt>
                <c:pt idx="791" formatCode="General">
                  <c:v>2.87</c:v>
                </c:pt>
                <c:pt idx="792" formatCode="General">
                  <c:v>2.99</c:v>
                </c:pt>
                <c:pt idx="793" formatCode="General">
                  <c:v>3.16</c:v>
                </c:pt>
                <c:pt idx="794" formatCode="General">
                  <c:v>3.09</c:v>
                </c:pt>
                <c:pt idx="795" formatCode="General">
                  <c:v>3.3</c:v>
                </c:pt>
                <c:pt idx="796" formatCode="General">
                  <c:v>3.49</c:v>
                </c:pt>
                <c:pt idx="797" formatCode="General">
                  <c:v>3.49</c:v>
                </c:pt>
                <c:pt idx="798" formatCode="General">
                  <c:v>3.43</c:v>
                </c:pt>
                <c:pt idx="799" formatCode="General">
                  <c:v>3.58</c:v>
                </c:pt>
                <c:pt idx="800" formatCode="General">
                  <c:v>3.61</c:v>
                </c:pt>
                <c:pt idx="801" formatCode="General">
                  <c:v>3.65</c:v>
                </c:pt>
                <c:pt idx="802" formatCode="General">
                  <c:v>3.57</c:v>
                </c:pt>
                <c:pt idx="803" formatCode="General">
                  <c:v>3.32</c:v>
                </c:pt>
                <c:pt idx="804" formatCode="General">
                  <c:v>3.24</c:v>
                </c:pt>
                <c:pt idx="805" formatCode="General">
                  <c:v>3.2</c:v>
                </c:pt>
                <c:pt idx="806" formatCode="General">
                  <c:v>3.23</c:v>
                </c:pt>
                <c:pt idx="807" formatCode="General">
                  <c:v>3.15</c:v>
                </c:pt>
                <c:pt idx="808" formatCode="General">
                  <c:v>3.25</c:v>
                </c:pt>
                <c:pt idx="809" formatCode="General">
                  <c:v>3.35</c:v>
                </c:pt>
                <c:pt idx="810" formatCode="General">
                  <c:v>3.26</c:v>
                </c:pt>
                <c:pt idx="811" formatCode="General">
                  <c:v>3.28</c:v>
                </c:pt>
                <c:pt idx="812" formatCode="General">
                  <c:v>3.33</c:v>
                </c:pt>
                <c:pt idx="813" formatCode="General">
                  <c:v>3.28</c:v>
                </c:pt>
                <c:pt idx="814" formatCode="General">
                  <c:v>3.28</c:v>
                </c:pt>
                <c:pt idx="815" formatCode="General">
                  <c:v>3.2</c:v>
                </c:pt>
                <c:pt idx="816" formatCode="General">
                  <c:v>3.15</c:v>
                </c:pt>
                <c:pt idx="817" formatCode="General">
                  <c:v>3.25</c:v>
                </c:pt>
                <c:pt idx="818" formatCode="General">
                  <c:v>3.29</c:v>
                </c:pt>
                <c:pt idx="819" formatCode="General">
                  <c:v>3.26</c:v>
                </c:pt>
                <c:pt idx="820" formatCode="General">
                  <c:v>3.24</c:v>
                </c:pt>
                <c:pt idx="821" formatCode="General">
                  <c:v>3.28</c:v>
                </c:pt>
                <c:pt idx="822" formatCode="General">
                  <c:v>3.28</c:v>
                </c:pt>
                <c:pt idx="823" formatCode="General">
                  <c:v>3.27</c:v>
                </c:pt>
                <c:pt idx="824" formatCode="General">
                  <c:v>3.26</c:v>
                </c:pt>
                <c:pt idx="825" formatCode="General">
                  <c:v>3.27</c:v>
                </c:pt>
                <c:pt idx="826" formatCode="General">
                  <c:v>3.29</c:v>
                </c:pt>
                <c:pt idx="827" formatCode="General">
                  <c:v>3.25</c:v>
                </c:pt>
                <c:pt idx="828" formatCode="General">
                  <c:v>3.27</c:v>
                </c:pt>
                <c:pt idx="829" formatCode="General">
                  <c:v>3.28</c:v>
                </c:pt>
                <c:pt idx="830" formatCode="General">
                  <c:v>3.35</c:v>
                </c:pt>
                <c:pt idx="831" formatCode="General">
                  <c:v>3.44</c:v>
                </c:pt>
                <c:pt idx="832" formatCode="General">
                  <c:v>3.48</c:v>
                </c:pt>
                <c:pt idx="833" formatCode="General">
                  <c:v>3.48</c:v>
                </c:pt>
                <c:pt idx="834" formatCode="General">
                  <c:v>3.63</c:v>
                </c:pt>
                <c:pt idx="835" formatCode="General">
                  <c:v>3.82</c:v>
                </c:pt>
                <c:pt idx="836" formatCode="General">
                  <c:v>3.7</c:v>
                </c:pt>
                <c:pt idx="837" formatCode="General">
                  <c:v>3.64</c:v>
                </c:pt>
                <c:pt idx="838" formatCode="General">
                  <c:v>3.78</c:v>
                </c:pt>
                <c:pt idx="839" formatCode="General">
                  <c:v>3.7</c:v>
                </c:pt>
                <c:pt idx="840" formatCode="General">
                  <c:v>3.76</c:v>
                </c:pt>
                <c:pt idx="841" formatCode="General">
                  <c:v>3.61</c:v>
                </c:pt>
                <c:pt idx="842" formatCode="General">
                  <c:v>3.56</c:v>
                </c:pt>
                <c:pt idx="843" formatCode="General">
                  <c:v>3.57</c:v>
                </c:pt>
                <c:pt idx="844" formatCode="0.00">
                  <c:v>3.55</c:v>
                </c:pt>
                <c:pt idx="845" formatCode="0.00">
                  <c:v>3.54</c:v>
                </c:pt>
                <c:pt idx="846" formatCode="0.00">
                  <c:v>3.51</c:v>
                </c:pt>
                <c:pt idx="847" formatCode="0.00">
                  <c:v>3.5</c:v>
                </c:pt>
                <c:pt idx="848" formatCode="0.00">
                  <c:v>3.52</c:v>
                </c:pt>
                <c:pt idx="849" formatCode="0.00">
                  <c:v>3.43</c:v>
                </c:pt>
                <c:pt idx="850" formatCode="0.00">
                  <c:v>3.4</c:v>
                </c:pt>
                <c:pt idx="851" formatCode="0.00">
                  <c:v>3.45</c:v>
                </c:pt>
                <c:pt idx="852" formatCode="0.00">
                  <c:v>3.49</c:v>
                </c:pt>
                <c:pt idx="853" formatCode="0.00">
                  <c:v>3.54</c:v>
                </c:pt>
                <c:pt idx="854" formatCode="0.00">
                  <c:v>3.67</c:v>
                </c:pt>
                <c:pt idx="855" formatCode="0.00">
                  <c:v>3.61</c:v>
                </c:pt>
                <c:pt idx="856" formatCode="0.00">
                  <c:v>3.75</c:v>
                </c:pt>
                <c:pt idx="857" formatCode="0.00">
                  <c:v>3.83</c:v>
                </c:pt>
                <c:pt idx="858" formatCode="0.00">
                  <c:v>3.97</c:v>
                </c:pt>
                <c:pt idx="859" formatCode="0.00">
                  <c:v>3.96</c:v>
                </c:pt>
                <c:pt idx="860" formatCode="0.00">
                  <c:v>3.95</c:v>
                </c:pt>
                <c:pt idx="861" formatCode="0.00">
                  <c:v>4.21</c:v>
                </c:pt>
                <c:pt idx="862" formatCode="0.00">
                  <c:v>4.17</c:v>
                </c:pt>
                <c:pt idx="863" formatCode="0.00">
                  <c:v>4.13</c:v>
                </c:pt>
                <c:pt idx="864" formatCode="0.00">
                  <c:v>4.05</c:v>
                </c:pt>
                <c:pt idx="865" formatCode="0.00">
                  <c:v>4.09</c:v>
                </c:pt>
                <c:pt idx="866" formatCode="0.00">
                  <c:v>3.95</c:v>
                </c:pt>
                <c:pt idx="867" formatCode="0.00">
                  <c:v>3.85</c:v>
                </c:pt>
                <c:pt idx="868" formatCode="0.00">
                  <c:v>3.81</c:v>
                </c:pt>
                <c:pt idx="869" formatCode="0.00">
                  <c:v>3.85</c:v>
                </c:pt>
                <c:pt idx="870" formatCode="0.00">
                  <c:v>3.83</c:v>
                </c:pt>
                <c:pt idx="871" formatCode="0.00">
                  <c:v>3.9</c:v>
                </c:pt>
                <c:pt idx="872" formatCode="0.00">
                  <c:v>3.88</c:v>
                </c:pt>
                <c:pt idx="873" formatCode="0.00">
                  <c:v>3.84</c:v>
                </c:pt>
                <c:pt idx="874" formatCode="0.00">
                  <c:v>3.91</c:v>
                </c:pt>
                <c:pt idx="875" formatCode="0.00">
                  <c:v>3.84</c:v>
                </c:pt>
                <c:pt idx="876" formatCode="0.00">
                  <c:v>3.92</c:v>
                </c:pt>
                <c:pt idx="877" formatCode="General">
                  <c:v>3.82</c:v>
                </c:pt>
                <c:pt idx="878" formatCode="General">
                  <c:v>3.91</c:v>
                </c:pt>
                <c:pt idx="879" formatCode="General">
                  <c:v>3.78</c:v>
                </c:pt>
                <c:pt idx="880" formatCode="General">
                  <c:v>3.72</c:v>
                </c:pt>
                <c:pt idx="881" formatCode="0.00">
                  <c:v>3.7</c:v>
                </c:pt>
                <c:pt idx="882" formatCode="General">
                  <c:v>3.76</c:v>
                </c:pt>
                <c:pt idx="883" formatCode="General">
                  <c:v>3.74</c:v>
                </c:pt>
                <c:pt idx="884" formatCode="General">
                  <c:v>3.67</c:v>
                </c:pt>
                <c:pt idx="885" formatCode="General">
                  <c:v>3.66</c:v>
                </c:pt>
                <c:pt idx="886" formatCode="General">
                  <c:v>3.63</c:v>
                </c:pt>
                <c:pt idx="887" formatCode="General">
                  <c:v>3.62</c:v>
                </c:pt>
                <c:pt idx="888" formatCode="General">
                  <c:v>3.58</c:v>
                </c:pt>
                <c:pt idx="889" formatCode="General">
                  <c:v>3.48</c:v>
                </c:pt>
                <c:pt idx="890" formatCode="General">
                  <c:v>3.55</c:v>
                </c:pt>
                <c:pt idx="896" formatCode="0.00">
                  <c:v>3.8609090909090908</c:v>
                </c:pt>
                <c:pt idx="897" formatCode="0.00">
                  <c:v>3.729444444444444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6179184"/>
        <c:axId val="609798512"/>
      </c:lineChart>
      <c:lineChart>
        <c:grouping val="standard"/>
        <c:varyColors val="0"/>
        <c:ser>
          <c:idx val="5"/>
          <c:order val="3"/>
          <c:tx>
            <c:strRef>
              <c:f>yield_out!$H$1</c:f>
              <c:strCache>
                <c:ptCount val="1"/>
                <c:pt idx="0">
                  <c:v>15 éves</c:v>
                </c:pt>
              </c:strCache>
            </c:strRef>
          </c:tx>
          <c:spPr>
            <a:ln>
              <a:solidFill>
                <a:srgbClr val="006666"/>
              </a:solidFill>
            </a:ln>
          </c:spPr>
          <c:marker>
            <c:symbol val="none"/>
          </c:marker>
          <c:cat>
            <c:numRef>
              <c:f>yield_out!$A$759:$A$1980</c:f>
              <c:numCache>
                <c:formatCode>dd\.mm\.yyyy</c:formatCode>
                <c:ptCount val="1222"/>
                <c:pt idx="0">
                  <c:v>40546</c:v>
                </c:pt>
                <c:pt idx="1">
                  <c:v>40547</c:v>
                </c:pt>
                <c:pt idx="2">
                  <c:v>40548</c:v>
                </c:pt>
                <c:pt idx="3">
                  <c:v>40549</c:v>
                </c:pt>
                <c:pt idx="4">
                  <c:v>40550</c:v>
                </c:pt>
                <c:pt idx="5">
                  <c:v>40553</c:v>
                </c:pt>
                <c:pt idx="6">
                  <c:v>40554</c:v>
                </c:pt>
                <c:pt idx="7">
                  <c:v>40555</c:v>
                </c:pt>
                <c:pt idx="8">
                  <c:v>40556</c:v>
                </c:pt>
                <c:pt idx="9">
                  <c:v>40557</c:v>
                </c:pt>
                <c:pt idx="10">
                  <c:v>40560</c:v>
                </c:pt>
                <c:pt idx="11">
                  <c:v>40561</c:v>
                </c:pt>
                <c:pt idx="12">
                  <c:v>40562</c:v>
                </c:pt>
                <c:pt idx="13">
                  <c:v>40563</c:v>
                </c:pt>
                <c:pt idx="14">
                  <c:v>40564</c:v>
                </c:pt>
                <c:pt idx="15">
                  <c:v>40567</c:v>
                </c:pt>
                <c:pt idx="16">
                  <c:v>40568</c:v>
                </c:pt>
                <c:pt idx="17">
                  <c:v>40569</c:v>
                </c:pt>
                <c:pt idx="18">
                  <c:v>40570</c:v>
                </c:pt>
                <c:pt idx="19">
                  <c:v>40571</c:v>
                </c:pt>
                <c:pt idx="20">
                  <c:v>40574</c:v>
                </c:pt>
                <c:pt idx="21">
                  <c:v>40575</c:v>
                </c:pt>
                <c:pt idx="22">
                  <c:v>40576</c:v>
                </c:pt>
                <c:pt idx="23">
                  <c:v>40577</c:v>
                </c:pt>
                <c:pt idx="24">
                  <c:v>40578</c:v>
                </c:pt>
                <c:pt idx="25">
                  <c:v>40581</c:v>
                </c:pt>
                <c:pt idx="26">
                  <c:v>40582</c:v>
                </c:pt>
                <c:pt idx="27">
                  <c:v>40583</c:v>
                </c:pt>
                <c:pt idx="28">
                  <c:v>40584</c:v>
                </c:pt>
                <c:pt idx="29">
                  <c:v>40585</c:v>
                </c:pt>
                <c:pt idx="30">
                  <c:v>40588</c:v>
                </c:pt>
                <c:pt idx="31">
                  <c:v>40589</c:v>
                </c:pt>
                <c:pt idx="32">
                  <c:v>40590</c:v>
                </c:pt>
                <c:pt idx="33">
                  <c:v>40591</c:v>
                </c:pt>
                <c:pt idx="34">
                  <c:v>40592</c:v>
                </c:pt>
                <c:pt idx="35">
                  <c:v>40595</c:v>
                </c:pt>
                <c:pt idx="36">
                  <c:v>40596</c:v>
                </c:pt>
                <c:pt idx="37">
                  <c:v>40597</c:v>
                </c:pt>
                <c:pt idx="38">
                  <c:v>40598</c:v>
                </c:pt>
                <c:pt idx="39">
                  <c:v>40599</c:v>
                </c:pt>
                <c:pt idx="40">
                  <c:v>40602</c:v>
                </c:pt>
                <c:pt idx="41">
                  <c:v>40603</c:v>
                </c:pt>
                <c:pt idx="42">
                  <c:v>40604</c:v>
                </c:pt>
                <c:pt idx="43">
                  <c:v>40605</c:v>
                </c:pt>
                <c:pt idx="44">
                  <c:v>40606</c:v>
                </c:pt>
                <c:pt idx="45">
                  <c:v>40609</c:v>
                </c:pt>
                <c:pt idx="46">
                  <c:v>40610</c:v>
                </c:pt>
                <c:pt idx="47">
                  <c:v>40611</c:v>
                </c:pt>
                <c:pt idx="48">
                  <c:v>40612</c:v>
                </c:pt>
                <c:pt idx="49">
                  <c:v>40613</c:v>
                </c:pt>
                <c:pt idx="50">
                  <c:v>40618</c:v>
                </c:pt>
                <c:pt idx="51">
                  <c:v>40619</c:v>
                </c:pt>
                <c:pt idx="52">
                  <c:v>40620</c:v>
                </c:pt>
                <c:pt idx="53">
                  <c:v>40623</c:v>
                </c:pt>
                <c:pt idx="54">
                  <c:v>40624</c:v>
                </c:pt>
                <c:pt idx="55">
                  <c:v>40625</c:v>
                </c:pt>
                <c:pt idx="56">
                  <c:v>40626</c:v>
                </c:pt>
                <c:pt idx="57">
                  <c:v>40627</c:v>
                </c:pt>
                <c:pt idx="58">
                  <c:v>40630</c:v>
                </c:pt>
                <c:pt idx="59">
                  <c:v>40631</c:v>
                </c:pt>
                <c:pt idx="60">
                  <c:v>40632</c:v>
                </c:pt>
                <c:pt idx="61">
                  <c:v>40633</c:v>
                </c:pt>
                <c:pt idx="62">
                  <c:v>40634</c:v>
                </c:pt>
                <c:pt idx="63">
                  <c:v>40637</c:v>
                </c:pt>
                <c:pt idx="64">
                  <c:v>40638</c:v>
                </c:pt>
                <c:pt idx="65">
                  <c:v>40639</c:v>
                </c:pt>
                <c:pt idx="66">
                  <c:v>40640</c:v>
                </c:pt>
                <c:pt idx="67">
                  <c:v>40641</c:v>
                </c:pt>
                <c:pt idx="68">
                  <c:v>40644</c:v>
                </c:pt>
                <c:pt idx="69">
                  <c:v>40645</c:v>
                </c:pt>
                <c:pt idx="70">
                  <c:v>40646</c:v>
                </c:pt>
                <c:pt idx="71">
                  <c:v>40647</c:v>
                </c:pt>
                <c:pt idx="72">
                  <c:v>40648</c:v>
                </c:pt>
                <c:pt idx="73">
                  <c:v>40651</c:v>
                </c:pt>
                <c:pt idx="74">
                  <c:v>40652</c:v>
                </c:pt>
                <c:pt idx="75">
                  <c:v>40653</c:v>
                </c:pt>
                <c:pt idx="76">
                  <c:v>40654</c:v>
                </c:pt>
                <c:pt idx="77">
                  <c:v>40655</c:v>
                </c:pt>
                <c:pt idx="78">
                  <c:v>40659</c:v>
                </c:pt>
                <c:pt idx="79">
                  <c:v>40660</c:v>
                </c:pt>
                <c:pt idx="80">
                  <c:v>40661</c:v>
                </c:pt>
                <c:pt idx="81">
                  <c:v>40662</c:v>
                </c:pt>
                <c:pt idx="82">
                  <c:v>40665</c:v>
                </c:pt>
                <c:pt idx="83">
                  <c:v>40666</c:v>
                </c:pt>
                <c:pt idx="84">
                  <c:v>40667</c:v>
                </c:pt>
                <c:pt idx="85">
                  <c:v>40668</c:v>
                </c:pt>
                <c:pt idx="86">
                  <c:v>40669</c:v>
                </c:pt>
                <c:pt idx="87">
                  <c:v>40672</c:v>
                </c:pt>
                <c:pt idx="88">
                  <c:v>40673</c:v>
                </c:pt>
                <c:pt idx="89">
                  <c:v>40674</c:v>
                </c:pt>
                <c:pt idx="90">
                  <c:v>40675</c:v>
                </c:pt>
                <c:pt idx="91">
                  <c:v>40676</c:v>
                </c:pt>
                <c:pt idx="92">
                  <c:v>40679</c:v>
                </c:pt>
                <c:pt idx="93">
                  <c:v>40680</c:v>
                </c:pt>
                <c:pt idx="94">
                  <c:v>40681</c:v>
                </c:pt>
                <c:pt idx="95">
                  <c:v>40682</c:v>
                </c:pt>
                <c:pt idx="96">
                  <c:v>40683</c:v>
                </c:pt>
                <c:pt idx="97">
                  <c:v>40686</c:v>
                </c:pt>
                <c:pt idx="98">
                  <c:v>40687</c:v>
                </c:pt>
                <c:pt idx="99">
                  <c:v>40688</c:v>
                </c:pt>
                <c:pt idx="100">
                  <c:v>40689</c:v>
                </c:pt>
                <c:pt idx="101">
                  <c:v>40690</c:v>
                </c:pt>
                <c:pt idx="102">
                  <c:v>40693</c:v>
                </c:pt>
                <c:pt idx="103">
                  <c:v>40694</c:v>
                </c:pt>
                <c:pt idx="104">
                  <c:v>40695</c:v>
                </c:pt>
                <c:pt idx="105">
                  <c:v>40696</c:v>
                </c:pt>
                <c:pt idx="106">
                  <c:v>40697</c:v>
                </c:pt>
                <c:pt idx="107">
                  <c:v>40700</c:v>
                </c:pt>
                <c:pt idx="108">
                  <c:v>40701</c:v>
                </c:pt>
                <c:pt idx="109">
                  <c:v>40702</c:v>
                </c:pt>
                <c:pt idx="110">
                  <c:v>40703</c:v>
                </c:pt>
                <c:pt idx="111">
                  <c:v>40704</c:v>
                </c:pt>
                <c:pt idx="112">
                  <c:v>40708</c:v>
                </c:pt>
                <c:pt idx="113">
                  <c:v>40709</c:v>
                </c:pt>
                <c:pt idx="114">
                  <c:v>40710</c:v>
                </c:pt>
                <c:pt idx="115">
                  <c:v>40711</c:v>
                </c:pt>
                <c:pt idx="116">
                  <c:v>40714</c:v>
                </c:pt>
                <c:pt idx="117">
                  <c:v>40715</c:v>
                </c:pt>
                <c:pt idx="118">
                  <c:v>40716</c:v>
                </c:pt>
                <c:pt idx="119">
                  <c:v>40717</c:v>
                </c:pt>
                <c:pt idx="120">
                  <c:v>40718</c:v>
                </c:pt>
                <c:pt idx="121">
                  <c:v>40721</c:v>
                </c:pt>
                <c:pt idx="122">
                  <c:v>40722</c:v>
                </c:pt>
                <c:pt idx="123">
                  <c:v>40723</c:v>
                </c:pt>
                <c:pt idx="124">
                  <c:v>40724</c:v>
                </c:pt>
                <c:pt idx="125">
                  <c:v>40725</c:v>
                </c:pt>
                <c:pt idx="126">
                  <c:v>40728</c:v>
                </c:pt>
                <c:pt idx="127">
                  <c:v>40729</c:v>
                </c:pt>
                <c:pt idx="128">
                  <c:v>40730</c:v>
                </c:pt>
                <c:pt idx="129">
                  <c:v>40731</c:v>
                </c:pt>
                <c:pt idx="130">
                  <c:v>40732</c:v>
                </c:pt>
                <c:pt idx="131">
                  <c:v>40735</c:v>
                </c:pt>
                <c:pt idx="132">
                  <c:v>40736</c:v>
                </c:pt>
                <c:pt idx="133">
                  <c:v>40737</c:v>
                </c:pt>
                <c:pt idx="134">
                  <c:v>40738</c:v>
                </c:pt>
                <c:pt idx="135">
                  <c:v>40739</c:v>
                </c:pt>
                <c:pt idx="136">
                  <c:v>40742</c:v>
                </c:pt>
                <c:pt idx="137">
                  <c:v>40743</c:v>
                </c:pt>
                <c:pt idx="138">
                  <c:v>40744</c:v>
                </c:pt>
                <c:pt idx="139">
                  <c:v>40745</c:v>
                </c:pt>
                <c:pt idx="140">
                  <c:v>40746</c:v>
                </c:pt>
                <c:pt idx="141">
                  <c:v>40749</c:v>
                </c:pt>
                <c:pt idx="142">
                  <c:v>40750</c:v>
                </c:pt>
                <c:pt idx="143">
                  <c:v>40751</c:v>
                </c:pt>
                <c:pt idx="144">
                  <c:v>40752</c:v>
                </c:pt>
                <c:pt idx="145">
                  <c:v>40753</c:v>
                </c:pt>
                <c:pt idx="146">
                  <c:v>40756</c:v>
                </c:pt>
                <c:pt idx="147">
                  <c:v>40757</c:v>
                </c:pt>
                <c:pt idx="148">
                  <c:v>40758</c:v>
                </c:pt>
                <c:pt idx="149">
                  <c:v>40759</c:v>
                </c:pt>
                <c:pt idx="150">
                  <c:v>40760</c:v>
                </c:pt>
                <c:pt idx="151">
                  <c:v>40763</c:v>
                </c:pt>
                <c:pt idx="152">
                  <c:v>40764</c:v>
                </c:pt>
                <c:pt idx="153">
                  <c:v>40765</c:v>
                </c:pt>
                <c:pt idx="154">
                  <c:v>40766</c:v>
                </c:pt>
                <c:pt idx="155">
                  <c:v>40767</c:v>
                </c:pt>
                <c:pt idx="156">
                  <c:v>40770</c:v>
                </c:pt>
                <c:pt idx="157">
                  <c:v>40771</c:v>
                </c:pt>
                <c:pt idx="158">
                  <c:v>40772</c:v>
                </c:pt>
                <c:pt idx="159">
                  <c:v>40773</c:v>
                </c:pt>
                <c:pt idx="160">
                  <c:v>40774</c:v>
                </c:pt>
                <c:pt idx="161">
                  <c:v>40777</c:v>
                </c:pt>
                <c:pt idx="162">
                  <c:v>40778</c:v>
                </c:pt>
                <c:pt idx="163">
                  <c:v>40779</c:v>
                </c:pt>
                <c:pt idx="164">
                  <c:v>40780</c:v>
                </c:pt>
                <c:pt idx="165">
                  <c:v>40781</c:v>
                </c:pt>
                <c:pt idx="166">
                  <c:v>40784</c:v>
                </c:pt>
                <c:pt idx="167">
                  <c:v>40785</c:v>
                </c:pt>
                <c:pt idx="168">
                  <c:v>40786</c:v>
                </c:pt>
                <c:pt idx="169">
                  <c:v>40787</c:v>
                </c:pt>
                <c:pt idx="170">
                  <c:v>40788</c:v>
                </c:pt>
                <c:pt idx="171">
                  <c:v>40791</c:v>
                </c:pt>
                <c:pt idx="172">
                  <c:v>40792</c:v>
                </c:pt>
                <c:pt idx="173">
                  <c:v>40793</c:v>
                </c:pt>
                <c:pt idx="174">
                  <c:v>40794</c:v>
                </c:pt>
                <c:pt idx="175">
                  <c:v>40795</c:v>
                </c:pt>
                <c:pt idx="176">
                  <c:v>40798</c:v>
                </c:pt>
                <c:pt idx="177">
                  <c:v>40799</c:v>
                </c:pt>
                <c:pt idx="178">
                  <c:v>40800</c:v>
                </c:pt>
                <c:pt idx="179">
                  <c:v>40801</c:v>
                </c:pt>
                <c:pt idx="180">
                  <c:v>40802</c:v>
                </c:pt>
                <c:pt idx="181">
                  <c:v>40805</c:v>
                </c:pt>
                <c:pt idx="182">
                  <c:v>40806</c:v>
                </c:pt>
                <c:pt idx="183">
                  <c:v>40807</c:v>
                </c:pt>
                <c:pt idx="184">
                  <c:v>40808</c:v>
                </c:pt>
                <c:pt idx="185">
                  <c:v>40809</c:v>
                </c:pt>
                <c:pt idx="186">
                  <c:v>40812</c:v>
                </c:pt>
                <c:pt idx="187">
                  <c:v>40813</c:v>
                </c:pt>
                <c:pt idx="188">
                  <c:v>40814</c:v>
                </c:pt>
                <c:pt idx="189">
                  <c:v>40815</c:v>
                </c:pt>
                <c:pt idx="190">
                  <c:v>40816</c:v>
                </c:pt>
                <c:pt idx="191">
                  <c:v>40819</c:v>
                </c:pt>
                <c:pt idx="192">
                  <c:v>40820</c:v>
                </c:pt>
                <c:pt idx="193">
                  <c:v>40821</c:v>
                </c:pt>
                <c:pt idx="194">
                  <c:v>40822</c:v>
                </c:pt>
                <c:pt idx="195">
                  <c:v>40823</c:v>
                </c:pt>
                <c:pt idx="196">
                  <c:v>40826</c:v>
                </c:pt>
                <c:pt idx="197">
                  <c:v>40827</c:v>
                </c:pt>
                <c:pt idx="198">
                  <c:v>40828</c:v>
                </c:pt>
                <c:pt idx="199">
                  <c:v>40829</c:v>
                </c:pt>
                <c:pt idx="200">
                  <c:v>40830</c:v>
                </c:pt>
                <c:pt idx="201">
                  <c:v>40833</c:v>
                </c:pt>
                <c:pt idx="202">
                  <c:v>40834</c:v>
                </c:pt>
                <c:pt idx="203">
                  <c:v>40835</c:v>
                </c:pt>
                <c:pt idx="204">
                  <c:v>40836</c:v>
                </c:pt>
                <c:pt idx="205">
                  <c:v>40837</c:v>
                </c:pt>
                <c:pt idx="206">
                  <c:v>40840</c:v>
                </c:pt>
                <c:pt idx="207">
                  <c:v>40841</c:v>
                </c:pt>
                <c:pt idx="208">
                  <c:v>40842</c:v>
                </c:pt>
                <c:pt idx="209">
                  <c:v>40843</c:v>
                </c:pt>
                <c:pt idx="210">
                  <c:v>40844</c:v>
                </c:pt>
                <c:pt idx="211">
                  <c:v>40849</c:v>
                </c:pt>
                <c:pt idx="212">
                  <c:v>40850</c:v>
                </c:pt>
                <c:pt idx="213">
                  <c:v>40851</c:v>
                </c:pt>
                <c:pt idx="214">
                  <c:v>40854</c:v>
                </c:pt>
                <c:pt idx="215">
                  <c:v>40855</c:v>
                </c:pt>
                <c:pt idx="216">
                  <c:v>40856</c:v>
                </c:pt>
                <c:pt idx="217">
                  <c:v>40857</c:v>
                </c:pt>
                <c:pt idx="218">
                  <c:v>40858</c:v>
                </c:pt>
                <c:pt idx="219">
                  <c:v>40861</c:v>
                </c:pt>
                <c:pt idx="220">
                  <c:v>40862</c:v>
                </c:pt>
                <c:pt idx="221">
                  <c:v>40863</c:v>
                </c:pt>
                <c:pt idx="222">
                  <c:v>40864</c:v>
                </c:pt>
                <c:pt idx="223">
                  <c:v>40865</c:v>
                </c:pt>
                <c:pt idx="224">
                  <c:v>40868</c:v>
                </c:pt>
                <c:pt idx="225">
                  <c:v>40869</c:v>
                </c:pt>
                <c:pt idx="226">
                  <c:v>40870</c:v>
                </c:pt>
                <c:pt idx="227">
                  <c:v>40871</c:v>
                </c:pt>
                <c:pt idx="228">
                  <c:v>40872</c:v>
                </c:pt>
                <c:pt idx="229">
                  <c:v>40875</c:v>
                </c:pt>
                <c:pt idx="230">
                  <c:v>40876</c:v>
                </c:pt>
                <c:pt idx="231">
                  <c:v>40877</c:v>
                </c:pt>
                <c:pt idx="232">
                  <c:v>40878</c:v>
                </c:pt>
                <c:pt idx="233">
                  <c:v>40879</c:v>
                </c:pt>
                <c:pt idx="234">
                  <c:v>40882</c:v>
                </c:pt>
                <c:pt idx="235">
                  <c:v>40883</c:v>
                </c:pt>
                <c:pt idx="236">
                  <c:v>40884</c:v>
                </c:pt>
                <c:pt idx="237">
                  <c:v>40885</c:v>
                </c:pt>
                <c:pt idx="238">
                  <c:v>40886</c:v>
                </c:pt>
                <c:pt idx="239">
                  <c:v>40889</c:v>
                </c:pt>
                <c:pt idx="240">
                  <c:v>40890</c:v>
                </c:pt>
                <c:pt idx="241">
                  <c:v>40891</c:v>
                </c:pt>
                <c:pt idx="242">
                  <c:v>40892</c:v>
                </c:pt>
                <c:pt idx="243">
                  <c:v>40893</c:v>
                </c:pt>
                <c:pt idx="244">
                  <c:v>40896</c:v>
                </c:pt>
                <c:pt idx="245">
                  <c:v>40897</c:v>
                </c:pt>
                <c:pt idx="246">
                  <c:v>40898</c:v>
                </c:pt>
                <c:pt idx="247">
                  <c:v>40899</c:v>
                </c:pt>
                <c:pt idx="248">
                  <c:v>40900</c:v>
                </c:pt>
                <c:pt idx="249">
                  <c:v>40904</c:v>
                </c:pt>
                <c:pt idx="250">
                  <c:v>40905</c:v>
                </c:pt>
                <c:pt idx="251">
                  <c:v>40906</c:v>
                </c:pt>
                <c:pt idx="252">
                  <c:v>40907</c:v>
                </c:pt>
                <c:pt idx="253">
                  <c:v>40910</c:v>
                </c:pt>
                <c:pt idx="254">
                  <c:v>40911</c:v>
                </c:pt>
                <c:pt idx="255">
                  <c:v>40912</c:v>
                </c:pt>
                <c:pt idx="256">
                  <c:v>40913</c:v>
                </c:pt>
                <c:pt idx="257">
                  <c:v>40914</c:v>
                </c:pt>
                <c:pt idx="258">
                  <c:v>40917</c:v>
                </c:pt>
                <c:pt idx="259">
                  <c:v>40918</c:v>
                </c:pt>
                <c:pt idx="260">
                  <c:v>40919</c:v>
                </c:pt>
                <c:pt idx="261">
                  <c:v>40920</c:v>
                </c:pt>
                <c:pt idx="262">
                  <c:v>40921</c:v>
                </c:pt>
                <c:pt idx="263">
                  <c:v>40924</c:v>
                </c:pt>
                <c:pt idx="264">
                  <c:v>40925</c:v>
                </c:pt>
                <c:pt idx="265">
                  <c:v>40926</c:v>
                </c:pt>
                <c:pt idx="266">
                  <c:v>40927</c:v>
                </c:pt>
                <c:pt idx="267">
                  <c:v>40928</c:v>
                </c:pt>
                <c:pt idx="268">
                  <c:v>40931</c:v>
                </c:pt>
                <c:pt idx="269">
                  <c:v>40932</c:v>
                </c:pt>
                <c:pt idx="270">
                  <c:v>40933</c:v>
                </c:pt>
                <c:pt idx="271">
                  <c:v>40934</c:v>
                </c:pt>
                <c:pt idx="272">
                  <c:v>40935</c:v>
                </c:pt>
                <c:pt idx="273">
                  <c:v>40938</c:v>
                </c:pt>
                <c:pt idx="274">
                  <c:v>40939</c:v>
                </c:pt>
                <c:pt idx="275">
                  <c:v>40940</c:v>
                </c:pt>
                <c:pt idx="276">
                  <c:v>40941</c:v>
                </c:pt>
                <c:pt idx="277">
                  <c:v>40942</c:v>
                </c:pt>
                <c:pt idx="278">
                  <c:v>40945</c:v>
                </c:pt>
                <c:pt idx="279">
                  <c:v>40946</c:v>
                </c:pt>
                <c:pt idx="280">
                  <c:v>40947</c:v>
                </c:pt>
                <c:pt idx="281">
                  <c:v>40948</c:v>
                </c:pt>
                <c:pt idx="282">
                  <c:v>40949</c:v>
                </c:pt>
                <c:pt idx="283">
                  <c:v>40952</c:v>
                </c:pt>
                <c:pt idx="284">
                  <c:v>40953</c:v>
                </c:pt>
                <c:pt idx="285">
                  <c:v>40954</c:v>
                </c:pt>
                <c:pt idx="286">
                  <c:v>40955</c:v>
                </c:pt>
                <c:pt idx="287">
                  <c:v>40956</c:v>
                </c:pt>
                <c:pt idx="288">
                  <c:v>40959</c:v>
                </c:pt>
                <c:pt idx="289">
                  <c:v>40960</c:v>
                </c:pt>
                <c:pt idx="290">
                  <c:v>40961</c:v>
                </c:pt>
                <c:pt idx="291">
                  <c:v>40962</c:v>
                </c:pt>
                <c:pt idx="292">
                  <c:v>40963</c:v>
                </c:pt>
                <c:pt idx="293">
                  <c:v>40966</c:v>
                </c:pt>
                <c:pt idx="294">
                  <c:v>40967</c:v>
                </c:pt>
                <c:pt idx="295">
                  <c:v>40968</c:v>
                </c:pt>
                <c:pt idx="296">
                  <c:v>40969</c:v>
                </c:pt>
                <c:pt idx="297">
                  <c:v>40970</c:v>
                </c:pt>
                <c:pt idx="298">
                  <c:v>40973</c:v>
                </c:pt>
                <c:pt idx="299">
                  <c:v>40974</c:v>
                </c:pt>
                <c:pt idx="300">
                  <c:v>40975</c:v>
                </c:pt>
                <c:pt idx="301">
                  <c:v>40976</c:v>
                </c:pt>
                <c:pt idx="302">
                  <c:v>40977</c:v>
                </c:pt>
                <c:pt idx="303">
                  <c:v>40980</c:v>
                </c:pt>
                <c:pt idx="304">
                  <c:v>40981</c:v>
                </c:pt>
                <c:pt idx="305">
                  <c:v>40982</c:v>
                </c:pt>
                <c:pt idx="306">
                  <c:v>40987</c:v>
                </c:pt>
                <c:pt idx="307">
                  <c:v>40988</c:v>
                </c:pt>
                <c:pt idx="308">
                  <c:v>40989</c:v>
                </c:pt>
                <c:pt idx="309">
                  <c:v>40990</c:v>
                </c:pt>
                <c:pt idx="310">
                  <c:v>40991</c:v>
                </c:pt>
                <c:pt idx="311">
                  <c:v>40994</c:v>
                </c:pt>
                <c:pt idx="312">
                  <c:v>40995</c:v>
                </c:pt>
                <c:pt idx="313">
                  <c:v>40996</c:v>
                </c:pt>
                <c:pt idx="314">
                  <c:v>40997</c:v>
                </c:pt>
                <c:pt idx="315">
                  <c:v>40998</c:v>
                </c:pt>
                <c:pt idx="316">
                  <c:v>41001</c:v>
                </c:pt>
                <c:pt idx="317">
                  <c:v>41002</c:v>
                </c:pt>
                <c:pt idx="318">
                  <c:v>41003</c:v>
                </c:pt>
                <c:pt idx="319">
                  <c:v>41004</c:v>
                </c:pt>
                <c:pt idx="320">
                  <c:v>41009</c:v>
                </c:pt>
                <c:pt idx="321">
                  <c:v>41010</c:v>
                </c:pt>
                <c:pt idx="322">
                  <c:v>41011</c:v>
                </c:pt>
                <c:pt idx="323">
                  <c:v>41012</c:v>
                </c:pt>
                <c:pt idx="324">
                  <c:v>41015</c:v>
                </c:pt>
                <c:pt idx="325">
                  <c:v>41016</c:v>
                </c:pt>
                <c:pt idx="326">
                  <c:v>41017</c:v>
                </c:pt>
                <c:pt idx="327">
                  <c:v>41018</c:v>
                </c:pt>
                <c:pt idx="328">
                  <c:v>41019</c:v>
                </c:pt>
                <c:pt idx="329">
                  <c:v>41022</c:v>
                </c:pt>
                <c:pt idx="330">
                  <c:v>41023</c:v>
                </c:pt>
                <c:pt idx="331">
                  <c:v>41024</c:v>
                </c:pt>
                <c:pt idx="332">
                  <c:v>41025</c:v>
                </c:pt>
                <c:pt idx="333">
                  <c:v>41026</c:v>
                </c:pt>
                <c:pt idx="334">
                  <c:v>41031</c:v>
                </c:pt>
                <c:pt idx="335">
                  <c:v>41032</c:v>
                </c:pt>
                <c:pt idx="336">
                  <c:v>41033</c:v>
                </c:pt>
                <c:pt idx="337">
                  <c:v>41036</c:v>
                </c:pt>
                <c:pt idx="338">
                  <c:v>41037</c:v>
                </c:pt>
                <c:pt idx="339">
                  <c:v>41038</c:v>
                </c:pt>
                <c:pt idx="340">
                  <c:v>41039</c:v>
                </c:pt>
                <c:pt idx="341">
                  <c:v>41040</c:v>
                </c:pt>
                <c:pt idx="342">
                  <c:v>41043</c:v>
                </c:pt>
                <c:pt idx="343">
                  <c:v>41044</c:v>
                </c:pt>
                <c:pt idx="344">
                  <c:v>41045</c:v>
                </c:pt>
                <c:pt idx="345">
                  <c:v>41046</c:v>
                </c:pt>
                <c:pt idx="346">
                  <c:v>41047</c:v>
                </c:pt>
                <c:pt idx="347">
                  <c:v>41050</c:v>
                </c:pt>
                <c:pt idx="348">
                  <c:v>41051</c:v>
                </c:pt>
                <c:pt idx="349">
                  <c:v>41052</c:v>
                </c:pt>
                <c:pt idx="350">
                  <c:v>41053</c:v>
                </c:pt>
                <c:pt idx="351">
                  <c:v>41054</c:v>
                </c:pt>
                <c:pt idx="352">
                  <c:v>41058</c:v>
                </c:pt>
                <c:pt idx="353">
                  <c:v>41059</c:v>
                </c:pt>
                <c:pt idx="354">
                  <c:v>41060</c:v>
                </c:pt>
                <c:pt idx="355">
                  <c:v>41061</c:v>
                </c:pt>
                <c:pt idx="356">
                  <c:v>41064</c:v>
                </c:pt>
                <c:pt idx="357">
                  <c:v>41065</c:v>
                </c:pt>
                <c:pt idx="358">
                  <c:v>41066</c:v>
                </c:pt>
                <c:pt idx="359">
                  <c:v>41067</c:v>
                </c:pt>
                <c:pt idx="360">
                  <c:v>41068</c:v>
                </c:pt>
                <c:pt idx="361">
                  <c:v>41071</c:v>
                </c:pt>
                <c:pt idx="362">
                  <c:v>41072</c:v>
                </c:pt>
                <c:pt idx="363">
                  <c:v>41073</c:v>
                </c:pt>
                <c:pt idx="364">
                  <c:v>41074</c:v>
                </c:pt>
                <c:pt idx="365">
                  <c:v>41075</c:v>
                </c:pt>
                <c:pt idx="366">
                  <c:v>41078</c:v>
                </c:pt>
                <c:pt idx="367">
                  <c:v>41079</c:v>
                </c:pt>
                <c:pt idx="368">
                  <c:v>41080</c:v>
                </c:pt>
                <c:pt idx="369">
                  <c:v>41081</c:v>
                </c:pt>
                <c:pt idx="370">
                  <c:v>41082</c:v>
                </c:pt>
                <c:pt idx="371">
                  <c:v>41085</c:v>
                </c:pt>
                <c:pt idx="372">
                  <c:v>41086</c:v>
                </c:pt>
                <c:pt idx="373">
                  <c:v>41087</c:v>
                </c:pt>
                <c:pt idx="374">
                  <c:v>41088</c:v>
                </c:pt>
                <c:pt idx="375">
                  <c:v>41089</c:v>
                </c:pt>
                <c:pt idx="376">
                  <c:v>41092</c:v>
                </c:pt>
                <c:pt idx="377">
                  <c:v>41093</c:v>
                </c:pt>
                <c:pt idx="378">
                  <c:v>41094</c:v>
                </c:pt>
                <c:pt idx="379">
                  <c:v>41095</c:v>
                </c:pt>
                <c:pt idx="380">
                  <c:v>41096</c:v>
                </c:pt>
                <c:pt idx="381">
                  <c:v>41099</c:v>
                </c:pt>
                <c:pt idx="382">
                  <c:v>41100</c:v>
                </c:pt>
                <c:pt idx="383">
                  <c:v>41101</c:v>
                </c:pt>
                <c:pt idx="384">
                  <c:v>41102</c:v>
                </c:pt>
                <c:pt idx="385">
                  <c:v>41103</c:v>
                </c:pt>
                <c:pt idx="386">
                  <c:v>41106</c:v>
                </c:pt>
                <c:pt idx="387">
                  <c:v>41107</c:v>
                </c:pt>
                <c:pt idx="388">
                  <c:v>41108</c:v>
                </c:pt>
                <c:pt idx="389">
                  <c:v>41109</c:v>
                </c:pt>
                <c:pt idx="390">
                  <c:v>41110</c:v>
                </c:pt>
                <c:pt idx="391">
                  <c:v>41113</c:v>
                </c:pt>
                <c:pt idx="392">
                  <c:v>41114</c:v>
                </c:pt>
                <c:pt idx="393">
                  <c:v>41115</c:v>
                </c:pt>
                <c:pt idx="394">
                  <c:v>41116</c:v>
                </c:pt>
                <c:pt idx="395">
                  <c:v>41117</c:v>
                </c:pt>
                <c:pt idx="396">
                  <c:v>41120</c:v>
                </c:pt>
                <c:pt idx="397">
                  <c:v>41121</c:v>
                </c:pt>
                <c:pt idx="398">
                  <c:v>41122</c:v>
                </c:pt>
                <c:pt idx="399">
                  <c:v>41123</c:v>
                </c:pt>
                <c:pt idx="400">
                  <c:v>41124</c:v>
                </c:pt>
                <c:pt idx="401">
                  <c:v>41127</c:v>
                </c:pt>
                <c:pt idx="402">
                  <c:v>41128</c:v>
                </c:pt>
                <c:pt idx="403">
                  <c:v>41129</c:v>
                </c:pt>
                <c:pt idx="404">
                  <c:v>41130</c:v>
                </c:pt>
                <c:pt idx="405">
                  <c:v>41131</c:v>
                </c:pt>
                <c:pt idx="406">
                  <c:v>41134</c:v>
                </c:pt>
                <c:pt idx="407">
                  <c:v>41135</c:v>
                </c:pt>
                <c:pt idx="408">
                  <c:v>41136</c:v>
                </c:pt>
                <c:pt idx="409">
                  <c:v>41137</c:v>
                </c:pt>
                <c:pt idx="410">
                  <c:v>41138</c:v>
                </c:pt>
                <c:pt idx="411">
                  <c:v>41142</c:v>
                </c:pt>
                <c:pt idx="412">
                  <c:v>41143</c:v>
                </c:pt>
                <c:pt idx="413">
                  <c:v>41144</c:v>
                </c:pt>
                <c:pt idx="414">
                  <c:v>41145</c:v>
                </c:pt>
                <c:pt idx="415">
                  <c:v>41148</c:v>
                </c:pt>
                <c:pt idx="416">
                  <c:v>41149</c:v>
                </c:pt>
                <c:pt idx="417">
                  <c:v>41150</c:v>
                </c:pt>
                <c:pt idx="418">
                  <c:v>41151</c:v>
                </c:pt>
                <c:pt idx="419">
                  <c:v>41152</c:v>
                </c:pt>
                <c:pt idx="420">
                  <c:v>41155</c:v>
                </c:pt>
                <c:pt idx="421">
                  <c:v>41156</c:v>
                </c:pt>
                <c:pt idx="422">
                  <c:v>41157</c:v>
                </c:pt>
                <c:pt idx="423">
                  <c:v>41158</c:v>
                </c:pt>
                <c:pt idx="424">
                  <c:v>41159</c:v>
                </c:pt>
                <c:pt idx="425">
                  <c:v>41162</c:v>
                </c:pt>
                <c:pt idx="426">
                  <c:v>41163</c:v>
                </c:pt>
                <c:pt idx="427">
                  <c:v>41164</c:v>
                </c:pt>
                <c:pt idx="428">
                  <c:v>41165</c:v>
                </c:pt>
                <c:pt idx="429">
                  <c:v>41166</c:v>
                </c:pt>
                <c:pt idx="430">
                  <c:v>41169</c:v>
                </c:pt>
                <c:pt idx="431">
                  <c:v>41170</c:v>
                </c:pt>
                <c:pt idx="432">
                  <c:v>41171</c:v>
                </c:pt>
                <c:pt idx="433">
                  <c:v>41172</c:v>
                </c:pt>
                <c:pt idx="434">
                  <c:v>41173</c:v>
                </c:pt>
                <c:pt idx="435">
                  <c:v>41176</c:v>
                </c:pt>
                <c:pt idx="436">
                  <c:v>41177</c:v>
                </c:pt>
                <c:pt idx="437">
                  <c:v>41178</c:v>
                </c:pt>
                <c:pt idx="438">
                  <c:v>41179</c:v>
                </c:pt>
                <c:pt idx="439">
                  <c:v>41180</c:v>
                </c:pt>
                <c:pt idx="440">
                  <c:v>41183</c:v>
                </c:pt>
                <c:pt idx="441">
                  <c:v>41184</c:v>
                </c:pt>
                <c:pt idx="442">
                  <c:v>41185</c:v>
                </c:pt>
                <c:pt idx="443">
                  <c:v>41186</c:v>
                </c:pt>
                <c:pt idx="444">
                  <c:v>41187</c:v>
                </c:pt>
                <c:pt idx="445">
                  <c:v>41190</c:v>
                </c:pt>
                <c:pt idx="446">
                  <c:v>41191</c:v>
                </c:pt>
                <c:pt idx="447">
                  <c:v>41192</c:v>
                </c:pt>
                <c:pt idx="448">
                  <c:v>41193</c:v>
                </c:pt>
                <c:pt idx="449">
                  <c:v>41194</c:v>
                </c:pt>
                <c:pt idx="450">
                  <c:v>41197</c:v>
                </c:pt>
                <c:pt idx="451">
                  <c:v>41198</c:v>
                </c:pt>
                <c:pt idx="452">
                  <c:v>41199</c:v>
                </c:pt>
                <c:pt idx="453">
                  <c:v>41200</c:v>
                </c:pt>
                <c:pt idx="454">
                  <c:v>41201</c:v>
                </c:pt>
                <c:pt idx="455">
                  <c:v>41206</c:v>
                </c:pt>
                <c:pt idx="456">
                  <c:v>41207</c:v>
                </c:pt>
                <c:pt idx="457">
                  <c:v>41208</c:v>
                </c:pt>
                <c:pt idx="458">
                  <c:v>41211</c:v>
                </c:pt>
                <c:pt idx="459">
                  <c:v>41212</c:v>
                </c:pt>
                <c:pt idx="460">
                  <c:v>41213</c:v>
                </c:pt>
                <c:pt idx="461">
                  <c:v>41218</c:v>
                </c:pt>
                <c:pt idx="462">
                  <c:v>41219</c:v>
                </c:pt>
                <c:pt idx="463">
                  <c:v>41220</c:v>
                </c:pt>
                <c:pt idx="464">
                  <c:v>41221</c:v>
                </c:pt>
                <c:pt idx="465">
                  <c:v>41222</c:v>
                </c:pt>
                <c:pt idx="466">
                  <c:v>41225</c:v>
                </c:pt>
                <c:pt idx="467">
                  <c:v>41226</c:v>
                </c:pt>
                <c:pt idx="468">
                  <c:v>41227</c:v>
                </c:pt>
                <c:pt idx="469">
                  <c:v>41228</c:v>
                </c:pt>
                <c:pt idx="470">
                  <c:v>41229</c:v>
                </c:pt>
                <c:pt idx="471">
                  <c:v>41232</c:v>
                </c:pt>
                <c:pt idx="472">
                  <c:v>41233</c:v>
                </c:pt>
                <c:pt idx="473">
                  <c:v>41234</c:v>
                </c:pt>
                <c:pt idx="474">
                  <c:v>41235</c:v>
                </c:pt>
                <c:pt idx="475">
                  <c:v>41236</c:v>
                </c:pt>
                <c:pt idx="476">
                  <c:v>41239</c:v>
                </c:pt>
                <c:pt idx="477">
                  <c:v>41240</c:v>
                </c:pt>
                <c:pt idx="478">
                  <c:v>41241</c:v>
                </c:pt>
                <c:pt idx="479">
                  <c:v>41242</c:v>
                </c:pt>
                <c:pt idx="480">
                  <c:v>41243</c:v>
                </c:pt>
                <c:pt idx="481">
                  <c:v>41246</c:v>
                </c:pt>
                <c:pt idx="482">
                  <c:v>41247</c:v>
                </c:pt>
                <c:pt idx="483">
                  <c:v>41248</c:v>
                </c:pt>
                <c:pt idx="484">
                  <c:v>41249</c:v>
                </c:pt>
                <c:pt idx="485">
                  <c:v>41250</c:v>
                </c:pt>
                <c:pt idx="486">
                  <c:v>41253</c:v>
                </c:pt>
                <c:pt idx="487">
                  <c:v>41254</c:v>
                </c:pt>
                <c:pt idx="488">
                  <c:v>41255</c:v>
                </c:pt>
                <c:pt idx="489">
                  <c:v>41256</c:v>
                </c:pt>
                <c:pt idx="490">
                  <c:v>41257</c:v>
                </c:pt>
                <c:pt idx="491">
                  <c:v>41260</c:v>
                </c:pt>
                <c:pt idx="492">
                  <c:v>41261</c:v>
                </c:pt>
                <c:pt idx="493">
                  <c:v>41262</c:v>
                </c:pt>
                <c:pt idx="494">
                  <c:v>41263</c:v>
                </c:pt>
                <c:pt idx="495">
                  <c:v>41264</c:v>
                </c:pt>
                <c:pt idx="496">
                  <c:v>41270</c:v>
                </c:pt>
                <c:pt idx="497">
                  <c:v>41271</c:v>
                </c:pt>
                <c:pt idx="498">
                  <c:v>41276</c:v>
                </c:pt>
                <c:pt idx="499">
                  <c:v>41277</c:v>
                </c:pt>
                <c:pt idx="500">
                  <c:v>41278</c:v>
                </c:pt>
                <c:pt idx="501">
                  <c:v>41281</c:v>
                </c:pt>
                <c:pt idx="502">
                  <c:v>41282</c:v>
                </c:pt>
                <c:pt idx="503">
                  <c:v>41283</c:v>
                </c:pt>
                <c:pt idx="504">
                  <c:v>41284</c:v>
                </c:pt>
                <c:pt idx="505">
                  <c:v>41285</c:v>
                </c:pt>
                <c:pt idx="506">
                  <c:v>41288</c:v>
                </c:pt>
                <c:pt idx="507">
                  <c:v>41289</c:v>
                </c:pt>
                <c:pt idx="508">
                  <c:v>41290</c:v>
                </c:pt>
                <c:pt idx="509">
                  <c:v>41291</c:v>
                </c:pt>
                <c:pt idx="510">
                  <c:v>41292</c:v>
                </c:pt>
                <c:pt idx="511">
                  <c:v>41295</c:v>
                </c:pt>
                <c:pt idx="512">
                  <c:v>41296</c:v>
                </c:pt>
                <c:pt idx="513">
                  <c:v>41297</c:v>
                </c:pt>
                <c:pt idx="514">
                  <c:v>41298</c:v>
                </c:pt>
                <c:pt idx="515">
                  <c:v>41299</c:v>
                </c:pt>
                <c:pt idx="516">
                  <c:v>41302</c:v>
                </c:pt>
                <c:pt idx="517">
                  <c:v>41303</c:v>
                </c:pt>
                <c:pt idx="518">
                  <c:v>41304</c:v>
                </c:pt>
                <c:pt idx="519">
                  <c:v>41305</c:v>
                </c:pt>
                <c:pt idx="520">
                  <c:v>41306</c:v>
                </c:pt>
                <c:pt idx="521">
                  <c:v>41309</c:v>
                </c:pt>
                <c:pt idx="522">
                  <c:v>41310</c:v>
                </c:pt>
                <c:pt idx="523">
                  <c:v>41311</c:v>
                </c:pt>
                <c:pt idx="524">
                  <c:v>41312</c:v>
                </c:pt>
                <c:pt idx="525">
                  <c:v>41313</c:v>
                </c:pt>
                <c:pt idx="526">
                  <c:v>41316</c:v>
                </c:pt>
                <c:pt idx="527">
                  <c:v>41317</c:v>
                </c:pt>
                <c:pt idx="528">
                  <c:v>41318</c:v>
                </c:pt>
                <c:pt idx="529">
                  <c:v>41319</c:v>
                </c:pt>
                <c:pt idx="530">
                  <c:v>41320</c:v>
                </c:pt>
                <c:pt idx="531">
                  <c:v>41323</c:v>
                </c:pt>
                <c:pt idx="532">
                  <c:v>41324</c:v>
                </c:pt>
                <c:pt idx="533">
                  <c:v>41325</c:v>
                </c:pt>
                <c:pt idx="534">
                  <c:v>41326</c:v>
                </c:pt>
                <c:pt idx="535">
                  <c:v>41327</c:v>
                </c:pt>
                <c:pt idx="536">
                  <c:v>41330</c:v>
                </c:pt>
                <c:pt idx="537">
                  <c:v>41331</c:v>
                </c:pt>
                <c:pt idx="538">
                  <c:v>41332</c:v>
                </c:pt>
                <c:pt idx="539">
                  <c:v>41333</c:v>
                </c:pt>
                <c:pt idx="540">
                  <c:v>41334</c:v>
                </c:pt>
                <c:pt idx="541">
                  <c:v>41337</c:v>
                </c:pt>
                <c:pt idx="542">
                  <c:v>41338</c:v>
                </c:pt>
                <c:pt idx="543">
                  <c:v>41339</c:v>
                </c:pt>
                <c:pt idx="544">
                  <c:v>41340</c:v>
                </c:pt>
                <c:pt idx="545">
                  <c:v>41341</c:v>
                </c:pt>
                <c:pt idx="546">
                  <c:v>41344</c:v>
                </c:pt>
                <c:pt idx="547">
                  <c:v>41345</c:v>
                </c:pt>
                <c:pt idx="548">
                  <c:v>41346</c:v>
                </c:pt>
                <c:pt idx="549">
                  <c:v>41347</c:v>
                </c:pt>
                <c:pt idx="550">
                  <c:v>41351</c:v>
                </c:pt>
                <c:pt idx="551">
                  <c:v>41352</c:v>
                </c:pt>
                <c:pt idx="552">
                  <c:v>41353</c:v>
                </c:pt>
                <c:pt idx="553">
                  <c:v>41354</c:v>
                </c:pt>
                <c:pt idx="554">
                  <c:v>41355</c:v>
                </c:pt>
                <c:pt idx="555">
                  <c:v>41358</c:v>
                </c:pt>
                <c:pt idx="556">
                  <c:v>41359</c:v>
                </c:pt>
                <c:pt idx="557">
                  <c:v>41360</c:v>
                </c:pt>
                <c:pt idx="558">
                  <c:v>41361</c:v>
                </c:pt>
                <c:pt idx="559">
                  <c:v>41366</c:v>
                </c:pt>
                <c:pt idx="560">
                  <c:v>41367</c:v>
                </c:pt>
                <c:pt idx="561">
                  <c:v>41368</c:v>
                </c:pt>
                <c:pt idx="562">
                  <c:v>41369</c:v>
                </c:pt>
                <c:pt idx="563">
                  <c:v>41372</c:v>
                </c:pt>
                <c:pt idx="564">
                  <c:v>41373</c:v>
                </c:pt>
                <c:pt idx="565">
                  <c:v>41374</c:v>
                </c:pt>
                <c:pt idx="566">
                  <c:v>41375</c:v>
                </c:pt>
                <c:pt idx="567">
                  <c:v>41376</c:v>
                </c:pt>
                <c:pt idx="568">
                  <c:v>41379</c:v>
                </c:pt>
                <c:pt idx="569">
                  <c:v>41380</c:v>
                </c:pt>
                <c:pt idx="570">
                  <c:v>41381</c:v>
                </c:pt>
                <c:pt idx="571">
                  <c:v>41382</c:v>
                </c:pt>
                <c:pt idx="572">
                  <c:v>41383</c:v>
                </c:pt>
                <c:pt idx="573">
                  <c:v>41386</c:v>
                </c:pt>
                <c:pt idx="574">
                  <c:v>41387</c:v>
                </c:pt>
                <c:pt idx="575">
                  <c:v>41388</c:v>
                </c:pt>
                <c:pt idx="576">
                  <c:v>41389</c:v>
                </c:pt>
                <c:pt idx="577">
                  <c:v>41390</c:v>
                </c:pt>
                <c:pt idx="578">
                  <c:v>41393</c:v>
                </c:pt>
                <c:pt idx="579">
                  <c:v>41394</c:v>
                </c:pt>
                <c:pt idx="580">
                  <c:v>41396</c:v>
                </c:pt>
                <c:pt idx="581">
                  <c:v>41397</c:v>
                </c:pt>
                <c:pt idx="582">
                  <c:v>41400</c:v>
                </c:pt>
                <c:pt idx="583">
                  <c:v>41401</c:v>
                </c:pt>
                <c:pt idx="584">
                  <c:v>41402</c:v>
                </c:pt>
                <c:pt idx="585">
                  <c:v>41403</c:v>
                </c:pt>
                <c:pt idx="586">
                  <c:v>41404</c:v>
                </c:pt>
                <c:pt idx="587">
                  <c:v>41407</c:v>
                </c:pt>
                <c:pt idx="588">
                  <c:v>41408</c:v>
                </c:pt>
                <c:pt idx="589">
                  <c:v>41409</c:v>
                </c:pt>
                <c:pt idx="590">
                  <c:v>41410</c:v>
                </c:pt>
                <c:pt idx="591">
                  <c:v>41411</c:v>
                </c:pt>
                <c:pt idx="592">
                  <c:v>41415</c:v>
                </c:pt>
                <c:pt idx="593">
                  <c:v>41416</c:v>
                </c:pt>
                <c:pt idx="594">
                  <c:v>41417</c:v>
                </c:pt>
                <c:pt idx="595">
                  <c:v>41418</c:v>
                </c:pt>
                <c:pt idx="596">
                  <c:v>41421</c:v>
                </c:pt>
                <c:pt idx="597">
                  <c:v>41422</c:v>
                </c:pt>
                <c:pt idx="598">
                  <c:v>41423</c:v>
                </c:pt>
                <c:pt idx="599">
                  <c:v>41424</c:v>
                </c:pt>
                <c:pt idx="600">
                  <c:v>41425</c:v>
                </c:pt>
                <c:pt idx="601">
                  <c:v>41428</c:v>
                </c:pt>
                <c:pt idx="602">
                  <c:v>41429</c:v>
                </c:pt>
                <c:pt idx="603">
                  <c:v>41430</c:v>
                </c:pt>
                <c:pt idx="604">
                  <c:v>41431</c:v>
                </c:pt>
                <c:pt idx="605">
                  <c:v>41432</c:v>
                </c:pt>
                <c:pt idx="606">
                  <c:v>41435</c:v>
                </c:pt>
                <c:pt idx="607">
                  <c:v>41436</c:v>
                </c:pt>
                <c:pt idx="608">
                  <c:v>41437</c:v>
                </c:pt>
                <c:pt idx="609">
                  <c:v>41438</c:v>
                </c:pt>
                <c:pt idx="610">
                  <c:v>41439</c:v>
                </c:pt>
                <c:pt idx="611">
                  <c:v>41442</c:v>
                </c:pt>
                <c:pt idx="612">
                  <c:v>41443</c:v>
                </c:pt>
                <c:pt idx="613">
                  <c:v>41444</c:v>
                </c:pt>
                <c:pt idx="614">
                  <c:v>41445</c:v>
                </c:pt>
                <c:pt idx="615">
                  <c:v>41446</c:v>
                </c:pt>
                <c:pt idx="616">
                  <c:v>41449</c:v>
                </c:pt>
                <c:pt idx="617">
                  <c:v>41450</c:v>
                </c:pt>
                <c:pt idx="618">
                  <c:v>41451</c:v>
                </c:pt>
                <c:pt idx="619">
                  <c:v>41452</c:v>
                </c:pt>
                <c:pt idx="620">
                  <c:v>41453</c:v>
                </c:pt>
                <c:pt idx="621">
                  <c:v>41456</c:v>
                </c:pt>
                <c:pt idx="622">
                  <c:v>41457</c:v>
                </c:pt>
                <c:pt idx="623">
                  <c:v>41458</c:v>
                </c:pt>
                <c:pt idx="624">
                  <c:v>41459</c:v>
                </c:pt>
                <c:pt idx="625">
                  <c:v>41460</c:v>
                </c:pt>
                <c:pt idx="626">
                  <c:v>41463</c:v>
                </c:pt>
                <c:pt idx="627">
                  <c:v>41464</c:v>
                </c:pt>
                <c:pt idx="628">
                  <c:v>41465</c:v>
                </c:pt>
                <c:pt idx="629">
                  <c:v>41466</c:v>
                </c:pt>
                <c:pt idx="630">
                  <c:v>41467</c:v>
                </c:pt>
                <c:pt idx="631">
                  <c:v>41470</c:v>
                </c:pt>
                <c:pt idx="632">
                  <c:v>41471</c:v>
                </c:pt>
                <c:pt idx="633">
                  <c:v>41472</c:v>
                </c:pt>
                <c:pt idx="634">
                  <c:v>41473</c:v>
                </c:pt>
                <c:pt idx="635">
                  <c:v>41474</c:v>
                </c:pt>
                <c:pt idx="636">
                  <c:v>41477</c:v>
                </c:pt>
                <c:pt idx="637">
                  <c:v>41478</c:v>
                </c:pt>
                <c:pt idx="638">
                  <c:v>41479</c:v>
                </c:pt>
                <c:pt idx="639">
                  <c:v>41480</c:v>
                </c:pt>
                <c:pt idx="640">
                  <c:v>41481</c:v>
                </c:pt>
                <c:pt idx="641">
                  <c:v>41484</c:v>
                </c:pt>
                <c:pt idx="642">
                  <c:v>41485</c:v>
                </c:pt>
                <c:pt idx="643">
                  <c:v>41486</c:v>
                </c:pt>
                <c:pt idx="644">
                  <c:v>41487</c:v>
                </c:pt>
                <c:pt idx="645">
                  <c:v>41488</c:v>
                </c:pt>
                <c:pt idx="646">
                  <c:v>41491</c:v>
                </c:pt>
                <c:pt idx="647">
                  <c:v>41492</c:v>
                </c:pt>
                <c:pt idx="648">
                  <c:v>41493</c:v>
                </c:pt>
                <c:pt idx="649">
                  <c:v>41494</c:v>
                </c:pt>
                <c:pt idx="650">
                  <c:v>41495</c:v>
                </c:pt>
                <c:pt idx="651">
                  <c:v>41498</c:v>
                </c:pt>
                <c:pt idx="652">
                  <c:v>41499</c:v>
                </c:pt>
                <c:pt idx="653">
                  <c:v>41500</c:v>
                </c:pt>
                <c:pt idx="654">
                  <c:v>41501</c:v>
                </c:pt>
                <c:pt idx="655">
                  <c:v>41502</c:v>
                </c:pt>
                <c:pt idx="656">
                  <c:v>41505</c:v>
                </c:pt>
                <c:pt idx="657">
                  <c:v>41506</c:v>
                </c:pt>
                <c:pt idx="658">
                  <c:v>41507</c:v>
                </c:pt>
                <c:pt idx="659">
                  <c:v>41508</c:v>
                </c:pt>
                <c:pt idx="660">
                  <c:v>41509</c:v>
                </c:pt>
                <c:pt idx="661">
                  <c:v>41512</c:v>
                </c:pt>
                <c:pt idx="662">
                  <c:v>41513</c:v>
                </c:pt>
                <c:pt idx="663">
                  <c:v>41514</c:v>
                </c:pt>
                <c:pt idx="664">
                  <c:v>41515</c:v>
                </c:pt>
                <c:pt idx="665">
                  <c:v>41516</c:v>
                </c:pt>
                <c:pt idx="666">
                  <c:v>41519</c:v>
                </c:pt>
                <c:pt idx="667">
                  <c:v>41520</c:v>
                </c:pt>
                <c:pt idx="668">
                  <c:v>41521</c:v>
                </c:pt>
                <c:pt idx="669">
                  <c:v>41522</c:v>
                </c:pt>
                <c:pt idx="670">
                  <c:v>41523</c:v>
                </c:pt>
                <c:pt idx="671">
                  <c:v>41526</c:v>
                </c:pt>
                <c:pt idx="672">
                  <c:v>41527</c:v>
                </c:pt>
                <c:pt idx="673">
                  <c:v>41528</c:v>
                </c:pt>
                <c:pt idx="674">
                  <c:v>41529</c:v>
                </c:pt>
                <c:pt idx="675">
                  <c:v>41530</c:v>
                </c:pt>
                <c:pt idx="676">
                  <c:v>41533</c:v>
                </c:pt>
                <c:pt idx="677">
                  <c:v>41534</c:v>
                </c:pt>
                <c:pt idx="678">
                  <c:v>41535</c:v>
                </c:pt>
                <c:pt idx="679">
                  <c:v>41536</c:v>
                </c:pt>
                <c:pt idx="680">
                  <c:v>41537</c:v>
                </c:pt>
                <c:pt idx="681">
                  <c:v>41540</c:v>
                </c:pt>
                <c:pt idx="682">
                  <c:v>41541</c:v>
                </c:pt>
                <c:pt idx="683">
                  <c:v>41542</c:v>
                </c:pt>
                <c:pt idx="684">
                  <c:v>41543</c:v>
                </c:pt>
                <c:pt idx="685">
                  <c:v>41544</c:v>
                </c:pt>
                <c:pt idx="686">
                  <c:v>41547</c:v>
                </c:pt>
                <c:pt idx="687">
                  <c:v>41548</c:v>
                </c:pt>
                <c:pt idx="688">
                  <c:v>41549</c:v>
                </c:pt>
                <c:pt idx="689">
                  <c:v>41550</c:v>
                </c:pt>
                <c:pt idx="690">
                  <c:v>41551</c:v>
                </c:pt>
                <c:pt idx="691">
                  <c:v>41554</c:v>
                </c:pt>
                <c:pt idx="692">
                  <c:v>41555</c:v>
                </c:pt>
                <c:pt idx="693">
                  <c:v>41556</c:v>
                </c:pt>
                <c:pt idx="694">
                  <c:v>41557</c:v>
                </c:pt>
                <c:pt idx="695">
                  <c:v>41558</c:v>
                </c:pt>
                <c:pt idx="696">
                  <c:v>41561</c:v>
                </c:pt>
                <c:pt idx="697">
                  <c:v>41562</c:v>
                </c:pt>
                <c:pt idx="698">
                  <c:v>41563</c:v>
                </c:pt>
                <c:pt idx="699">
                  <c:v>41564</c:v>
                </c:pt>
                <c:pt idx="700">
                  <c:v>41565</c:v>
                </c:pt>
                <c:pt idx="701">
                  <c:v>41568</c:v>
                </c:pt>
                <c:pt idx="702">
                  <c:v>41569</c:v>
                </c:pt>
                <c:pt idx="703">
                  <c:v>41570</c:v>
                </c:pt>
                <c:pt idx="704">
                  <c:v>41571</c:v>
                </c:pt>
                <c:pt idx="705">
                  <c:v>41572</c:v>
                </c:pt>
                <c:pt idx="706">
                  <c:v>41575</c:v>
                </c:pt>
                <c:pt idx="707">
                  <c:v>41576</c:v>
                </c:pt>
                <c:pt idx="708">
                  <c:v>41577</c:v>
                </c:pt>
                <c:pt idx="709">
                  <c:v>41578</c:v>
                </c:pt>
                <c:pt idx="710">
                  <c:v>41579</c:v>
                </c:pt>
                <c:pt idx="711">
                  <c:v>41582</c:v>
                </c:pt>
                <c:pt idx="712">
                  <c:v>41583</c:v>
                </c:pt>
                <c:pt idx="713">
                  <c:v>41584</c:v>
                </c:pt>
                <c:pt idx="714">
                  <c:v>41585</c:v>
                </c:pt>
                <c:pt idx="715">
                  <c:v>41586</c:v>
                </c:pt>
                <c:pt idx="716">
                  <c:v>41589</c:v>
                </c:pt>
                <c:pt idx="717">
                  <c:v>41590</c:v>
                </c:pt>
                <c:pt idx="718">
                  <c:v>41591</c:v>
                </c:pt>
                <c:pt idx="719">
                  <c:v>41592</c:v>
                </c:pt>
                <c:pt idx="720">
                  <c:v>41593</c:v>
                </c:pt>
                <c:pt idx="721">
                  <c:v>41596</c:v>
                </c:pt>
                <c:pt idx="722">
                  <c:v>41597</c:v>
                </c:pt>
                <c:pt idx="723">
                  <c:v>41598</c:v>
                </c:pt>
                <c:pt idx="724">
                  <c:v>41599</c:v>
                </c:pt>
                <c:pt idx="725">
                  <c:v>41600</c:v>
                </c:pt>
                <c:pt idx="726">
                  <c:v>41603</c:v>
                </c:pt>
                <c:pt idx="727">
                  <c:v>41604</c:v>
                </c:pt>
                <c:pt idx="728">
                  <c:v>41605</c:v>
                </c:pt>
                <c:pt idx="729">
                  <c:v>41606</c:v>
                </c:pt>
                <c:pt idx="730">
                  <c:v>41607</c:v>
                </c:pt>
                <c:pt idx="731">
                  <c:v>41610</c:v>
                </c:pt>
                <c:pt idx="732">
                  <c:v>41611</c:v>
                </c:pt>
                <c:pt idx="733">
                  <c:v>41612</c:v>
                </c:pt>
                <c:pt idx="734">
                  <c:v>41613</c:v>
                </c:pt>
                <c:pt idx="735">
                  <c:v>41614</c:v>
                </c:pt>
                <c:pt idx="736">
                  <c:v>41617</c:v>
                </c:pt>
                <c:pt idx="737">
                  <c:v>41618</c:v>
                </c:pt>
                <c:pt idx="738">
                  <c:v>41619</c:v>
                </c:pt>
                <c:pt idx="739">
                  <c:v>41620</c:v>
                </c:pt>
                <c:pt idx="740">
                  <c:v>41621</c:v>
                </c:pt>
                <c:pt idx="741">
                  <c:v>41624</c:v>
                </c:pt>
                <c:pt idx="742">
                  <c:v>41625</c:v>
                </c:pt>
                <c:pt idx="743">
                  <c:v>41626</c:v>
                </c:pt>
                <c:pt idx="744">
                  <c:v>41627</c:v>
                </c:pt>
                <c:pt idx="745">
                  <c:v>41628</c:v>
                </c:pt>
                <c:pt idx="746">
                  <c:v>41631</c:v>
                </c:pt>
                <c:pt idx="747">
                  <c:v>41638</c:v>
                </c:pt>
                <c:pt idx="748">
                  <c:v>41639</c:v>
                </c:pt>
                <c:pt idx="749">
                  <c:v>41641</c:v>
                </c:pt>
                <c:pt idx="750">
                  <c:v>41642</c:v>
                </c:pt>
                <c:pt idx="751">
                  <c:v>41645</c:v>
                </c:pt>
                <c:pt idx="752">
                  <c:v>41646</c:v>
                </c:pt>
                <c:pt idx="753">
                  <c:v>41647</c:v>
                </c:pt>
                <c:pt idx="754">
                  <c:v>41648</c:v>
                </c:pt>
                <c:pt idx="755">
                  <c:v>41649</c:v>
                </c:pt>
                <c:pt idx="756">
                  <c:v>41652</c:v>
                </c:pt>
                <c:pt idx="757">
                  <c:v>41653</c:v>
                </c:pt>
                <c:pt idx="758">
                  <c:v>41654</c:v>
                </c:pt>
                <c:pt idx="759">
                  <c:v>41655</c:v>
                </c:pt>
                <c:pt idx="760">
                  <c:v>41656</c:v>
                </c:pt>
                <c:pt idx="761">
                  <c:v>41659</c:v>
                </c:pt>
                <c:pt idx="762">
                  <c:v>41660</c:v>
                </c:pt>
                <c:pt idx="763">
                  <c:v>41661</c:v>
                </c:pt>
                <c:pt idx="764">
                  <c:v>41662</c:v>
                </c:pt>
                <c:pt idx="765">
                  <c:v>41663</c:v>
                </c:pt>
                <c:pt idx="766">
                  <c:v>41666</c:v>
                </c:pt>
                <c:pt idx="767">
                  <c:v>41667</c:v>
                </c:pt>
                <c:pt idx="768">
                  <c:v>41668</c:v>
                </c:pt>
                <c:pt idx="769">
                  <c:v>41669</c:v>
                </c:pt>
                <c:pt idx="770">
                  <c:v>41670</c:v>
                </c:pt>
                <c:pt idx="771">
                  <c:v>41673</c:v>
                </c:pt>
                <c:pt idx="772">
                  <c:v>41674</c:v>
                </c:pt>
                <c:pt idx="773">
                  <c:v>41675</c:v>
                </c:pt>
                <c:pt idx="774">
                  <c:v>41676</c:v>
                </c:pt>
                <c:pt idx="775">
                  <c:v>41677</c:v>
                </c:pt>
                <c:pt idx="776">
                  <c:v>41680</c:v>
                </c:pt>
                <c:pt idx="777">
                  <c:v>41681</c:v>
                </c:pt>
                <c:pt idx="778">
                  <c:v>41682</c:v>
                </c:pt>
                <c:pt idx="779">
                  <c:v>41683</c:v>
                </c:pt>
                <c:pt idx="780">
                  <c:v>41684</c:v>
                </c:pt>
                <c:pt idx="781">
                  <c:v>41687</c:v>
                </c:pt>
                <c:pt idx="782">
                  <c:v>41688</c:v>
                </c:pt>
                <c:pt idx="783">
                  <c:v>41689</c:v>
                </c:pt>
                <c:pt idx="784">
                  <c:v>41690</c:v>
                </c:pt>
                <c:pt idx="785">
                  <c:v>41691</c:v>
                </c:pt>
                <c:pt idx="786">
                  <c:v>41694</c:v>
                </c:pt>
                <c:pt idx="787">
                  <c:v>41695</c:v>
                </c:pt>
                <c:pt idx="788">
                  <c:v>41696</c:v>
                </c:pt>
                <c:pt idx="789">
                  <c:v>41697</c:v>
                </c:pt>
                <c:pt idx="790">
                  <c:v>41698</c:v>
                </c:pt>
                <c:pt idx="791">
                  <c:v>41701</c:v>
                </c:pt>
                <c:pt idx="792">
                  <c:v>41702</c:v>
                </c:pt>
                <c:pt idx="793">
                  <c:v>41703</c:v>
                </c:pt>
                <c:pt idx="794">
                  <c:v>41704</c:v>
                </c:pt>
                <c:pt idx="795">
                  <c:v>41705</c:v>
                </c:pt>
                <c:pt idx="796">
                  <c:v>41708</c:v>
                </c:pt>
                <c:pt idx="797">
                  <c:v>41709</c:v>
                </c:pt>
                <c:pt idx="798">
                  <c:v>41710</c:v>
                </c:pt>
                <c:pt idx="799">
                  <c:v>41711</c:v>
                </c:pt>
                <c:pt idx="800">
                  <c:v>41712</c:v>
                </c:pt>
                <c:pt idx="801">
                  <c:v>41715</c:v>
                </c:pt>
                <c:pt idx="802">
                  <c:v>41716</c:v>
                </c:pt>
                <c:pt idx="803">
                  <c:v>41717</c:v>
                </c:pt>
                <c:pt idx="804">
                  <c:v>41718</c:v>
                </c:pt>
                <c:pt idx="805">
                  <c:v>41719</c:v>
                </c:pt>
                <c:pt idx="806">
                  <c:v>41722</c:v>
                </c:pt>
                <c:pt idx="807">
                  <c:v>41723</c:v>
                </c:pt>
                <c:pt idx="808">
                  <c:v>41724</c:v>
                </c:pt>
                <c:pt idx="809">
                  <c:v>41725</c:v>
                </c:pt>
                <c:pt idx="810">
                  <c:v>41726</c:v>
                </c:pt>
                <c:pt idx="811">
                  <c:v>41729</c:v>
                </c:pt>
                <c:pt idx="812">
                  <c:v>41730</c:v>
                </c:pt>
                <c:pt idx="813">
                  <c:v>41731</c:v>
                </c:pt>
                <c:pt idx="814">
                  <c:v>41732</c:v>
                </c:pt>
                <c:pt idx="815">
                  <c:v>41733</c:v>
                </c:pt>
                <c:pt idx="816">
                  <c:v>41736</c:v>
                </c:pt>
                <c:pt idx="817">
                  <c:v>41737</c:v>
                </c:pt>
                <c:pt idx="818">
                  <c:v>41738</c:v>
                </c:pt>
                <c:pt idx="819">
                  <c:v>41739</c:v>
                </c:pt>
                <c:pt idx="820">
                  <c:v>41740</c:v>
                </c:pt>
                <c:pt idx="821">
                  <c:v>41743</c:v>
                </c:pt>
                <c:pt idx="822">
                  <c:v>41744</c:v>
                </c:pt>
                <c:pt idx="823">
                  <c:v>41745</c:v>
                </c:pt>
                <c:pt idx="824">
                  <c:v>41746</c:v>
                </c:pt>
                <c:pt idx="825">
                  <c:v>41747</c:v>
                </c:pt>
                <c:pt idx="826">
                  <c:v>41750</c:v>
                </c:pt>
                <c:pt idx="827">
                  <c:v>41751</c:v>
                </c:pt>
                <c:pt idx="828">
                  <c:v>41752</c:v>
                </c:pt>
                <c:pt idx="829">
                  <c:v>41753</c:v>
                </c:pt>
                <c:pt idx="830">
                  <c:v>41754</c:v>
                </c:pt>
                <c:pt idx="831">
                  <c:v>41757</c:v>
                </c:pt>
                <c:pt idx="832">
                  <c:v>41758</c:v>
                </c:pt>
                <c:pt idx="833">
                  <c:v>41759</c:v>
                </c:pt>
                <c:pt idx="834">
                  <c:v>41760</c:v>
                </c:pt>
                <c:pt idx="835">
                  <c:v>41761</c:v>
                </c:pt>
                <c:pt idx="836">
                  <c:v>41764</c:v>
                </c:pt>
                <c:pt idx="837">
                  <c:v>41765</c:v>
                </c:pt>
                <c:pt idx="838">
                  <c:v>41766</c:v>
                </c:pt>
                <c:pt idx="839">
                  <c:v>41767</c:v>
                </c:pt>
                <c:pt idx="840">
                  <c:v>41768</c:v>
                </c:pt>
                <c:pt idx="841">
                  <c:v>41771</c:v>
                </c:pt>
                <c:pt idx="842">
                  <c:v>41772</c:v>
                </c:pt>
                <c:pt idx="843">
                  <c:v>41773</c:v>
                </c:pt>
                <c:pt idx="844">
                  <c:v>41774</c:v>
                </c:pt>
                <c:pt idx="845">
                  <c:v>41775</c:v>
                </c:pt>
                <c:pt idx="846">
                  <c:v>41778</c:v>
                </c:pt>
                <c:pt idx="847">
                  <c:v>41779</c:v>
                </c:pt>
                <c:pt idx="848">
                  <c:v>41780</c:v>
                </c:pt>
                <c:pt idx="849">
                  <c:v>41781</c:v>
                </c:pt>
                <c:pt idx="850">
                  <c:v>41782</c:v>
                </c:pt>
                <c:pt idx="851">
                  <c:v>41785</c:v>
                </c:pt>
                <c:pt idx="852">
                  <c:v>41786</c:v>
                </c:pt>
                <c:pt idx="853">
                  <c:v>41787</c:v>
                </c:pt>
                <c:pt idx="854">
                  <c:v>41788</c:v>
                </c:pt>
                <c:pt idx="855">
                  <c:v>41789</c:v>
                </c:pt>
                <c:pt idx="856">
                  <c:v>41792</c:v>
                </c:pt>
                <c:pt idx="857">
                  <c:v>41793</c:v>
                </c:pt>
                <c:pt idx="858">
                  <c:v>41794</c:v>
                </c:pt>
                <c:pt idx="859">
                  <c:v>41795</c:v>
                </c:pt>
                <c:pt idx="860">
                  <c:v>41796</c:v>
                </c:pt>
                <c:pt idx="861">
                  <c:v>41799</c:v>
                </c:pt>
                <c:pt idx="862">
                  <c:v>41800</c:v>
                </c:pt>
                <c:pt idx="863">
                  <c:v>41801</c:v>
                </c:pt>
                <c:pt idx="864">
                  <c:v>41802</c:v>
                </c:pt>
                <c:pt idx="865">
                  <c:v>41803</c:v>
                </c:pt>
                <c:pt idx="866">
                  <c:v>41806</c:v>
                </c:pt>
                <c:pt idx="867">
                  <c:v>41807</c:v>
                </c:pt>
                <c:pt idx="868">
                  <c:v>41808</c:v>
                </c:pt>
                <c:pt idx="869">
                  <c:v>41809</c:v>
                </c:pt>
                <c:pt idx="870">
                  <c:v>41810</c:v>
                </c:pt>
                <c:pt idx="871">
                  <c:v>41813</c:v>
                </c:pt>
                <c:pt idx="872">
                  <c:v>41814</c:v>
                </c:pt>
                <c:pt idx="873">
                  <c:v>41815</c:v>
                </c:pt>
                <c:pt idx="874">
                  <c:v>41816</c:v>
                </c:pt>
                <c:pt idx="875">
                  <c:v>41817</c:v>
                </c:pt>
                <c:pt idx="876">
                  <c:v>41820</c:v>
                </c:pt>
                <c:pt idx="877">
                  <c:v>41821</c:v>
                </c:pt>
                <c:pt idx="878">
                  <c:v>41822</c:v>
                </c:pt>
                <c:pt idx="879">
                  <c:v>41823</c:v>
                </c:pt>
                <c:pt idx="880">
                  <c:v>41824</c:v>
                </c:pt>
                <c:pt idx="881">
                  <c:v>41827</c:v>
                </c:pt>
                <c:pt idx="882">
                  <c:v>41828</c:v>
                </c:pt>
                <c:pt idx="883">
                  <c:v>41829</c:v>
                </c:pt>
                <c:pt idx="884">
                  <c:v>41830</c:v>
                </c:pt>
                <c:pt idx="885">
                  <c:v>41831</c:v>
                </c:pt>
                <c:pt idx="886">
                  <c:v>41834</c:v>
                </c:pt>
                <c:pt idx="887">
                  <c:v>41835</c:v>
                </c:pt>
                <c:pt idx="888">
                  <c:v>41836</c:v>
                </c:pt>
                <c:pt idx="889">
                  <c:v>41837</c:v>
                </c:pt>
                <c:pt idx="890">
                  <c:v>41838</c:v>
                </c:pt>
                <c:pt idx="891">
                  <c:v>41841</c:v>
                </c:pt>
                <c:pt idx="892">
                  <c:v>41842</c:v>
                </c:pt>
                <c:pt idx="893">
                  <c:v>41843</c:v>
                </c:pt>
                <c:pt idx="894">
                  <c:v>41844</c:v>
                </c:pt>
                <c:pt idx="895">
                  <c:v>41845</c:v>
                </c:pt>
                <c:pt idx="896">
                  <c:v>41848</c:v>
                </c:pt>
                <c:pt idx="897">
                  <c:v>41849</c:v>
                </c:pt>
                <c:pt idx="898">
                  <c:v>41850</c:v>
                </c:pt>
                <c:pt idx="899">
                  <c:v>41851</c:v>
                </c:pt>
                <c:pt idx="900">
                  <c:v>41852</c:v>
                </c:pt>
                <c:pt idx="901">
                  <c:v>41855</c:v>
                </c:pt>
                <c:pt idx="902">
                  <c:v>41856</c:v>
                </c:pt>
                <c:pt idx="903">
                  <c:v>41857</c:v>
                </c:pt>
                <c:pt idx="904">
                  <c:v>41858</c:v>
                </c:pt>
                <c:pt idx="905">
                  <c:v>41859</c:v>
                </c:pt>
                <c:pt idx="906">
                  <c:v>41862</c:v>
                </c:pt>
                <c:pt idx="907">
                  <c:v>41863</c:v>
                </c:pt>
                <c:pt idx="908">
                  <c:v>41864</c:v>
                </c:pt>
                <c:pt idx="909">
                  <c:v>41865</c:v>
                </c:pt>
                <c:pt idx="910">
                  <c:v>41866</c:v>
                </c:pt>
                <c:pt idx="911">
                  <c:v>41869</c:v>
                </c:pt>
                <c:pt idx="912">
                  <c:v>41870</c:v>
                </c:pt>
                <c:pt idx="913">
                  <c:v>41871</c:v>
                </c:pt>
                <c:pt idx="914">
                  <c:v>41872</c:v>
                </c:pt>
                <c:pt idx="915">
                  <c:v>41873</c:v>
                </c:pt>
                <c:pt idx="916">
                  <c:v>41876</c:v>
                </c:pt>
                <c:pt idx="917">
                  <c:v>41877</c:v>
                </c:pt>
                <c:pt idx="918">
                  <c:v>41878</c:v>
                </c:pt>
                <c:pt idx="919">
                  <c:v>41879</c:v>
                </c:pt>
                <c:pt idx="920">
                  <c:v>41880</c:v>
                </c:pt>
                <c:pt idx="921">
                  <c:v>41883</c:v>
                </c:pt>
                <c:pt idx="922">
                  <c:v>41884</c:v>
                </c:pt>
                <c:pt idx="923">
                  <c:v>41885</c:v>
                </c:pt>
                <c:pt idx="924">
                  <c:v>41886</c:v>
                </c:pt>
                <c:pt idx="925">
                  <c:v>41887</c:v>
                </c:pt>
                <c:pt idx="926">
                  <c:v>41890</c:v>
                </c:pt>
                <c:pt idx="927">
                  <c:v>41891</c:v>
                </c:pt>
                <c:pt idx="928">
                  <c:v>41892</c:v>
                </c:pt>
                <c:pt idx="929">
                  <c:v>41893</c:v>
                </c:pt>
                <c:pt idx="930">
                  <c:v>41894</c:v>
                </c:pt>
                <c:pt idx="931">
                  <c:v>41897</c:v>
                </c:pt>
                <c:pt idx="932">
                  <c:v>41898</c:v>
                </c:pt>
                <c:pt idx="933">
                  <c:v>41899</c:v>
                </c:pt>
                <c:pt idx="934">
                  <c:v>41900</c:v>
                </c:pt>
                <c:pt idx="935">
                  <c:v>41901</c:v>
                </c:pt>
                <c:pt idx="936">
                  <c:v>41904</c:v>
                </c:pt>
                <c:pt idx="937">
                  <c:v>41905</c:v>
                </c:pt>
                <c:pt idx="938">
                  <c:v>41906</c:v>
                </c:pt>
                <c:pt idx="939">
                  <c:v>41907</c:v>
                </c:pt>
                <c:pt idx="940">
                  <c:v>41908</c:v>
                </c:pt>
                <c:pt idx="941">
                  <c:v>41911</c:v>
                </c:pt>
                <c:pt idx="942">
                  <c:v>41912</c:v>
                </c:pt>
                <c:pt idx="943">
                  <c:v>41913</c:v>
                </c:pt>
                <c:pt idx="944">
                  <c:v>41914</c:v>
                </c:pt>
                <c:pt idx="945">
                  <c:v>41915</c:v>
                </c:pt>
                <c:pt idx="946">
                  <c:v>41918</c:v>
                </c:pt>
                <c:pt idx="947">
                  <c:v>41919</c:v>
                </c:pt>
                <c:pt idx="948">
                  <c:v>41920</c:v>
                </c:pt>
                <c:pt idx="949">
                  <c:v>41921</c:v>
                </c:pt>
                <c:pt idx="950">
                  <c:v>41922</c:v>
                </c:pt>
                <c:pt idx="951">
                  <c:v>41925</c:v>
                </c:pt>
                <c:pt idx="952">
                  <c:v>41926</c:v>
                </c:pt>
                <c:pt idx="953">
                  <c:v>41927</c:v>
                </c:pt>
                <c:pt idx="954">
                  <c:v>41928</c:v>
                </c:pt>
                <c:pt idx="955">
                  <c:v>41929</c:v>
                </c:pt>
                <c:pt idx="956">
                  <c:v>41932</c:v>
                </c:pt>
                <c:pt idx="957">
                  <c:v>41933</c:v>
                </c:pt>
                <c:pt idx="958">
                  <c:v>41934</c:v>
                </c:pt>
                <c:pt idx="959">
                  <c:v>41939</c:v>
                </c:pt>
                <c:pt idx="960">
                  <c:v>41940</c:v>
                </c:pt>
                <c:pt idx="961">
                  <c:v>41941</c:v>
                </c:pt>
                <c:pt idx="962">
                  <c:v>41942</c:v>
                </c:pt>
                <c:pt idx="963">
                  <c:v>41943</c:v>
                </c:pt>
                <c:pt idx="964">
                  <c:v>41946</c:v>
                </c:pt>
                <c:pt idx="965">
                  <c:v>41947</c:v>
                </c:pt>
                <c:pt idx="966">
                  <c:v>41948</c:v>
                </c:pt>
                <c:pt idx="967">
                  <c:v>41949</c:v>
                </c:pt>
                <c:pt idx="968">
                  <c:v>41950</c:v>
                </c:pt>
                <c:pt idx="969">
                  <c:v>41953</c:v>
                </c:pt>
                <c:pt idx="970">
                  <c:v>41954</c:v>
                </c:pt>
                <c:pt idx="971">
                  <c:v>41955</c:v>
                </c:pt>
                <c:pt idx="972">
                  <c:v>41956</c:v>
                </c:pt>
                <c:pt idx="973">
                  <c:v>41957</c:v>
                </c:pt>
                <c:pt idx="974">
                  <c:v>41960</c:v>
                </c:pt>
                <c:pt idx="975">
                  <c:v>41961</c:v>
                </c:pt>
                <c:pt idx="976">
                  <c:v>41962</c:v>
                </c:pt>
                <c:pt idx="977">
                  <c:v>41963</c:v>
                </c:pt>
                <c:pt idx="978">
                  <c:v>41964</c:v>
                </c:pt>
                <c:pt idx="979">
                  <c:v>41967</c:v>
                </c:pt>
                <c:pt idx="980">
                  <c:v>41968</c:v>
                </c:pt>
                <c:pt idx="981">
                  <c:v>41969</c:v>
                </c:pt>
                <c:pt idx="982">
                  <c:v>41970</c:v>
                </c:pt>
                <c:pt idx="983">
                  <c:v>41971</c:v>
                </c:pt>
                <c:pt idx="984">
                  <c:v>41974</c:v>
                </c:pt>
                <c:pt idx="985">
                  <c:v>41975</c:v>
                </c:pt>
                <c:pt idx="986">
                  <c:v>41976</c:v>
                </c:pt>
                <c:pt idx="987">
                  <c:v>41977</c:v>
                </c:pt>
                <c:pt idx="988">
                  <c:v>41978</c:v>
                </c:pt>
                <c:pt idx="989">
                  <c:v>41981</c:v>
                </c:pt>
                <c:pt idx="990">
                  <c:v>41982</c:v>
                </c:pt>
                <c:pt idx="991">
                  <c:v>41983</c:v>
                </c:pt>
                <c:pt idx="992">
                  <c:v>41984</c:v>
                </c:pt>
                <c:pt idx="993">
                  <c:v>41985</c:v>
                </c:pt>
                <c:pt idx="994">
                  <c:v>41988</c:v>
                </c:pt>
                <c:pt idx="995">
                  <c:v>41989</c:v>
                </c:pt>
                <c:pt idx="996">
                  <c:v>41990</c:v>
                </c:pt>
                <c:pt idx="997">
                  <c:v>41991</c:v>
                </c:pt>
                <c:pt idx="998">
                  <c:v>41992</c:v>
                </c:pt>
                <c:pt idx="999">
                  <c:v>41995</c:v>
                </c:pt>
                <c:pt idx="1000">
                  <c:v>41996</c:v>
                </c:pt>
                <c:pt idx="1001">
                  <c:v>42002</c:v>
                </c:pt>
                <c:pt idx="1002">
                  <c:v>42003</c:v>
                </c:pt>
                <c:pt idx="1003">
                  <c:v>42009</c:v>
                </c:pt>
                <c:pt idx="1004">
                  <c:v>42010</c:v>
                </c:pt>
                <c:pt idx="1005">
                  <c:v>42011</c:v>
                </c:pt>
                <c:pt idx="1006">
                  <c:v>42012</c:v>
                </c:pt>
                <c:pt idx="1007">
                  <c:v>42013</c:v>
                </c:pt>
                <c:pt idx="1008">
                  <c:v>42016</c:v>
                </c:pt>
                <c:pt idx="1009">
                  <c:v>42017</c:v>
                </c:pt>
                <c:pt idx="1010">
                  <c:v>42018</c:v>
                </c:pt>
                <c:pt idx="1011">
                  <c:v>42019</c:v>
                </c:pt>
                <c:pt idx="1012">
                  <c:v>42020</c:v>
                </c:pt>
                <c:pt idx="1013">
                  <c:v>42023</c:v>
                </c:pt>
                <c:pt idx="1014">
                  <c:v>42024</c:v>
                </c:pt>
                <c:pt idx="1015">
                  <c:v>42025</c:v>
                </c:pt>
                <c:pt idx="1016">
                  <c:v>42026</c:v>
                </c:pt>
                <c:pt idx="1017">
                  <c:v>42027</c:v>
                </c:pt>
                <c:pt idx="1018">
                  <c:v>42030</c:v>
                </c:pt>
                <c:pt idx="1019">
                  <c:v>42031</c:v>
                </c:pt>
                <c:pt idx="1020">
                  <c:v>42032</c:v>
                </c:pt>
                <c:pt idx="1021">
                  <c:v>42033</c:v>
                </c:pt>
                <c:pt idx="1022">
                  <c:v>42034</c:v>
                </c:pt>
                <c:pt idx="1023">
                  <c:v>42037</c:v>
                </c:pt>
                <c:pt idx="1024">
                  <c:v>42038</c:v>
                </c:pt>
                <c:pt idx="1025">
                  <c:v>42039</c:v>
                </c:pt>
                <c:pt idx="1026">
                  <c:v>42040</c:v>
                </c:pt>
                <c:pt idx="1027">
                  <c:v>42041</c:v>
                </c:pt>
                <c:pt idx="1028">
                  <c:v>42044</c:v>
                </c:pt>
                <c:pt idx="1029">
                  <c:v>42045</c:v>
                </c:pt>
                <c:pt idx="1030">
                  <c:v>42046</c:v>
                </c:pt>
                <c:pt idx="1031">
                  <c:v>42047</c:v>
                </c:pt>
                <c:pt idx="1032">
                  <c:v>42048</c:v>
                </c:pt>
                <c:pt idx="1033">
                  <c:v>42051</c:v>
                </c:pt>
                <c:pt idx="1034">
                  <c:v>42052</c:v>
                </c:pt>
                <c:pt idx="1035">
                  <c:v>42053</c:v>
                </c:pt>
                <c:pt idx="1036">
                  <c:v>42054</c:v>
                </c:pt>
                <c:pt idx="1037">
                  <c:v>42055</c:v>
                </c:pt>
                <c:pt idx="1038">
                  <c:v>42058</c:v>
                </c:pt>
                <c:pt idx="1039">
                  <c:v>42059</c:v>
                </c:pt>
                <c:pt idx="1040">
                  <c:v>42060</c:v>
                </c:pt>
                <c:pt idx="1041">
                  <c:v>42061</c:v>
                </c:pt>
                <c:pt idx="1042">
                  <c:v>42062</c:v>
                </c:pt>
                <c:pt idx="1043">
                  <c:v>42065</c:v>
                </c:pt>
                <c:pt idx="1044">
                  <c:v>42066</c:v>
                </c:pt>
                <c:pt idx="1045">
                  <c:v>42067</c:v>
                </c:pt>
                <c:pt idx="1046">
                  <c:v>42068</c:v>
                </c:pt>
                <c:pt idx="1047">
                  <c:v>42069</c:v>
                </c:pt>
                <c:pt idx="1048">
                  <c:v>42072</c:v>
                </c:pt>
                <c:pt idx="1049">
                  <c:v>42073</c:v>
                </c:pt>
                <c:pt idx="1050">
                  <c:v>42074</c:v>
                </c:pt>
                <c:pt idx="1051">
                  <c:v>42075</c:v>
                </c:pt>
                <c:pt idx="1052">
                  <c:v>42076</c:v>
                </c:pt>
                <c:pt idx="1053">
                  <c:v>42079</c:v>
                </c:pt>
                <c:pt idx="1054">
                  <c:v>42080</c:v>
                </c:pt>
                <c:pt idx="1055">
                  <c:v>42081</c:v>
                </c:pt>
                <c:pt idx="1056">
                  <c:v>42082</c:v>
                </c:pt>
                <c:pt idx="1057">
                  <c:v>42083</c:v>
                </c:pt>
                <c:pt idx="1058">
                  <c:v>42086</c:v>
                </c:pt>
                <c:pt idx="1059">
                  <c:v>42087</c:v>
                </c:pt>
                <c:pt idx="1060">
                  <c:v>42088</c:v>
                </c:pt>
                <c:pt idx="1061">
                  <c:v>42089</c:v>
                </c:pt>
                <c:pt idx="1062">
                  <c:v>42090</c:v>
                </c:pt>
                <c:pt idx="1063">
                  <c:v>42093</c:v>
                </c:pt>
                <c:pt idx="1064">
                  <c:v>42094</c:v>
                </c:pt>
                <c:pt idx="1065">
                  <c:v>42095</c:v>
                </c:pt>
                <c:pt idx="1066">
                  <c:v>42096</c:v>
                </c:pt>
                <c:pt idx="1067">
                  <c:v>42101</c:v>
                </c:pt>
                <c:pt idx="1068">
                  <c:v>42102</c:v>
                </c:pt>
                <c:pt idx="1069">
                  <c:v>42103</c:v>
                </c:pt>
                <c:pt idx="1070">
                  <c:v>42104</c:v>
                </c:pt>
                <c:pt idx="1071">
                  <c:v>42107</c:v>
                </c:pt>
                <c:pt idx="1072">
                  <c:v>42108</c:v>
                </c:pt>
                <c:pt idx="1073">
                  <c:v>42109</c:v>
                </c:pt>
                <c:pt idx="1074">
                  <c:v>42110</c:v>
                </c:pt>
                <c:pt idx="1075">
                  <c:v>42111</c:v>
                </c:pt>
                <c:pt idx="1076">
                  <c:v>42114</c:v>
                </c:pt>
                <c:pt idx="1077">
                  <c:v>42115</c:v>
                </c:pt>
                <c:pt idx="1078">
                  <c:v>42116</c:v>
                </c:pt>
                <c:pt idx="1079">
                  <c:v>42117</c:v>
                </c:pt>
                <c:pt idx="1080">
                  <c:v>42118</c:v>
                </c:pt>
                <c:pt idx="1081">
                  <c:v>42121</c:v>
                </c:pt>
                <c:pt idx="1082">
                  <c:v>42122</c:v>
                </c:pt>
                <c:pt idx="1083">
                  <c:v>42123</c:v>
                </c:pt>
                <c:pt idx="1084">
                  <c:v>42124</c:v>
                </c:pt>
                <c:pt idx="1085">
                  <c:v>42128</c:v>
                </c:pt>
                <c:pt idx="1086">
                  <c:v>42129</c:v>
                </c:pt>
                <c:pt idx="1087">
                  <c:v>42130</c:v>
                </c:pt>
                <c:pt idx="1088">
                  <c:v>42131</c:v>
                </c:pt>
                <c:pt idx="1089">
                  <c:v>42132</c:v>
                </c:pt>
                <c:pt idx="1090">
                  <c:v>42135</c:v>
                </c:pt>
                <c:pt idx="1091">
                  <c:v>42136</c:v>
                </c:pt>
                <c:pt idx="1092">
                  <c:v>42137</c:v>
                </c:pt>
                <c:pt idx="1093">
                  <c:v>42138</c:v>
                </c:pt>
                <c:pt idx="1094">
                  <c:v>42139</c:v>
                </c:pt>
                <c:pt idx="1095">
                  <c:v>42142</c:v>
                </c:pt>
                <c:pt idx="1096">
                  <c:v>42143</c:v>
                </c:pt>
                <c:pt idx="1097">
                  <c:v>42144</c:v>
                </c:pt>
                <c:pt idx="1098">
                  <c:v>42145</c:v>
                </c:pt>
                <c:pt idx="1099">
                  <c:v>42146</c:v>
                </c:pt>
                <c:pt idx="1100">
                  <c:v>42150</c:v>
                </c:pt>
                <c:pt idx="1101">
                  <c:v>42151</c:v>
                </c:pt>
                <c:pt idx="1102">
                  <c:v>42152</c:v>
                </c:pt>
                <c:pt idx="1103">
                  <c:v>42153</c:v>
                </c:pt>
                <c:pt idx="1104">
                  <c:v>42156</c:v>
                </c:pt>
                <c:pt idx="1105">
                  <c:v>42157</c:v>
                </c:pt>
                <c:pt idx="1106">
                  <c:v>42158</c:v>
                </c:pt>
                <c:pt idx="1107">
                  <c:v>42159</c:v>
                </c:pt>
                <c:pt idx="1108">
                  <c:v>42160</c:v>
                </c:pt>
                <c:pt idx="1109">
                  <c:v>42163</c:v>
                </c:pt>
                <c:pt idx="1110">
                  <c:v>42164</c:v>
                </c:pt>
                <c:pt idx="1111">
                  <c:v>42165</c:v>
                </c:pt>
                <c:pt idx="1112">
                  <c:v>42166</c:v>
                </c:pt>
                <c:pt idx="1113">
                  <c:v>42167</c:v>
                </c:pt>
                <c:pt idx="1114">
                  <c:v>42170</c:v>
                </c:pt>
                <c:pt idx="1115">
                  <c:v>42171</c:v>
                </c:pt>
                <c:pt idx="1116">
                  <c:v>42172</c:v>
                </c:pt>
                <c:pt idx="1117">
                  <c:v>42173</c:v>
                </c:pt>
                <c:pt idx="1118">
                  <c:v>42174</c:v>
                </c:pt>
                <c:pt idx="1119">
                  <c:v>42177</c:v>
                </c:pt>
                <c:pt idx="1120">
                  <c:v>42178</c:v>
                </c:pt>
                <c:pt idx="1121">
                  <c:v>42179</c:v>
                </c:pt>
                <c:pt idx="1122">
                  <c:v>42180</c:v>
                </c:pt>
                <c:pt idx="1123">
                  <c:v>42181</c:v>
                </c:pt>
                <c:pt idx="1124">
                  <c:v>42184</c:v>
                </c:pt>
                <c:pt idx="1125">
                  <c:v>42185</c:v>
                </c:pt>
                <c:pt idx="1126">
                  <c:v>42186</c:v>
                </c:pt>
                <c:pt idx="1127">
                  <c:v>42187</c:v>
                </c:pt>
                <c:pt idx="1128">
                  <c:v>42188</c:v>
                </c:pt>
                <c:pt idx="1129">
                  <c:v>42191</c:v>
                </c:pt>
                <c:pt idx="1130">
                  <c:v>42192</c:v>
                </c:pt>
                <c:pt idx="1131">
                  <c:v>42193</c:v>
                </c:pt>
                <c:pt idx="1132">
                  <c:v>42194</c:v>
                </c:pt>
                <c:pt idx="1133">
                  <c:v>42195</c:v>
                </c:pt>
                <c:pt idx="1134">
                  <c:v>42198</c:v>
                </c:pt>
                <c:pt idx="1135">
                  <c:v>42199</c:v>
                </c:pt>
                <c:pt idx="1136">
                  <c:v>42200</c:v>
                </c:pt>
                <c:pt idx="1137">
                  <c:v>42201</c:v>
                </c:pt>
                <c:pt idx="1138">
                  <c:v>42202</c:v>
                </c:pt>
                <c:pt idx="1139">
                  <c:v>42205</c:v>
                </c:pt>
                <c:pt idx="1140">
                  <c:v>42206</c:v>
                </c:pt>
                <c:pt idx="1141">
                  <c:v>42207</c:v>
                </c:pt>
                <c:pt idx="1142">
                  <c:v>42208</c:v>
                </c:pt>
                <c:pt idx="1143">
                  <c:v>42209</c:v>
                </c:pt>
              </c:numCache>
            </c:numRef>
          </c:cat>
          <c:val>
            <c:numRef>
              <c:f>yield_out!$H$1012:$H$1980</c:f>
              <c:numCache>
                <c:formatCode>#\ ##0.00\ </c:formatCode>
                <c:ptCount val="969"/>
                <c:pt idx="0">
                  <c:v>10.02</c:v>
                </c:pt>
                <c:pt idx="1">
                  <c:v>10.31</c:v>
                </c:pt>
                <c:pt idx="2">
                  <c:v>10.57</c:v>
                </c:pt>
                <c:pt idx="3">
                  <c:v>10.66</c:v>
                </c:pt>
                <c:pt idx="4">
                  <c:v>9.9</c:v>
                </c:pt>
                <c:pt idx="5">
                  <c:v>9.67</c:v>
                </c:pt>
                <c:pt idx="6">
                  <c:v>9.66</c:v>
                </c:pt>
                <c:pt idx="7">
                  <c:v>9.4499999999999993</c:v>
                </c:pt>
                <c:pt idx="8">
                  <c:v>9.27</c:v>
                </c:pt>
                <c:pt idx="9">
                  <c:v>9.4600000000000009</c:v>
                </c:pt>
                <c:pt idx="10">
                  <c:v>9.57</c:v>
                </c:pt>
                <c:pt idx="11">
                  <c:v>9.67</c:v>
                </c:pt>
                <c:pt idx="12">
                  <c:v>9.43</c:v>
                </c:pt>
                <c:pt idx="13">
                  <c:v>9.16</c:v>
                </c:pt>
                <c:pt idx="14">
                  <c:v>9.23</c:v>
                </c:pt>
                <c:pt idx="15">
                  <c:v>9.2100000000000009</c:v>
                </c:pt>
                <c:pt idx="16">
                  <c:v>9.1199999999999992</c:v>
                </c:pt>
                <c:pt idx="17">
                  <c:v>8.83</c:v>
                </c:pt>
                <c:pt idx="18">
                  <c:v>8.69</c:v>
                </c:pt>
                <c:pt idx="19">
                  <c:v>8.73</c:v>
                </c:pt>
                <c:pt idx="20">
                  <c:v>8.83</c:v>
                </c:pt>
                <c:pt idx="21">
                  <c:v>8.86</c:v>
                </c:pt>
                <c:pt idx="22">
                  <c:v>8.83</c:v>
                </c:pt>
                <c:pt idx="23">
                  <c:v>8.73</c:v>
                </c:pt>
                <c:pt idx="24">
                  <c:v>8.67</c:v>
                </c:pt>
                <c:pt idx="25">
                  <c:v>8.52</c:v>
                </c:pt>
                <c:pt idx="26">
                  <c:v>8.48</c:v>
                </c:pt>
                <c:pt idx="27">
                  <c:v>8.23</c:v>
                </c:pt>
                <c:pt idx="28">
                  <c:v>8.35</c:v>
                </c:pt>
                <c:pt idx="29">
                  <c:v>8.5399999999999991</c:v>
                </c:pt>
                <c:pt idx="30">
                  <c:v>8.4499999999999993</c:v>
                </c:pt>
                <c:pt idx="31">
                  <c:v>8.5299999999999994</c:v>
                </c:pt>
                <c:pt idx="32">
                  <c:v>8.24</c:v>
                </c:pt>
                <c:pt idx="33">
                  <c:v>8.4</c:v>
                </c:pt>
                <c:pt idx="34">
                  <c:v>8.36</c:v>
                </c:pt>
                <c:pt idx="35">
                  <c:v>8.31</c:v>
                </c:pt>
                <c:pt idx="36">
                  <c:v>8.4600000000000009</c:v>
                </c:pt>
                <c:pt idx="37">
                  <c:v>8.7200000000000006</c:v>
                </c:pt>
                <c:pt idx="38">
                  <c:v>8.77</c:v>
                </c:pt>
                <c:pt idx="39">
                  <c:v>8.6199999999999992</c:v>
                </c:pt>
                <c:pt idx="40">
                  <c:v>8.81</c:v>
                </c:pt>
                <c:pt idx="41">
                  <c:v>8.6999999999999993</c:v>
                </c:pt>
                <c:pt idx="42">
                  <c:v>8.5500000000000007</c:v>
                </c:pt>
                <c:pt idx="43">
                  <c:v>8.3800000000000008</c:v>
                </c:pt>
                <c:pt idx="44">
                  <c:v>8.36</c:v>
                </c:pt>
                <c:pt idx="45">
                  <c:v>8.51</c:v>
                </c:pt>
                <c:pt idx="46">
                  <c:v>8.59</c:v>
                </c:pt>
                <c:pt idx="47">
                  <c:v>8.61</c:v>
                </c:pt>
                <c:pt idx="48">
                  <c:v>8.6</c:v>
                </c:pt>
                <c:pt idx="49">
                  <c:v>8.61</c:v>
                </c:pt>
                <c:pt idx="50">
                  <c:v>8.6300000000000008</c:v>
                </c:pt>
                <c:pt idx="51">
                  <c:v>8.6</c:v>
                </c:pt>
                <c:pt idx="52">
                  <c:v>8.57</c:v>
                </c:pt>
                <c:pt idx="53">
                  <c:v>8.57</c:v>
                </c:pt>
                <c:pt idx="54">
                  <c:v>8.61</c:v>
                </c:pt>
                <c:pt idx="55">
                  <c:v>8.65</c:v>
                </c:pt>
                <c:pt idx="56">
                  <c:v>8.7799999999999994</c:v>
                </c:pt>
                <c:pt idx="57">
                  <c:v>8.8000000000000007</c:v>
                </c:pt>
                <c:pt idx="58">
                  <c:v>8.8699999999999992</c:v>
                </c:pt>
                <c:pt idx="59">
                  <c:v>8.77</c:v>
                </c:pt>
                <c:pt idx="60">
                  <c:v>8.86</c:v>
                </c:pt>
                <c:pt idx="61">
                  <c:v>8.91</c:v>
                </c:pt>
                <c:pt idx="62">
                  <c:v>8.9700000000000006</c:v>
                </c:pt>
                <c:pt idx="63">
                  <c:v>8.84</c:v>
                </c:pt>
                <c:pt idx="64">
                  <c:v>8.82</c:v>
                </c:pt>
                <c:pt idx="65">
                  <c:v>8.89</c:v>
                </c:pt>
                <c:pt idx="66">
                  <c:v>8.9600000000000009</c:v>
                </c:pt>
                <c:pt idx="67">
                  <c:v>8.9700000000000006</c:v>
                </c:pt>
                <c:pt idx="68">
                  <c:v>8.93</c:v>
                </c:pt>
                <c:pt idx="69">
                  <c:v>8.8699999999999992</c:v>
                </c:pt>
                <c:pt idx="70">
                  <c:v>8.93</c:v>
                </c:pt>
                <c:pt idx="71">
                  <c:v>8.94</c:v>
                </c:pt>
                <c:pt idx="72">
                  <c:v>8.92</c:v>
                </c:pt>
                <c:pt idx="73">
                  <c:v>8.8699999999999992</c:v>
                </c:pt>
                <c:pt idx="74">
                  <c:v>8.84</c:v>
                </c:pt>
                <c:pt idx="75">
                  <c:v>8.81</c:v>
                </c:pt>
                <c:pt idx="76">
                  <c:v>8.8699999999999992</c:v>
                </c:pt>
                <c:pt idx="77">
                  <c:v>8.8699999999999992</c:v>
                </c:pt>
                <c:pt idx="78">
                  <c:v>7.95</c:v>
                </c:pt>
                <c:pt idx="79">
                  <c:v>7.93</c:v>
                </c:pt>
                <c:pt idx="80">
                  <c:v>7.94</c:v>
                </c:pt>
                <c:pt idx="81">
                  <c:v>7.92</c:v>
                </c:pt>
                <c:pt idx="82">
                  <c:v>7.94</c:v>
                </c:pt>
                <c:pt idx="83">
                  <c:v>7.97</c:v>
                </c:pt>
                <c:pt idx="84">
                  <c:v>8.07</c:v>
                </c:pt>
                <c:pt idx="85">
                  <c:v>8.0399999999999991</c:v>
                </c:pt>
                <c:pt idx="86">
                  <c:v>8.17</c:v>
                </c:pt>
                <c:pt idx="87">
                  <c:v>8.1300000000000008</c:v>
                </c:pt>
                <c:pt idx="88">
                  <c:v>8.18</c:v>
                </c:pt>
                <c:pt idx="89">
                  <c:v>8.19</c:v>
                </c:pt>
                <c:pt idx="90">
                  <c:v>8.17</c:v>
                </c:pt>
                <c:pt idx="91">
                  <c:v>8.36</c:v>
                </c:pt>
                <c:pt idx="92">
                  <c:v>8.44</c:v>
                </c:pt>
                <c:pt idx="93">
                  <c:v>8.5</c:v>
                </c:pt>
                <c:pt idx="94">
                  <c:v>8.42</c:v>
                </c:pt>
                <c:pt idx="95">
                  <c:v>8.35</c:v>
                </c:pt>
                <c:pt idx="96">
                  <c:v>8.57</c:v>
                </c:pt>
                <c:pt idx="97">
                  <c:v>8.49</c:v>
                </c:pt>
                <c:pt idx="98">
                  <c:v>8.43</c:v>
                </c:pt>
                <c:pt idx="99">
                  <c:v>8.44</c:v>
                </c:pt>
                <c:pt idx="100">
                  <c:v>8.48</c:v>
                </c:pt>
                <c:pt idx="101">
                  <c:v>8.65</c:v>
                </c:pt>
                <c:pt idx="102">
                  <c:v>8.92</c:v>
                </c:pt>
                <c:pt idx="103">
                  <c:v>8.84</c:v>
                </c:pt>
                <c:pt idx="104">
                  <c:v>8.81</c:v>
                </c:pt>
                <c:pt idx="105">
                  <c:v>8.7100000000000009</c:v>
                </c:pt>
                <c:pt idx="106">
                  <c:v>8.25</c:v>
                </c:pt>
                <c:pt idx="107">
                  <c:v>8.35</c:v>
                </c:pt>
                <c:pt idx="108">
                  <c:v>8.39</c:v>
                </c:pt>
                <c:pt idx="109">
                  <c:v>8.44</c:v>
                </c:pt>
                <c:pt idx="110">
                  <c:v>8.4600000000000009</c:v>
                </c:pt>
                <c:pt idx="111">
                  <c:v>8.49</c:v>
                </c:pt>
                <c:pt idx="112">
                  <c:v>8.43</c:v>
                </c:pt>
                <c:pt idx="113">
                  <c:v>8.18</c:v>
                </c:pt>
                <c:pt idx="114">
                  <c:v>8.08</c:v>
                </c:pt>
                <c:pt idx="115">
                  <c:v>8.0299999999999994</c:v>
                </c:pt>
                <c:pt idx="116">
                  <c:v>7.92</c:v>
                </c:pt>
                <c:pt idx="117">
                  <c:v>8.01</c:v>
                </c:pt>
                <c:pt idx="118">
                  <c:v>8</c:v>
                </c:pt>
                <c:pt idx="119">
                  <c:v>7.95</c:v>
                </c:pt>
                <c:pt idx="120">
                  <c:v>7.97</c:v>
                </c:pt>
                <c:pt idx="121">
                  <c:v>7.89</c:v>
                </c:pt>
                <c:pt idx="122">
                  <c:v>7.89</c:v>
                </c:pt>
                <c:pt idx="123">
                  <c:v>7.8</c:v>
                </c:pt>
                <c:pt idx="124">
                  <c:v>7.82</c:v>
                </c:pt>
                <c:pt idx="125">
                  <c:v>7.77</c:v>
                </c:pt>
                <c:pt idx="126">
                  <c:v>7.76</c:v>
                </c:pt>
                <c:pt idx="127">
                  <c:v>7.85</c:v>
                </c:pt>
                <c:pt idx="128">
                  <c:v>7.9</c:v>
                </c:pt>
                <c:pt idx="129">
                  <c:v>7.89</c:v>
                </c:pt>
                <c:pt idx="130">
                  <c:v>7.91</c:v>
                </c:pt>
                <c:pt idx="131">
                  <c:v>7.85</c:v>
                </c:pt>
                <c:pt idx="132">
                  <c:v>7.64</c:v>
                </c:pt>
                <c:pt idx="133">
                  <c:v>7.31</c:v>
                </c:pt>
                <c:pt idx="134">
                  <c:v>7.26</c:v>
                </c:pt>
                <c:pt idx="135">
                  <c:v>7.35</c:v>
                </c:pt>
                <c:pt idx="136">
                  <c:v>7.15</c:v>
                </c:pt>
                <c:pt idx="137">
                  <c:v>7.19</c:v>
                </c:pt>
                <c:pt idx="138">
                  <c:v>7.31</c:v>
                </c:pt>
                <c:pt idx="139">
                  <c:v>7.32</c:v>
                </c:pt>
                <c:pt idx="140">
                  <c:v>7.66</c:v>
                </c:pt>
                <c:pt idx="141">
                  <c:v>7.62</c:v>
                </c:pt>
                <c:pt idx="142">
                  <c:v>7.49</c:v>
                </c:pt>
                <c:pt idx="143">
                  <c:v>7.39</c:v>
                </c:pt>
                <c:pt idx="144">
                  <c:v>7.38</c:v>
                </c:pt>
                <c:pt idx="145">
                  <c:v>7.4</c:v>
                </c:pt>
                <c:pt idx="146">
                  <c:v>7.4</c:v>
                </c:pt>
                <c:pt idx="147">
                  <c:v>7.45</c:v>
                </c:pt>
                <c:pt idx="148">
                  <c:v>7.31</c:v>
                </c:pt>
                <c:pt idx="149">
                  <c:v>7.32</c:v>
                </c:pt>
                <c:pt idx="150">
                  <c:v>7.44</c:v>
                </c:pt>
                <c:pt idx="151">
                  <c:v>7.32</c:v>
                </c:pt>
                <c:pt idx="152">
                  <c:v>7.39</c:v>
                </c:pt>
                <c:pt idx="153">
                  <c:v>7.4</c:v>
                </c:pt>
                <c:pt idx="154">
                  <c:v>7.42</c:v>
                </c:pt>
                <c:pt idx="155">
                  <c:v>7.41</c:v>
                </c:pt>
                <c:pt idx="156">
                  <c:v>7.41</c:v>
                </c:pt>
                <c:pt idx="157">
                  <c:v>7.41</c:v>
                </c:pt>
                <c:pt idx="158">
                  <c:v>7.37</c:v>
                </c:pt>
                <c:pt idx="159">
                  <c:v>7.38</c:v>
                </c:pt>
                <c:pt idx="160">
                  <c:v>7.34</c:v>
                </c:pt>
                <c:pt idx="161">
                  <c:v>7.39</c:v>
                </c:pt>
                <c:pt idx="162">
                  <c:v>7.4</c:v>
                </c:pt>
                <c:pt idx="163">
                  <c:v>7.43</c:v>
                </c:pt>
                <c:pt idx="164">
                  <c:v>7.43</c:v>
                </c:pt>
                <c:pt idx="165">
                  <c:v>7.43</c:v>
                </c:pt>
                <c:pt idx="166">
                  <c:v>7.32</c:v>
                </c:pt>
                <c:pt idx="167">
                  <c:v>7.33</c:v>
                </c:pt>
                <c:pt idx="168">
                  <c:v>7.34</c:v>
                </c:pt>
                <c:pt idx="169">
                  <c:v>7.41</c:v>
                </c:pt>
                <c:pt idx="170">
                  <c:v>7.38</c:v>
                </c:pt>
                <c:pt idx="171">
                  <c:v>7.5</c:v>
                </c:pt>
                <c:pt idx="172">
                  <c:v>7.42</c:v>
                </c:pt>
                <c:pt idx="173">
                  <c:v>7.4</c:v>
                </c:pt>
                <c:pt idx="174">
                  <c:v>7.34</c:v>
                </c:pt>
                <c:pt idx="175">
                  <c:v>7.35</c:v>
                </c:pt>
                <c:pt idx="176">
                  <c:v>7.23</c:v>
                </c:pt>
                <c:pt idx="177">
                  <c:v>7.27</c:v>
                </c:pt>
                <c:pt idx="178">
                  <c:v>7.31</c:v>
                </c:pt>
                <c:pt idx="179">
                  <c:v>7.31</c:v>
                </c:pt>
                <c:pt idx="180">
                  <c:v>7.33</c:v>
                </c:pt>
                <c:pt idx="181">
                  <c:v>7.3</c:v>
                </c:pt>
                <c:pt idx="182">
                  <c:v>7.31</c:v>
                </c:pt>
                <c:pt idx="183">
                  <c:v>7.24</c:v>
                </c:pt>
                <c:pt idx="184">
                  <c:v>7.3</c:v>
                </c:pt>
                <c:pt idx="185">
                  <c:v>7.32</c:v>
                </c:pt>
                <c:pt idx="186">
                  <c:v>7.3</c:v>
                </c:pt>
                <c:pt idx="187">
                  <c:v>7.44</c:v>
                </c:pt>
                <c:pt idx="188">
                  <c:v>7.47</c:v>
                </c:pt>
                <c:pt idx="189">
                  <c:v>7.49</c:v>
                </c:pt>
                <c:pt idx="190">
                  <c:v>7.5</c:v>
                </c:pt>
                <c:pt idx="191">
                  <c:v>7.37</c:v>
                </c:pt>
                <c:pt idx="192">
                  <c:v>7.29</c:v>
                </c:pt>
                <c:pt idx="193">
                  <c:v>7.28</c:v>
                </c:pt>
                <c:pt idx="194">
                  <c:v>7.27</c:v>
                </c:pt>
                <c:pt idx="195">
                  <c:v>7.2</c:v>
                </c:pt>
                <c:pt idx="196">
                  <c:v>6.92</c:v>
                </c:pt>
                <c:pt idx="197">
                  <c:v>6.83</c:v>
                </c:pt>
                <c:pt idx="198">
                  <c:v>6.57</c:v>
                </c:pt>
                <c:pt idx="199">
                  <c:v>6.8</c:v>
                </c:pt>
                <c:pt idx="200">
                  <c:v>6.59</c:v>
                </c:pt>
                <c:pt idx="201">
                  <c:v>6.67</c:v>
                </c:pt>
                <c:pt idx="202">
                  <c:v>6.64</c:v>
                </c:pt>
                <c:pt idx="203">
                  <c:v>6.65</c:v>
                </c:pt>
                <c:pt idx="204">
                  <c:v>6.83</c:v>
                </c:pt>
                <c:pt idx="205">
                  <c:v>7.18</c:v>
                </c:pt>
                <c:pt idx="206">
                  <c:v>7.01</c:v>
                </c:pt>
                <c:pt idx="207">
                  <c:v>6.95</c:v>
                </c:pt>
                <c:pt idx="208">
                  <c:v>6.96</c:v>
                </c:pt>
                <c:pt idx="209">
                  <c:v>6.93</c:v>
                </c:pt>
                <c:pt idx="210">
                  <c:v>6.86</c:v>
                </c:pt>
                <c:pt idx="211">
                  <c:v>7.03</c:v>
                </c:pt>
                <c:pt idx="212">
                  <c:v>6.99</c:v>
                </c:pt>
                <c:pt idx="213">
                  <c:v>6.94</c:v>
                </c:pt>
                <c:pt idx="214">
                  <c:v>6.96</c:v>
                </c:pt>
                <c:pt idx="215">
                  <c:v>6.91</c:v>
                </c:pt>
                <c:pt idx="216">
                  <c:v>6.91</c:v>
                </c:pt>
                <c:pt idx="217">
                  <c:v>6.9</c:v>
                </c:pt>
                <c:pt idx="218">
                  <c:v>6.9</c:v>
                </c:pt>
                <c:pt idx="219">
                  <c:v>6.91</c:v>
                </c:pt>
                <c:pt idx="220">
                  <c:v>6.97</c:v>
                </c:pt>
                <c:pt idx="221">
                  <c:v>6.96</c:v>
                </c:pt>
                <c:pt idx="222">
                  <c:v>6.95</c:v>
                </c:pt>
                <c:pt idx="223">
                  <c:v>7.03</c:v>
                </c:pt>
                <c:pt idx="224">
                  <c:v>6.99</c:v>
                </c:pt>
                <c:pt idx="225">
                  <c:v>7</c:v>
                </c:pt>
                <c:pt idx="226">
                  <c:v>6.93</c:v>
                </c:pt>
                <c:pt idx="227">
                  <c:v>6.88</c:v>
                </c:pt>
                <c:pt idx="228">
                  <c:v>6.88</c:v>
                </c:pt>
                <c:pt idx="229">
                  <c:v>6.88</c:v>
                </c:pt>
                <c:pt idx="230">
                  <c:v>6.85</c:v>
                </c:pt>
                <c:pt idx="231">
                  <c:v>6.78</c:v>
                </c:pt>
                <c:pt idx="232">
                  <c:v>6.72</c:v>
                </c:pt>
                <c:pt idx="233">
                  <c:v>6.56</c:v>
                </c:pt>
                <c:pt idx="234">
                  <c:v>6.32</c:v>
                </c:pt>
                <c:pt idx="235">
                  <c:v>6.42</c:v>
                </c:pt>
                <c:pt idx="236">
                  <c:v>6.36</c:v>
                </c:pt>
                <c:pt idx="237">
                  <c:v>6.39</c:v>
                </c:pt>
                <c:pt idx="238">
                  <c:v>6.41</c:v>
                </c:pt>
                <c:pt idx="239">
                  <c:v>6.45</c:v>
                </c:pt>
                <c:pt idx="240">
                  <c:v>6.34</c:v>
                </c:pt>
                <c:pt idx="241">
                  <c:v>6.17</c:v>
                </c:pt>
                <c:pt idx="242">
                  <c:v>6.1</c:v>
                </c:pt>
                <c:pt idx="243">
                  <c:v>6.12</c:v>
                </c:pt>
                <c:pt idx="244">
                  <c:v>6.11</c:v>
                </c:pt>
                <c:pt idx="245">
                  <c:v>6.07</c:v>
                </c:pt>
                <c:pt idx="246">
                  <c:v>5.95</c:v>
                </c:pt>
                <c:pt idx="247">
                  <c:v>6.34</c:v>
                </c:pt>
                <c:pt idx="248">
                  <c:v>6.16</c:v>
                </c:pt>
                <c:pt idx="249">
                  <c:v>6.15</c:v>
                </c:pt>
                <c:pt idx="250">
                  <c:v>6.13</c:v>
                </c:pt>
                <c:pt idx="251">
                  <c:v>6.06</c:v>
                </c:pt>
                <c:pt idx="252">
                  <c:v>6.23</c:v>
                </c:pt>
                <c:pt idx="253">
                  <c:v>6.21</c:v>
                </c:pt>
                <c:pt idx="254">
                  <c:v>6.14</c:v>
                </c:pt>
                <c:pt idx="255">
                  <c:v>6.2</c:v>
                </c:pt>
                <c:pt idx="256">
                  <c:v>6.2</c:v>
                </c:pt>
                <c:pt idx="257">
                  <c:v>6.24</c:v>
                </c:pt>
                <c:pt idx="258">
                  <c:v>6.26</c:v>
                </c:pt>
                <c:pt idx="259">
                  <c:v>6.32</c:v>
                </c:pt>
                <c:pt idx="260">
                  <c:v>6.33</c:v>
                </c:pt>
                <c:pt idx="261">
                  <c:v>6.29</c:v>
                </c:pt>
                <c:pt idx="262">
                  <c:v>6.42</c:v>
                </c:pt>
                <c:pt idx="263">
                  <c:v>6.44</c:v>
                </c:pt>
                <c:pt idx="264">
                  <c:v>6.45</c:v>
                </c:pt>
                <c:pt idx="265">
                  <c:v>6.42</c:v>
                </c:pt>
                <c:pt idx="266">
                  <c:v>6.35</c:v>
                </c:pt>
                <c:pt idx="267">
                  <c:v>6.35</c:v>
                </c:pt>
                <c:pt idx="268">
                  <c:v>6.32</c:v>
                </c:pt>
                <c:pt idx="269">
                  <c:v>6.41</c:v>
                </c:pt>
                <c:pt idx="270">
                  <c:v>6.48</c:v>
                </c:pt>
                <c:pt idx="271">
                  <c:v>6.47</c:v>
                </c:pt>
                <c:pt idx="272">
                  <c:v>6.45</c:v>
                </c:pt>
                <c:pt idx="273">
                  <c:v>6.4</c:v>
                </c:pt>
                <c:pt idx="274">
                  <c:v>6.4</c:v>
                </c:pt>
                <c:pt idx="275">
                  <c:v>6.34</c:v>
                </c:pt>
                <c:pt idx="276">
                  <c:v>6.34</c:v>
                </c:pt>
                <c:pt idx="277">
                  <c:v>6.39</c:v>
                </c:pt>
                <c:pt idx="278">
                  <c:v>6.33</c:v>
                </c:pt>
                <c:pt idx="279">
                  <c:v>6.11</c:v>
                </c:pt>
                <c:pt idx="280">
                  <c:v>6.23</c:v>
                </c:pt>
                <c:pt idx="281">
                  <c:v>6.27</c:v>
                </c:pt>
                <c:pt idx="282">
                  <c:v>6.28</c:v>
                </c:pt>
                <c:pt idx="283">
                  <c:v>6.27</c:v>
                </c:pt>
                <c:pt idx="284">
                  <c:v>6.31</c:v>
                </c:pt>
                <c:pt idx="285">
                  <c:v>6.33</c:v>
                </c:pt>
                <c:pt idx="286">
                  <c:v>6.33</c:v>
                </c:pt>
                <c:pt idx="287">
                  <c:v>6.22</c:v>
                </c:pt>
                <c:pt idx="288">
                  <c:v>6.27</c:v>
                </c:pt>
                <c:pt idx="289">
                  <c:v>6.39</c:v>
                </c:pt>
                <c:pt idx="290">
                  <c:v>6.39</c:v>
                </c:pt>
                <c:pt idx="291">
                  <c:v>6.41</c:v>
                </c:pt>
                <c:pt idx="292">
                  <c:v>6.41</c:v>
                </c:pt>
                <c:pt idx="293">
                  <c:v>6.49</c:v>
                </c:pt>
                <c:pt idx="294">
                  <c:v>6.5</c:v>
                </c:pt>
                <c:pt idx="295">
                  <c:v>6.61</c:v>
                </c:pt>
                <c:pt idx="296">
                  <c:v>6.6</c:v>
                </c:pt>
                <c:pt idx="297">
                  <c:v>6.66</c:v>
                </c:pt>
                <c:pt idx="298">
                  <c:v>6.64</c:v>
                </c:pt>
                <c:pt idx="299">
                  <c:v>6.61</c:v>
                </c:pt>
                <c:pt idx="300">
                  <c:v>6.6</c:v>
                </c:pt>
                <c:pt idx="301">
                  <c:v>6.65</c:v>
                </c:pt>
                <c:pt idx="302">
                  <c:v>6.6</c:v>
                </c:pt>
                <c:pt idx="303">
                  <c:v>6.51</c:v>
                </c:pt>
                <c:pt idx="304">
                  <c:v>6.42</c:v>
                </c:pt>
                <c:pt idx="305">
                  <c:v>6.43</c:v>
                </c:pt>
                <c:pt idx="306">
                  <c:v>6.4</c:v>
                </c:pt>
                <c:pt idx="307">
                  <c:v>6.25</c:v>
                </c:pt>
                <c:pt idx="308">
                  <c:v>6.17</c:v>
                </c:pt>
                <c:pt idx="309">
                  <c:v>6.17</c:v>
                </c:pt>
                <c:pt idx="310">
                  <c:v>5.97</c:v>
                </c:pt>
                <c:pt idx="311">
                  <c:v>5.94</c:v>
                </c:pt>
                <c:pt idx="312">
                  <c:v>5.91</c:v>
                </c:pt>
                <c:pt idx="313">
                  <c:v>5.89</c:v>
                </c:pt>
                <c:pt idx="314">
                  <c:v>5.81</c:v>
                </c:pt>
                <c:pt idx="315">
                  <c:v>5.68</c:v>
                </c:pt>
                <c:pt idx="316">
                  <c:v>5.65</c:v>
                </c:pt>
                <c:pt idx="317">
                  <c:v>5.7</c:v>
                </c:pt>
                <c:pt idx="318">
                  <c:v>5.67</c:v>
                </c:pt>
                <c:pt idx="319">
                  <c:v>5.62</c:v>
                </c:pt>
                <c:pt idx="320">
                  <c:v>5.65</c:v>
                </c:pt>
                <c:pt idx="321">
                  <c:v>5.52</c:v>
                </c:pt>
                <c:pt idx="322">
                  <c:v>5.48</c:v>
                </c:pt>
                <c:pt idx="323">
                  <c:v>5.53</c:v>
                </c:pt>
                <c:pt idx="324">
                  <c:v>5.66</c:v>
                </c:pt>
                <c:pt idx="325">
                  <c:v>5.6</c:v>
                </c:pt>
                <c:pt idx="326">
                  <c:v>5.53</c:v>
                </c:pt>
                <c:pt idx="327">
                  <c:v>5.42</c:v>
                </c:pt>
                <c:pt idx="328">
                  <c:v>5.23</c:v>
                </c:pt>
                <c:pt idx="329">
                  <c:v>5.3</c:v>
                </c:pt>
                <c:pt idx="330">
                  <c:v>5.28</c:v>
                </c:pt>
                <c:pt idx="331">
                  <c:v>5.24</c:v>
                </c:pt>
                <c:pt idx="332">
                  <c:v>5.22</c:v>
                </c:pt>
                <c:pt idx="333">
                  <c:v>5.38</c:v>
                </c:pt>
                <c:pt idx="334">
                  <c:v>5.37</c:v>
                </c:pt>
                <c:pt idx="335">
                  <c:v>5.4</c:v>
                </c:pt>
                <c:pt idx="336">
                  <c:v>5.26</c:v>
                </c:pt>
                <c:pt idx="337">
                  <c:v>5.19</c:v>
                </c:pt>
                <c:pt idx="338">
                  <c:v>5.2</c:v>
                </c:pt>
                <c:pt idx="339">
                  <c:v>5.32</c:v>
                </c:pt>
                <c:pt idx="340">
                  <c:v>5.33</c:v>
                </c:pt>
                <c:pt idx="341">
                  <c:v>5.44</c:v>
                </c:pt>
                <c:pt idx="342">
                  <c:v>5.36</c:v>
                </c:pt>
                <c:pt idx="343">
                  <c:v>5.39</c:v>
                </c:pt>
                <c:pt idx="344">
                  <c:v>5.37</c:v>
                </c:pt>
                <c:pt idx="345">
                  <c:v>5.47</c:v>
                </c:pt>
                <c:pt idx="346">
                  <c:v>5.87</c:v>
                </c:pt>
                <c:pt idx="347">
                  <c:v>5.96</c:v>
                </c:pt>
                <c:pt idx="348">
                  <c:v>5.92</c:v>
                </c:pt>
                <c:pt idx="349">
                  <c:v>5.72</c:v>
                </c:pt>
                <c:pt idx="350">
                  <c:v>5.92</c:v>
                </c:pt>
                <c:pt idx="351">
                  <c:v>6.07</c:v>
                </c:pt>
                <c:pt idx="352">
                  <c:v>6.07</c:v>
                </c:pt>
                <c:pt idx="353">
                  <c:v>6.17</c:v>
                </c:pt>
                <c:pt idx="354">
                  <c:v>6.63</c:v>
                </c:pt>
                <c:pt idx="355">
                  <c:v>6.28</c:v>
                </c:pt>
                <c:pt idx="356">
                  <c:v>6.37</c:v>
                </c:pt>
                <c:pt idx="357">
                  <c:v>6.08</c:v>
                </c:pt>
                <c:pt idx="358">
                  <c:v>5.98</c:v>
                </c:pt>
                <c:pt idx="359">
                  <c:v>6.1</c:v>
                </c:pt>
                <c:pt idx="360">
                  <c:v>6.17</c:v>
                </c:pt>
                <c:pt idx="361">
                  <c:v>6.6</c:v>
                </c:pt>
                <c:pt idx="362">
                  <c:v>6.73</c:v>
                </c:pt>
                <c:pt idx="363">
                  <c:v>7.04</c:v>
                </c:pt>
                <c:pt idx="364">
                  <c:v>6.9</c:v>
                </c:pt>
                <c:pt idx="365">
                  <c:v>6.98</c:v>
                </c:pt>
                <c:pt idx="366">
                  <c:v>6.68</c:v>
                </c:pt>
                <c:pt idx="367">
                  <c:v>6.52</c:v>
                </c:pt>
                <c:pt idx="368">
                  <c:v>6.35</c:v>
                </c:pt>
                <c:pt idx="369">
                  <c:v>5.96</c:v>
                </c:pt>
                <c:pt idx="370">
                  <c:v>6.11</c:v>
                </c:pt>
                <c:pt idx="371">
                  <c:v>6.08</c:v>
                </c:pt>
                <c:pt idx="372">
                  <c:v>5.94</c:v>
                </c:pt>
                <c:pt idx="373">
                  <c:v>6.06</c:v>
                </c:pt>
                <c:pt idx="374">
                  <c:v>6.07</c:v>
                </c:pt>
                <c:pt idx="375">
                  <c:v>6.11</c:v>
                </c:pt>
                <c:pt idx="376">
                  <c:v>6.13</c:v>
                </c:pt>
                <c:pt idx="377">
                  <c:v>6.12</c:v>
                </c:pt>
                <c:pt idx="378">
                  <c:v>6.12</c:v>
                </c:pt>
                <c:pt idx="379">
                  <c:v>6.13</c:v>
                </c:pt>
                <c:pt idx="380">
                  <c:v>6.22</c:v>
                </c:pt>
                <c:pt idx="381">
                  <c:v>6.22</c:v>
                </c:pt>
                <c:pt idx="382">
                  <c:v>6.38</c:v>
                </c:pt>
                <c:pt idx="383">
                  <c:v>6.39</c:v>
                </c:pt>
                <c:pt idx="384">
                  <c:v>6.36</c:v>
                </c:pt>
                <c:pt idx="385">
                  <c:v>6.39</c:v>
                </c:pt>
                <c:pt idx="386">
                  <c:v>6.56</c:v>
                </c:pt>
                <c:pt idx="387">
                  <c:v>6.53</c:v>
                </c:pt>
                <c:pt idx="388">
                  <c:v>6.73</c:v>
                </c:pt>
                <c:pt idx="389">
                  <c:v>6.87</c:v>
                </c:pt>
                <c:pt idx="390">
                  <c:v>6.91</c:v>
                </c:pt>
                <c:pt idx="391">
                  <c:v>6.69</c:v>
                </c:pt>
                <c:pt idx="392">
                  <c:v>6.81</c:v>
                </c:pt>
                <c:pt idx="393">
                  <c:v>6.73</c:v>
                </c:pt>
                <c:pt idx="394">
                  <c:v>6.63</c:v>
                </c:pt>
                <c:pt idx="395">
                  <c:v>6.63</c:v>
                </c:pt>
                <c:pt idx="396">
                  <c:v>6.67</c:v>
                </c:pt>
                <c:pt idx="397">
                  <c:v>6.57</c:v>
                </c:pt>
                <c:pt idx="398">
                  <c:v>6.57</c:v>
                </c:pt>
                <c:pt idx="399">
                  <c:v>6.63</c:v>
                </c:pt>
                <c:pt idx="400">
                  <c:v>6.7</c:v>
                </c:pt>
                <c:pt idx="401">
                  <c:v>6.7</c:v>
                </c:pt>
                <c:pt idx="402">
                  <c:v>6.95</c:v>
                </c:pt>
                <c:pt idx="403">
                  <c:v>6.95</c:v>
                </c:pt>
                <c:pt idx="404">
                  <c:v>6.95</c:v>
                </c:pt>
                <c:pt idx="405">
                  <c:v>6.9</c:v>
                </c:pt>
                <c:pt idx="406">
                  <c:v>6.89</c:v>
                </c:pt>
                <c:pt idx="407">
                  <c:v>6.91</c:v>
                </c:pt>
                <c:pt idx="408">
                  <c:v>6.91</c:v>
                </c:pt>
                <c:pt idx="409">
                  <c:v>6.93</c:v>
                </c:pt>
                <c:pt idx="410">
                  <c:v>7.13</c:v>
                </c:pt>
                <c:pt idx="411">
                  <c:v>7.08</c:v>
                </c:pt>
                <c:pt idx="412">
                  <c:v>7.03</c:v>
                </c:pt>
                <c:pt idx="413">
                  <c:v>7.01</c:v>
                </c:pt>
                <c:pt idx="414">
                  <c:v>7.07</c:v>
                </c:pt>
                <c:pt idx="415">
                  <c:v>7.08</c:v>
                </c:pt>
                <c:pt idx="416">
                  <c:v>7.2</c:v>
                </c:pt>
                <c:pt idx="417">
                  <c:v>7.2</c:v>
                </c:pt>
                <c:pt idx="418">
                  <c:v>7.11</c:v>
                </c:pt>
                <c:pt idx="419">
                  <c:v>7.03</c:v>
                </c:pt>
                <c:pt idx="420">
                  <c:v>6.87</c:v>
                </c:pt>
                <c:pt idx="421">
                  <c:v>6.86</c:v>
                </c:pt>
                <c:pt idx="422">
                  <c:v>6.67</c:v>
                </c:pt>
                <c:pt idx="423">
                  <c:v>6.49</c:v>
                </c:pt>
                <c:pt idx="424">
                  <c:v>6.56</c:v>
                </c:pt>
                <c:pt idx="425">
                  <c:v>6.51</c:v>
                </c:pt>
                <c:pt idx="426">
                  <c:v>6.27</c:v>
                </c:pt>
                <c:pt idx="427">
                  <c:v>6.43</c:v>
                </c:pt>
                <c:pt idx="428">
                  <c:v>6.44</c:v>
                </c:pt>
                <c:pt idx="429">
                  <c:v>6.38</c:v>
                </c:pt>
                <c:pt idx="430">
                  <c:v>6.32</c:v>
                </c:pt>
                <c:pt idx="431">
                  <c:v>6.37</c:v>
                </c:pt>
                <c:pt idx="432">
                  <c:v>6.43</c:v>
                </c:pt>
                <c:pt idx="433">
                  <c:v>6.42</c:v>
                </c:pt>
                <c:pt idx="434">
                  <c:v>6.38</c:v>
                </c:pt>
                <c:pt idx="435">
                  <c:v>6.38</c:v>
                </c:pt>
                <c:pt idx="436">
                  <c:v>6.33</c:v>
                </c:pt>
                <c:pt idx="437">
                  <c:v>6.41</c:v>
                </c:pt>
                <c:pt idx="438">
                  <c:v>6.39</c:v>
                </c:pt>
                <c:pt idx="439">
                  <c:v>6.32</c:v>
                </c:pt>
                <c:pt idx="440">
                  <c:v>6.35</c:v>
                </c:pt>
                <c:pt idx="441">
                  <c:v>6.31</c:v>
                </c:pt>
                <c:pt idx="442">
                  <c:v>6.2</c:v>
                </c:pt>
                <c:pt idx="443">
                  <c:v>6.22</c:v>
                </c:pt>
                <c:pt idx="444">
                  <c:v>6.23</c:v>
                </c:pt>
                <c:pt idx="445">
                  <c:v>6.23</c:v>
                </c:pt>
                <c:pt idx="446">
                  <c:v>6.14</c:v>
                </c:pt>
                <c:pt idx="447">
                  <c:v>6.08</c:v>
                </c:pt>
                <c:pt idx="448">
                  <c:v>6.05</c:v>
                </c:pt>
                <c:pt idx="449">
                  <c:v>6.03</c:v>
                </c:pt>
                <c:pt idx="450">
                  <c:v>6.03</c:v>
                </c:pt>
                <c:pt idx="451">
                  <c:v>5.94</c:v>
                </c:pt>
                <c:pt idx="452">
                  <c:v>5.95</c:v>
                </c:pt>
                <c:pt idx="453">
                  <c:v>5.94</c:v>
                </c:pt>
                <c:pt idx="454">
                  <c:v>5.91</c:v>
                </c:pt>
                <c:pt idx="455">
                  <c:v>5.95</c:v>
                </c:pt>
                <c:pt idx="456">
                  <c:v>6.08</c:v>
                </c:pt>
                <c:pt idx="457">
                  <c:v>6.08</c:v>
                </c:pt>
                <c:pt idx="458">
                  <c:v>6.16</c:v>
                </c:pt>
                <c:pt idx="459">
                  <c:v>6.13</c:v>
                </c:pt>
                <c:pt idx="460">
                  <c:v>6.25</c:v>
                </c:pt>
                <c:pt idx="461">
                  <c:v>6.18</c:v>
                </c:pt>
                <c:pt idx="462">
                  <c:v>6.26</c:v>
                </c:pt>
                <c:pt idx="463">
                  <c:v>6.46</c:v>
                </c:pt>
                <c:pt idx="464">
                  <c:v>6.67</c:v>
                </c:pt>
                <c:pt idx="465">
                  <c:v>6.47</c:v>
                </c:pt>
                <c:pt idx="466">
                  <c:v>6.37</c:v>
                </c:pt>
                <c:pt idx="467">
                  <c:v>6.39</c:v>
                </c:pt>
                <c:pt idx="468">
                  <c:v>6.33</c:v>
                </c:pt>
                <c:pt idx="469" formatCode="General">
                  <c:v>6.32</c:v>
                </c:pt>
                <c:pt idx="470" formatCode="General">
                  <c:v>6.42</c:v>
                </c:pt>
                <c:pt idx="471" formatCode="General">
                  <c:v>6.45</c:v>
                </c:pt>
                <c:pt idx="472" formatCode="General">
                  <c:v>6.43</c:v>
                </c:pt>
                <c:pt idx="473" formatCode="General">
                  <c:v>6.49</c:v>
                </c:pt>
                <c:pt idx="474" formatCode="General">
                  <c:v>6.44</c:v>
                </c:pt>
                <c:pt idx="475" formatCode="General">
                  <c:v>6.44</c:v>
                </c:pt>
                <c:pt idx="476" formatCode="General">
                  <c:v>6.51</c:v>
                </c:pt>
                <c:pt idx="477" formatCode="General">
                  <c:v>6.58</c:v>
                </c:pt>
                <c:pt idx="478" formatCode="General">
                  <c:v>6.59</c:v>
                </c:pt>
                <c:pt idx="479" formatCode="General">
                  <c:v>6.58</c:v>
                </c:pt>
                <c:pt idx="480" formatCode="General">
                  <c:v>6.53</c:v>
                </c:pt>
                <c:pt idx="481" formatCode="General">
                  <c:v>6.4</c:v>
                </c:pt>
                <c:pt idx="482">
                  <c:v>6.38</c:v>
                </c:pt>
                <c:pt idx="483">
                  <c:v>6.33</c:v>
                </c:pt>
                <c:pt idx="484">
                  <c:v>6.32</c:v>
                </c:pt>
                <c:pt idx="485">
                  <c:v>6.36</c:v>
                </c:pt>
                <c:pt idx="486">
                  <c:v>6.38</c:v>
                </c:pt>
                <c:pt idx="487">
                  <c:v>6.39</c:v>
                </c:pt>
                <c:pt idx="488" formatCode="General">
                  <c:v>6.27</c:v>
                </c:pt>
                <c:pt idx="489" formatCode="General">
                  <c:v>6.24</c:v>
                </c:pt>
                <c:pt idx="490" formatCode="General">
                  <c:v>6.24</c:v>
                </c:pt>
                <c:pt idx="491" formatCode="General">
                  <c:v>6.26</c:v>
                </c:pt>
                <c:pt idx="492" formatCode="General">
                  <c:v>6.3</c:v>
                </c:pt>
                <c:pt idx="493" formatCode="General">
                  <c:v>6.19</c:v>
                </c:pt>
                <c:pt idx="494" formatCode="General">
                  <c:v>6.26</c:v>
                </c:pt>
                <c:pt idx="495" formatCode="General">
                  <c:v>6.26</c:v>
                </c:pt>
                <c:pt idx="496" formatCode="General">
                  <c:v>6.28</c:v>
                </c:pt>
                <c:pt idx="497" formatCode="General">
                  <c:v>6.26</c:v>
                </c:pt>
                <c:pt idx="498" formatCode="General">
                  <c:v>6.23</c:v>
                </c:pt>
                <c:pt idx="499" formatCode="General">
                  <c:v>6.23</c:v>
                </c:pt>
                <c:pt idx="500" formatCode="General">
                  <c:v>6.2</c:v>
                </c:pt>
                <c:pt idx="501" formatCode="General">
                  <c:v>6.07</c:v>
                </c:pt>
                <c:pt idx="502" formatCode="General">
                  <c:v>6.08</c:v>
                </c:pt>
                <c:pt idx="503" formatCode="General">
                  <c:v>6</c:v>
                </c:pt>
                <c:pt idx="504" formatCode="General">
                  <c:v>6.07</c:v>
                </c:pt>
                <c:pt idx="505" formatCode="General">
                  <c:v>6.05</c:v>
                </c:pt>
                <c:pt idx="506" formatCode="General">
                  <c:v>6.08</c:v>
                </c:pt>
                <c:pt idx="507" formatCode="General">
                  <c:v>6</c:v>
                </c:pt>
                <c:pt idx="508" formatCode="General">
                  <c:v>6.09</c:v>
                </c:pt>
                <c:pt idx="509" formatCode="General">
                  <c:v>6.16</c:v>
                </c:pt>
                <c:pt idx="510" formatCode="General">
                  <c:v>6.07</c:v>
                </c:pt>
                <c:pt idx="511" formatCode="General">
                  <c:v>6.1</c:v>
                </c:pt>
                <c:pt idx="512" formatCode="General">
                  <c:v>6.34</c:v>
                </c:pt>
                <c:pt idx="513" formatCode="General">
                  <c:v>6.34</c:v>
                </c:pt>
                <c:pt idx="514" formatCode="General">
                  <c:v>6.37</c:v>
                </c:pt>
                <c:pt idx="515" formatCode="General">
                  <c:v>6.5</c:v>
                </c:pt>
                <c:pt idx="516" formatCode="General">
                  <c:v>6.68</c:v>
                </c:pt>
                <c:pt idx="517" formatCode="General">
                  <c:v>6.69</c:v>
                </c:pt>
                <c:pt idx="518" formatCode="General">
                  <c:v>6.61</c:v>
                </c:pt>
                <c:pt idx="519" formatCode="General">
                  <c:v>6.56</c:v>
                </c:pt>
                <c:pt idx="520" formatCode="General">
                  <c:v>6.44</c:v>
                </c:pt>
                <c:pt idx="521" formatCode="General">
                  <c:v>6.48</c:v>
                </c:pt>
                <c:pt idx="522" formatCode="General">
                  <c:v>6.54</c:v>
                </c:pt>
                <c:pt idx="523" formatCode="General">
                  <c:v>6.61</c:v>
                </c:pt>
                <c:pt idx="524" formatCode="General">
                  <c:v>6.56</c:v>
                </c:pt>
                <c:pt idx="525" formatCode="General">
                  <c:v>6.52</c:v>
                </c:pt>
                <c:pt idx="526" formatCode="General">
                  <c:v>6.53</c:v>
                </c:pt>
                <c:pt idx="527" formatCode="General">
                  <c:v>6.48</c:v>
                </c:pt>
                <c:pt idx="528" formatCode="General">
                  <c:v>6.52</c:v>
                </c:pt>
                <c:pt idx="529" formatCode="General">
                  <c:v>6.6</c:v>
                </c:pt>
                <c:pt idx="530" formatCode="General">
                  <c:v>6.77</c:v>
                </c:pt>
                <c:pt idx="531" formatCode="General">
                  <c:v>6.72</c:v>
                </c:pt>
                <c:pt idx="532" formatCode="General">
                  <c:v>6.54</c:v>
                </c:pt>
                <c:pt idx="533" formatCode="General">
                  <c:v>6.52</c:v>
                </c:pt>
                <c:pt idx="534" formatCode="General">
                  <c:v>6.46</c:v>
                </c:pt>
                <c:pt idx="535" formatCode="General">
                  <c:v>6.47</c:v>
                </c:pt>
                <c:pt idx="536" formatCode="General">
                  <c:v>6.48</c:v>
                </c:pt>
                <c:pt idx="537" formatCode="General">
                  <c:v>6.45</c:v>
                </c:pt>
                <c:pt idx="538" formatCode="General">
                  <c:v>6.55</c:v>
                </c:pt>
                <c:pt idx="539" formatCode="General">
                  <c:v>6.31</c:v>
                </c:pt>
                <c:pt idx="540" formatCode="General">
                  <c:v>6.24</c:v>
                </c:pt>
                <c:pt idx="541" formatCode="General">
                  <c:v>6.18</c:v>
                </c:pt>
                <c:pt idx="542" formatCode="General">
                  <c:v>6.27</c:v>
                </c:pt>
                <c:pt idx="543" formatCode="General">
                  <c:v>6.35</c:v>
                </c:pt>
                <c:pt idx="544" formatCode="General">
                  <c:v>6.36</c:v>
                </c:pt>
                <c:pt idx="545" formatCode="General">
                  <c:v>6.41</c:v>
                </c:pt>
                <c:pt idx="546" formatCode="General">
                  <c:v>6.33</c:v>
                </c:pt>
                <c:pt idx="547" formatCode="General">
                  <c:v>6.36</c:v>
                </c:pt>
                <c:pt idx="548" formatCode="General">
                  <c:v>6.31</c:v>
                </c:pt>
                <c:pt idx="549" formatCode="General">
                  <c:v>6.24</c:v>
                </c:pt>
                <c:pt idx="550" formatCode="General">
                  <c:v>6.22</c:v>
                </c:pt>
                <c:pt idx="551" formatCode="General">
                  <c:v>6.19</c:v>
                </c:pt>
                <c:pt idx="552" formatCode="General">
                  <c:v>6.22</c:v>
                </c:pt>
                <c:pt idx="553" formatCode="General">
                  <c:v>6.26</c:v>
                </c:pt>
                <c:pt idx="554" formatCode="General">
                  <c:v>6.26</c:v>
                </c:pt>
                <c:pt idx="555" formatCode="General">
                  <c:v>6.21</c:v>
                </c:pt>
                <c:pt idx="556" formatCode="General">
                  <c:v>6.22</c:v>
                </c:pt>
                <c:pt idx="557" formatCode="General">
                  <c:v>6.02</c:v>
                </c:pt>
                <c:pt idx="558" formatCode="General">
                  <c:v>5.99</c:v>
                </c:pt>
                <c:pt idx="559" formatCode="General">
                  <c:v>5.99</c:v>
                </c:pt>
                <c:pt idx="560" formatCode="General">
                  <c:v>6.03</c:v>
                </c:pt>
                <c:pt idx="561" formatCode="General">
                  <c:v>6.04</c:v>
                </c:pt>
                <c:pt idx="562">
                  <c:v>6.01</c:v>
                </c:pt>
                <c:pt idx="563" formatCode="General">
                  <c:v>6</c:v>
                </c:pt>
                <c:pt idx="564" formatCode="General">
                  <c:v>5.91</c:v>
                </c:pt>
                <c:pt idx="565" formatCode="General">
                  <c:v>5.99</c:v>
                </c:pt>
                <c:pt idx="566" formatCode="General">
                  <c:v>5.97</c:v>
                </c:pt>
                <c:pt idx="567" formatCode="General">
                  <c:v>5.99</c:v>
                </c:pt>
                <c:pt idx="568" formatCode="General">
                  <c:v>6.05</c:v>
                </c:pt>
                <c:pt idx="569" formatCode="General">
                  <c:v>6.04</c:v>
                </c:pt>
                <c:pt idx="570" formatCode="General">
                  <c:v>6.03</c:v>
                </c:pt>
                <c:pt idx="571" formatCode="General">
                  <c:v>5.99</c:v>
                </c:pt>
                <c:pt idx="572" formatCode="General">
                  <c:v>5.99</c:v>
                </c:pt>
                <c:pt idx="573" formatCode="General">
                  <c:v>5.99</c:v>
                </c:pt>
                <c:pt idx="574" formatCode="General">
                  <c:v>5.97</c:v>
                </c:pt>
                <c:pt idx="575" formatCode="General">
                  <c:v>6.02</c:v>
                </c:pt>
                <c:pt idx="576" formatCode="General">
                  <c:v>5.93</c:v>
                </c:pt>
                <c:pt idx="577" formatCode="General">
                  <c:v>6.01</c:v>
                </c:pt>
                <c:pt idx="578" formatCode="General">
                  <c:v>6.05</c:v>
                </c:pt>
                <c:pt idx="579" formatCode="General">
                  <c:v>5.9</c:v>
                </c:pt>
                <c:pt idx="580" formatCode="General">
                  <c:v>5.74</c:v>
                </c:pt>
                <c:pt idx="581" formatCode="General">
                  <c:v>5.74</c:v>
                </c:pt>
                <c:pt idx="582" formatCode="General">
                  <c:v>5.74</c:v>
                </c:pt>
                <c:pt idx="583" formatCode="General">
                  <c:v>5.75</c:v>
                </c:pt>
                <c:pt idx="584" formatCode="General">
                  <c:v>5.73</c:v>
                </c:pt>
                <c:pt idx="585" formatCode="General">
                  <c:v>5.69</c:v>
                </c:pt>
                <c:pt idx="586" formatCode="General">
                  <c:v>5.57</c:v>
                </c:pt>
                <c:pt idx="587" formatCode="General">
                  <c:v>5.54</c:v>
                </c:pt>
                <c:pt idx="588" formatCode="General">
                  <c:v>5.52</c:v>
                </c:pt>
                <c:pt idx="589" formatCode="General">
                  <c:v>5.51</c:v>
                </c:pt>
                <c:pt idx="590" formatCode="General">
                  <c:v>5.37</c:v>
                </c:pt>
                <c:pt idx="591" formatCode="General">
                  <c:v>5.19</c:v>
                </c:pt>
                <c:pt idx="592" formatCode="General">
                  <c:v>5.32</c:v>
                </c:pt>
                <c:pt idx="593" formatCode="General">
                  <c:v>5.35</c:v>
                </c:pt>
                <c:pt idx="594" formatCode="General">
                  <c:v>5.4</c:v>
                </c:pt>
                <c:pt idx="595" formatCode="General">
                  <c:v>5.41</c:v>
                </c:pt>
                <c:pt idx="596" formatCode="General">
                  <c:v>5.37</c:v>
                </c:pt>
                <c:pt idx="597" formatCode="General">
                  <c:v>5.29</c:v>
                </c:pt>
                <c:pt idx="598" formatCode="General">
                  <c:v>5.17</c:v>
                </c:pt>
                <c:pt idx="599" formatCode="General">
                  <c:v>5.22</c:v>
                </c:pt>
                <c:pt idx="600" formatCode="General">
                  <c:v>5.26</c:v>
                </c:pt>
                <c:pt idx="601" formatCode="General">
                  <c:v>5.0999999999999996</c:v>
                </c:pt>
                <c:pt idx="602" formatCode="General">
                  <c:v>5.13</c:v>
                </c:pt>
                <c:pt idx="603" formatCode="General">
                  <c:v>4.9800000000000004</c:v>
                </c:pt>
                <c:pt idx="604" formatCode="General">
                  <c:v>5.1100000000000003</c:v>
                </c:pt>
                <c:pt idx="605" formatCode="General">
                  <c:v>5.22</c:v>
                </c:pt>
                <c:pt idx="606" formatCode="General">
                  <c:v>5.14</c:v>
                </c:pt>
                <c:pt idx="607" formatCode="General">
                  <c:v>4.8899999999999997</c:v>
                </c:pt>
                <c:pt idx="608" formatCode="General">
                  <c:v>4.8899999999999997</c:v>
                </c:pt>
                <c:pt idx="609" formatCode="General">
                  <c:v>4.87</c:v>
                </c:pt>
                <c:pt idx="610" formatCode="General">
                  <c:v>4.92</c:v>
                </c:pt>
                <c:pt idx="611" formatCode="General">
                  <c:v>4.96</c:v>
                </c:pt>
                <c:pt idx="612" formatCode="General">
                  <c:v>4.95</c:v>
                </c:pt>
                <c:pt idx="613" formatCode="General">
                  <c:v>5.0199999999999996</c:v>
                </c:pt>
                <c:pt idx="614" formatCode="General">
                  <c:v>4.97</c:v>
                </c:pt>
                <c:pt idx="615" formatCode="General">
                  <c:v>5.05</c:v>
                </c:pt>
                <c:pt idx="616" formatCode="General">
                  <c:v>4.99</c:v>
                </c:pt>
                <c:pt idx="617" formatCode="General">
                  <c:v>5.0199999999999996</c:v>
                </c:pt>
                <c:pt idx="618" formatCode="General">
                  <c:v>5.04</c:v>
                </c:pt>
                <c:pt idx="619" formatCode="General">
                  <c:v>4.96</c:v>
                </c:pt>
                <c:pt idx="620" formatCode="General">
                  <c:v>4.95</c:v>
                </c:pt>
                <c:pt idx="621" formatCode="General">
                  <c:v>4.76</c:v>
                </c:pt>
                <c:pt idx="622" formatCode="General">
                  <c:v>4.67</c:v>
                </c:pt>
                <c:pt idx="623" formatCode="General">
                  <c:v>4.82</c:v>
                </c:pt>
                <c:pt idx="624" formatCode="General">
                  <c:v>4.8600000000000003</c:v>
                </c:pt>
                <c:pt idx="625" formatCode="General">
                  <c:v>4.74</c:v>
                </c:pt>
                <c:pt idx="626" formatCode="General">
                  <c:v>4.79</c:v>
                </c:pt>
                <c:pt idx="627" formatCode="General">
                  <c:v>4.76</c:v>
                </c:pt>
                <c:pt idx="628" formatCode="General">
                  <c:v>4.7699999999999996</c:v>
                </c:pt>
                <c:pt idx="629" formatCode="General">
                  <c:v>4.72</c:v>
                </c:pt>
                <c:pt idx="630" formatCode="General">
                  <c:v>4.67</c:v>
                </c:pt>
                <c:pt idx="631" formatCode="General">
                  <c:v>4.67</c:v>
                </c:pt>
                <c:pt idx="632" formatCode="General">
                  <c:v>4.71</c:v>
                </c:pt>
                <c:pt idx="633" formatCode="General">
                  <c:v>4.71</c:v>
                </c:pt>
                <c:pt idx="634" formatCode="General">
                  <c:v>4.76</c:v>
                </c:pt>
                <c:pt idx="635" formatCode="General">
                  <c:v>4.76</c:v>
                </c:pt>
                <c:pt idx="636" formatCode="General">
                  <c:v>4.72</c:v>
                </c:pt>
                <c:pt idx="637" formatCode="General">
                  <c:v>4.67</c:v>
                </c:pt>
                <c:pt idx="638" formatCode="General">
                  <c:v>4.5199999999999996</c:v>
                </c:pt>
                <c:pt idx="639" formatCode="General">
                  <c:v>4.49</c:v>
                </c:pt>
                <c:pt idx="640" formatCode="General">
                  <c:v>4.4800000000000004</c:v>
                </c:pt>
                <c:pt idx="641" formatCode="General">
                  <c:v>4.55</c:v>
                </c:pt>
                <c:pt idx="642" formatCode="General">
                  <c:v>4.53</c:v>
                </c:pt>
                <c:pt idx="643" formatCode="General">
                  <c:v>4.54</c:v>
                </c:pt>
                <c:pt idx="644" formatCode="General">
                  <c:v>4.74</c:v>
                </c:pt>
                <c:pt idx="645" formatCode="General">
                  <c:v>4.7300000000000004</c:v>
                </c:pt>
                <c:pt idx="646" formatCode="General">
                  <c:v>5.03</c:v>
                </c:pt>
                <c:pt idx="647" formatCode="General">
                  <c:v>5.25</c:v>
                </c:pt>
                <c:pt idx="648" formatCode="General">
                  <c:v>5.04</c:v>
                </c:pt>
                <c:pt idx="649" formatCode="General">
                  <c:v>5.17</c:v>
                </c:pt>
                <c:pt idx="650" formatCode="General">
                  <c:v>5.36</c:v>
                </c:pt>
                <c:pt idx="651" formatCode="General">
                  <c:v>5.2</c:v>
                </c:pt>
                <c:pt idx="652" formatCode="General">
                  <c:v>5.18</c:v>
                </c:pt>
                <c:pt idx="653" formatCode="0.00">
                  <c:v>5.19</c:v>
                </c:pt>
                <c:pt idx="654" formatCode="General">
                  <c:v>5.18</c:v>
                </c:pt>
                <c:pt idx="655" formatCode="General">
                  <c:v>5.19</c:v>
                </c:pt>
                <c:pt idx="656" formatCode="General">
                  <c:v>4.9800000000000004</c:v>
                </c:pt>
                <c:pt idx="657" formatCode="General">
                  <c:v>5</c:v>
                </c:pt>
                <c:pt idx="658" formatCode="General">
                  <c:v>4.8899999999999997</c:v>
                </c:pt>
                <c:pt idx="659" formatCode="General">
                  <c:v>4.7699999999999996</c:v>
                </c:pt>
                <c:pt idx="660" formatCode="General">
                  <c:v>4.7699999999999996</c:v>
                </c:pt>
                <c:pt idx="661" formatCode="General">
                  <c:v>4.7300000000000004</c:v>
                </c:pt>
                <c:pt idx="662" formatCode="General">
                  <c:v>4.7699999999999996</c:v>
                </c:pt>
                <c:pt idx="663" formatCode="General">
                  <c:v>4.76</c:v>
                </c:pt>
                <c:pt idx="664" formatCode="General">
                  <c:v>4.7300000000000004</c:v>
                </c:pt>
                <c:pt idx="665" formatCode="General">
                  <c:v>4.63</c:v>
                </c:pt>
                <c:pt idx="666" formatCode="General">
                  <c:v>4.74</c:v>
                </c:pt>
                <c:pt idx="667" formatCode="General">
                  <c:v>4.74</c:v>
                </c:pt>
                <c:pt idx="668" formatCode="General">
                  <c:v>4.74</c:v>
                </c:pt>
                <c:pt idx="669" formatCode="General">
                  <c:v>4.82</c:v>
                </c:pt>
                <c:pt idx="670" formatCode="General">
                  <c:v>4.76</c:v>
                </c:pt>
                <c:pt idx="671" formatCode="General">
                  <c:v>4.72</c:v>
                </c:pt>
                <c:pt idx="672" formatCode="General">
                  <c:v>4.78</c:v>
                </c:pt>
                <c:pt idx="673" formatCode="General">
                  <c:v>4.62</c:v>
                </c:pt>
                <c:pt idx="674" formatCode="General">
                  <c:v>4.8</c:v>
                </c:pt>
                <c:pt idx="675" formatCode="General">
                  <c:v>4.88</c:v>
                </c:pt>
                <c:pt idx="676" formatCode="General">
                  <c:v>4.93</c:v>
                </c:pt>
                <c:pt idx="677" formatCode="General">
                  <c:v>5.04</c:v>
                </c:pt>
                <c:pt idx="678" formatCode="General">
                  <c:v>5.05</c:v>
                </c:pt>
                <c:pt idx="679" formatCode="General">
                  <c:v>4.95</c:v>
                </c:pt>
                <c:pt idx="680" formatCode="General">
                  <c:v>4.91</c:v>
                </c:pt>
                <c:pt idx="681" formatCode="General">
                  <c:v>4.88</c:v>
                </c:pt>
                <c:pt idx="682" formatCode="General">
                  <c:v>4.8499999999999996</c:v>
                </c:pt>
                <c:pt idx="683" formatCode="General">
                  <c:v>4.84</c:v>
                </c:pt>
                <c:pt idx="684" formatCode="General">
                  <c:v>4.8099999999999996</c:v>
                </c:pt>
                <c:pt idx="685" formatCode="General">
                  <c:v>4.78</c:v>
                </c:pt>
                <c:pt idx="686" formatCode="General">
                  <c:v>4.66</c:v>
                </c:pt>
                <c:pt idx="687" formatCode="General">
                  <c:v>4.7</c:v>
                </c:pt>
                <c:pt idx="688" formatCode="General">
                  <c:v>4.8</c:v>
                </c:pt>
                <c:pt idx="689" formatCode="General">
                  <c:v>4.7699999999999996</c:v>
                </c:pt>
                <c:pt idx="690" formatCode="General">
                  <c:v>4.79</c:v>
                </c:pt>
                <c:pt idx="691" formatCode="General">
                  <c:v>4.72</c:v>
                </c:pt>
                <c:pt idx="692" formatCode="General">
                  <c:v>4.72</c:v>
                </c:pt>
                <c:pt idx="693" formatCode="General">
                  <c:v>4.7</c:v>
                </c:pt>
                <c:pt idx="694" formatCode="General">
                  <c:v>4.62</c:v>
                </c:pt>
                <c:pt idx="695" formatCode="General">
                  <c:v>4.55</c:v>
                </c:pt>
                <c:pt idx="696" formatCode="General">
                  <c:v>4.3499999999999996</c:v>
                </c:pt>
                <c:pt idx="697" formatCode="General">
                  <c:v>4.45</c:v>
                </c:pt>
                <c:pt idx="698" formatCode="General">
                  <c:v>4.3499999999999996</c:v>
                </c:pt>
                <c:pt idx="699" formatCode="General">
                  <c:v>4.33</c:v>
                </c:pt>
                <c:pt idx="700" formatCode="General">
                  <c:v>4.21</c:v>
                </c:pt>
                <c:pt idx="701" formatCode="General">
                  <c:v>4.5</c:v>
                </c:pt>
                <c:pt idx="702" formatCode="General">
                  <c:v>4.41</c:v>
                </c:pt>
                <c:pt idx="703" formatCode="General">
                  <c:v>4.33</c:v>
                </c:pt>
                <c:pt idx="704" formatCode="General">
                  <c:v>4.32</c:v>
                </c:pt>
                <c:pt idx="705" formatCode="General">
                  <c:v>4.33</c:v>
                </c:pt>
                <c:pt idx="706" formatCode="General">
                  <c:v>4.38</c:v>
                </c:pt>
                <c:pt idx="707" formatCode="General">
                  <c:v>4.3</c:v>
                </c:pt>
                <c:pt idx="708" formatCode="General">
                  <c:v>4.26</c:v>
                </c:pt>
                <c:pt idx="709" formatCode="General">
                  <c:v>4.29</c:v>
                </c:pt>
                <c:pt idx="710" formatCode="General">
                  <c:v>4.17</c:v>
                </c:pt>
                <c:pt idx="711" formatCode="General">
                  <c:v>4.1399999999999997</c:v>
                </c:pt>
                <c:pt idx="712" formatCode="General">
                  <c:v>4.1900000000000004</c:v>
                </c:pt>
                <c:pt idx="713" formatCode="General">
                  <c:v>4.1500000000000004</c:v>
                </c:pt>
                <c:pt idx="714" formatCode="General">
                  <c:v>4.18</c:v>
                </c:pt>
                <c:pt idx="715" formatCode="General">
                  <c:v>4.1900000000000004</c:v>
                </c:pt>
                <c:pt idx="716" formatCode="General">
                  <c:v>4.0999999999999996</c:v>
                </c:pt>
                <c:pt idx="717" formatCode="General">
                  <c:v>4.1100000000000003</c:v>
                </c:pt>
                <c:pt idx="718" formatCode="General">
                  <c:v>4.0599999999999996</c:v>
                </c:pt>
                <c:pt idx="719" formatCode="General">
                  <c:v>4</c:v>
                </c:pt>
                <c:pt idx="720" formatCode="General">
                  <c:v>3.99</c:v>
                </c:pt>
                <c:pt idx="721" formatCode="General">
                  <c:v>3.94</c:v>
                </c:pt>
                <c:pt idx="722" formatCode="General">
                  <c:v>3.88</c:v>
                </c:pt>
                <c:pt idx="723" formatCode="General">
                  <c:v>3.98</c:v>
                </c:pt>
                <c:pt idx="724" formatCode="General">
                  <c:v>4.01</c:v>
                </c:pt>
                <c:pt idx="725" formatCode="General">
                  <c:v>3.94</c:v>
                </c:pt>
                <c:pt idx="726" formatCode="General">
                  <c:v>3.92</c:v>
                </c:pt>
                <c:pt idx="727" formatCode="General">
                  <c:v>3.94</c:v>
                </c:pt>
                <c:pt idx="728" formatCode="General">
                  <c:v>3.87</c:v>
                </c:pt>
                <c:pt idx="729" formatCode="General">
                  <c:v>3.87</c:v>
                </c:pt>
                <c:pt idx="730" formatCode="General">
                  <c:v>3.83</c:v>
                </c:pt>
                <c:pt idx="731" formatCode="General">
                  <c:v>3.83</c:v>
                </c:pt>
                <c:pt idx="732" formatCode="General">
                  <c:v>3.85</c:v>
                </c:pt>
                <c:pt idx="733" formatCode="General">
                  <c:v>3.93</c:v>
                </c:pt>
                <c:pt idx="734" formatCode="General">
                  <c:v>3.92</c:v>
                </c:pt>
                <c:pt idx="735" formatCode="General">
                  <c:v>3.88</c:v>
                </c:pt>
                <c:pt idx="736" formatCode="General">
                  <c:v>3.9</c:v>
                </c:pt>
                <c:pt idx="737" formatCode="General">
                  <c:v>3.84</c:v>
                </c:pt>
                <c:pt idx="738" formatCode="General">
                  <c:v>3.86</c:v>
                </c:pt>
                <c:pt idx="739" formatCode="General">
                  <c:v>3.86</c:v>
                </c:pt>
                <c:pt idx="740" formatCode="General">
                  <c:v>3.76</c:v>
                </c:pt>
                <c:pt idx="741" formatCode="General">
                  <c:v>3.75</c:v>
                </c:pt>
                <c:pt idx="742" formatCode="General">
                  <c:v>4.05</c:v>
                </c:pt>
                <c:pt idx="743" formatCode="General">
                  <c:v>4.22</c:v>
                </c:pt>
                <c:pt idx="744" formatCode="General">
                  <c:v>4.1100000000000003</c:v>
                </c:pt>
                <c:pt idx="745" formatCode="General">
                  <c:v>3.94</c:v>
                </c:pt>
                <c:pt idx="746" formatCode="General">
                  <c:v>3.86</c:v>
                </c:pt>
                <c:pt idx="747" formatCode="General">
                  <c:v>3.84</c:v>
                </c:pt>
                <c:pt idx="748" formatCode="General">
                  <c:v>3.83</c:v>
                </c:pt>
                <c:pt idx="749" formatCode="General">
                  <c:v>3.83</c:v>
                </c:pt>
                <c:pt idx="750" formatCode="General">
                  <c:v>3.86</c:v>
                </c:pt>
                <c:pt idx="751" formatCode="General">
                  <c:v>3.77</c:v>
                </c:pt>
                <c:pt idx="752" formatCode="General">
                  <c:v>3.71</c:v>
                </c:pt>
                <c:pt idx="753" formatCode="General">
                  <c:v>3.65</c:v>
                </c:pt>
                <c:pt idx="754" formatCode="General">
                  <c:v>3.72</c:v>
                </c:pt>
                <c:pt idx="755" formatCode="General">
                  <c:v>3.73</c:v>
                </c:pt>
                <c:pt idx="756" formatCode="General">
                  <c:v>3.62</c:v>
                </c:pt>
                <c:pt idx="757" formatCode="General">
                  <c:v>3.62</c:v>
                </c:pt>
                <c:pt idx="758" formatCode="General">
                  <c:v>3.62</c:v>
                </c:pt>
                <c:pt idx="759" formatCode="General">
                  <c:v>3.46</c:v>
                </c:pt>
                <c:pt idx="760" formatCode="General">
                  <c:v>3.41</c:v>
                </c:pt>
                <c:pt idx="761" formatCode="General">
                  <c:v>3.39</c:v>
                </c:pt>
                <c:pt idx="762" formatCode="General">
                  <c:v>3.34</c:v>
                </c:pt>
                <c:pt idx="763" formatCode="General">
                  <c:v>3.42</c:v>
                </c:pt>
                <c:pt idx="764" formatCode="General">
                  <c:v>3.02</c:v>
                </c:pt>
                <c:pt idx="765" formatCode="General">
                  <c:v>3.01</c:v>
                </c:pt>
                <c:pt idx="766" formatCode="General">
                  <c:v>3</c:v>
                </c:pt>
                <c:pt idx="767" formatCode="General">
                  <c:v>2.95</c:v>
                </c:pt>
                <c:pt idx="768" formatCode="General">
                  <c:v>2.96</c:v>
                </c:pt>
                <c:pt idx="769" formatCode="General">
                  <c:v>2.99</c:v>
                </c:pt>
                <c:pt idx="770" formatCode="General">
                  <c:v>3.01</c:v>
                </c:pt>
                <c:pt idx="771" formatCode="General">
                  <c:v>3</c:v>
                </c:pt>
                <c:pt idx="772" formatCode="General">
                  <c:v>3.02</c:v>
                </c:pt>
                <c:pt idx="773" formatCode="General">
                  <c:v>3.14</c:v>
                </c:pt>
                <c:pt idx="774" formatCode="General">
                  <c:v>3.26</c:v>
                </c:pt>
                <c:pt idx="775" formatCode="General">
                  <c:v>3.36</c:v>
                </c:pt>
                <c:pt idx="776" formatCode="General">
                  <c:v>3.34</c:v>
                </c:pt>
                <c:pt idx="777" formatCode="General">
                  <c:v>3.42</c:v>
                </c:pt>
                <c:pt idx="778" formatCode="General">
                  <c:v>3.29</c:v>
                </c:pt>
                <c:pt idx="779" formatCode="General">
                  <c:v>3.23</c:v>
                </c:pt>
                <c:pt idx="780" formatCode="General">
                  <c:v>3.25</c:v>
                </c:pt>
                <c:pt idx="781" formatCode="General">
                  <c:v>3.32</c:v>
                </c:pt>
                <c:pt idx="782" formatCode="General">
                  <c:v>3.49</c:v>
                </c:pt>
                <c:pt idx="783" formatCode="General">
                  <c:v>3.39</c:v>
                </c:pt>
                <c:pt idx="784" formatCode="General">
                  <c:v>3.44</c:v>
                </c:pt>
                <c:pt idx="785" formatCode="General">
                  <c:v>3.43</c:v>
                </c:pt>
                <c:pt idx="786" formatCode="General">
                  <c:v>3.34</c:v>
                </c:pt>
                <c:pt idx="787" formatCode="General">
                  <c:v>3.25</c:v>
                </c:pt>
                <c:pt idx="788" formatCode="General">
                  <c:v>3.12</c:v>
                </c:pt>
                <c:pt idx="789" formatCode="General">
                  <c:v>3.12</c:v>
                </c:pt>
                <c:pt idx="790" formatCode="General">
                  <c:v>3.05</c:v>
                </c:pt>
                <c:pt idx="791" formatCode="General">
                  <c:v>3.07</c:v>
                </c:pt>
                <c:pt idx="792" formatCode="General">
                  <c:v>3.17</c:v>
                </c:pt>
                <c:pt idx="793" formatCode="General">
                  <c:v>3.32</c:v>
                </c:pt>
                <c:pt idx="794" formatCode="General">
                  <c:v>3.26</c:v>
                </c:pt>
                <c:pt idx="795" formatCode="General">
                  <c:v>3.46</c:v>
                </c:pt>
                <c:pt idx="796" formatCode="General">
                  <c:v>3.64</c:v>
                </c:pt>
                <c:pt idx="797" formatCode="General">
                  <c:v>3.61</c:v>
                </c:pt>
                <c:pt idx="798" formatCode="General">
                  <c:v>3.57</c:v>
                </c:pt>
                <c:pt idx="799" formatCode="General">
                  <c:v>3.69</c:v>
                </c:pt>
                <c:pt idx="800" formatCode="General">
                  <c:v>3.76</c:v>
                </c:pt>
                <c:pt idx="801" formatCode="General">
                  <c:v>3.75</c:v>
                </c:pt>
                <c:pt idx="802" formatCode="General">
                  <c:v>3.7</c:v>
                </c:pt>
                <c:pt idx="803" formatCode="General">
                  <c:v>3.43</c:v>
                </c:pt>
                <c:pt idx="804" formatCode="General">
                  <c:v>3.3</c:v>
                </c:pt>
                <c:pt idx="805" formatCode="General">
                  <c:v>3.29</c:v>
                </c:pt>
                <c:pt idx="806" formatCode="General">
                  <c:v>3.34</c:v>
                </c:pt>
                <c:pt idx="807" formatCode="General">
                  <c:v>3.26</c:v>
                </c:pt>
                <c:pt idx="808" formatCode="General">
                  <c:v>3.37</c:v>
                </c:pt>
                <c:pt idx="809" formatCode="General">
                  <c:v>3.49</c:v>
                </c:pt>
                <c:pt idx="810" formatCode="General">
                  <c:v>3.4</c:v>
                </c:pt>
                <c:pt idx="811" formatCode="General">
                  <c:v>3.4</c:v>
                </c:pt>
                <c:pt idx="812" formatCode="General">
                  <c:v>3.47</c:v>
                </c:pt>
                <c:pt idx="813" formatCode="General">
                  <c:v>3.42</c:v>
                </c:pt>
                <c:pt idx="814" formatCode="General">
                  <c:v>3.41</c:v>
                </c:pt>
                <c:pt idx="815" formatCode="General">
                  <c:v>3.32</c:v>
                </c:pt>
                <c:pt idx="816" formatCode="General">
                  <c:v>3.28</c:v>
                </c:pt>
                <c:pt idx="817" formatCode="General">
                  <c:v>3.37</c:v>
                </c:pt>
                <c:pt idx="818" formatCode="General">
                  <c:v>3.46</c:v>
                </c:pt>
                <c:pt idx="819" formatCode="General">
                  <c:v>3.46</c:v>
                </c:pt>
                <c:pt idx="820" formatCode="General">
                  <c:v>3.44</c:v>
                </c:pt>
                <c:pt idx="821" formatCode="General">
                  <c:v>3.47</c:v>
                </c:pt>
                <c:pt idx="822" formatCode="General">
                  <c:v>3.47</c:v>
                </c:pt>
                <c:pt idx="823" formatCode="General">
                  <c:v>3.48</c:v>
                </c:pt>
                <c:pt idx="824" formatCode="General">
                  <c:v>3.47</c:v>
                </c:pt>
                <c:pt idx="825" formatCode="General">
                  <c:v>3.53</c:v>
                </c:pt>
                <c:pt idx="826" formatCode="General">
                  <c:v>3.55</c:v>
                </c:pt>
                <c:pt idx="827" formatCode="General">
                  <c:v>3.51</c:v>
                </c:pt>
                <c:pt idx="828" formatCode="General">
                  <c:v>3.52</c:v>
                </c:pt>
                <c:pt idx="829" formatCode="General">
                  <c:v>3.52</c:v>
                </c:pt>
                <c:pt idx="830" formatCode="General">
                  <c:v>3.58</c:v>
                </c:pt>
                <c:pt idx="831" formatCode="General">
                  <c:v>3.68</c:v>
                </c:pt>
                <c:pt idx="832" formatCode="General">
                  <c:v>3.71</c:v>
                </c:pt>
                <c:pt idx="833" formatCode="General">
                  <c:v>3.7</c:v>
                </c:pt>
                <c:pt idx="834" formatCode="General">
                  <c:v>3.81</c:v>
                </c:pt>
                <c:pt idx="835" formatCode="General">
                  <c:v>3.91</c:v>
                </c:pt>
                <c:pt idx="836" formatCode="General">
                  <c:v>3.82</c:v>
                </c:pt>
                <c:pt idx="837" formatCode="General">
                  <c:v>3.75</c:v>
                </c:pt>
                <c:pt idx="838" formatCode="General">
                  <c:v>3.86</c:v>
                </c:pt>
                <c:pt idx="839" formatCode="General">
                  <c:v>3.79</c:v>
                </c:pt>
                <c:pt idx="840" formatCode="General">
                  <c:v>3.83</c:v>
                </c:pt>
                <c:pt idx="841" formatCode="General">
                  <c:v>3.67</c:v>
                </c:pt>
                <c:pt idx="842" formatCode="General">
                  <c:v>3.64</c:v>
                </c:pt>
                <c:pt idx="843" formatCode="General">
                  <c:v>3.65</c:v>
                </c:pt>
                <c:pt idx="844" formatCode="0.00">
                  <c:v>3.63</c:v>
                </c:pt>
                <c:pt idx="845" formatCode="0.00">
                  <c:v>3.62</c:v>
                </c:pt>
                <c:pt idx="846" formatCode="0.00">
                  <c:v>3.58</c:v>
                </c:pt>
                <c:pt idx="847" formatCode="0.00">
                  <c:v>3.59</c:v>
                </c:pt>
                <c:pt idx="848" formatCode="0.00">
                  <c:v>3.62</c:v>
                </c:pt>
                <c:pt idx="849" formatCode="0.00">
                  <c:v>3.55</c:v>
                </c:pt>
                <c:pt idx="850" formatCode="0.00">
                  <c:v>3.5</c:v>
                </c:pt>
                <c:pt idx="851" formatCode="0.00">
                  <c:v>3.55</c:v>
                </c:pt>
                <c:pt idx="852" formatCode="0.00">
                  <c:v>3.59</c:v>
                </c:pt>
                <c:pt idx="853" formatCode="0.00">
                  <c:v>3.63</c:v>
                </c:pt>
                <c:pt idx="854" formatCode="0.00">
                  <c:v>3.77</c:v>
                </c:pt>
                <c:pt idx="855" formatCode="0.00">
                  <c:v>3.7</c:v>
                </c:pt>
                <c:pt idx="856" formatCode="0.00">
                  <c:v>3.83</c:v>
                </c:pt>
                <c:pt idx="857" formatCode="0.00">
                  <c:v>3.89</c:v>
                </c:pt>
                <c:pt idx="858" formatCode="0.00">
                  <c:v>4.05</c:v>
                </c:pt>
                <c:pt idx="859" formatCode="0.00">
                  <c:v>4.03</c:v>
                </c:pt>
                <c:pt idx="860" formatCode="0.00">
                  <c:v>4.01</c:v>
                </c:pt>
                <c:pt idx="861" formatCode="0.00">
                  <c:v>4.29</c:v>
                </c:pt>
                <c:pt idx="862" formatCode="0.00">
                  <c:v>4.2699999999999996</c:v>
                </c:pt>
                <c:pt idx="863" formatCode="0.00">
                  <c:v>4.34</c:v>
                </c:pt>
                <c:pt idx="864" formatCode="0.00">
                  <c:v>4.28</c:v>
                </c:pt>
                <c:pt idx="865" formatCode="0.00">
                  <c:v>4.3099999999999996</c:v>
                </c:pt>
                <c:pt idx="866" formatCode="0.00">
                  <c:v>4.21</c:v>
                </c:pt>
                <c:pt idx="867" formatCode="0.00">
                  <c:v>4.12</c:v>
                </c:pt>
                <c:pt idx="868" formatCode="0.00">
                  <c:v>4.09</c:v>
                </c:pt>
                <c:pt idx="869" formatCode="0.00">
                  <c:v>4.1100000000000003</c:v>
                </c:pt>
                <c:pt idx="870" formatCode="0.00">
                  <c:v>4.09</c:v>
                </c:pt>
                <c:pt idx="871" formatCode="0.00">
                  <c:v>4.2</c:v>
                </c:pt>
                <c:pt idx="872" formatCode="0.00">
                  <c:v>4.16</c:v>
                </c:pt>
                <c:pt idx="873" formatCode="0.00">
                  <c:v>4.0999999999999996</c:v>
                </c:pt>
                <c:pt idx="874" formatCode="0.00">
                  <c:v>4.17</c:v>
                </c:pt>
                <c:pt idx="875" formatCode="0.00">
                  <c:v>4.09</c:v>
                </c:pt>
                <c:pt idx="876" formatCode="0.00">
                  <c:v>4.16</c:v>
                </c:pt>
                <c:pt idx="877" formatCode="General">
                  <c:v>4.0599999999999996</c:v>
                </c:pt>
                <c:pt idx="878" formatCode="General">
                  <c:v>4.12</c:v>
                </c:pt>
                <c:pt idx="879" formatCode="General">
                  <c:v>4.0199999999999996</c:v>
                </c:pt>
                <c:pt idx="880" formatCode="General">
                  <c:v>3.97</c:v>
                </c:pt>
                <c:pt idx="881" formatCode="General">
                  <c:v>3.93</c:v>
                </c:pt>
                <c:pt idx="882" formatCode="General">
                  <c:v>3.97</c:v>
                </c:pt>
                <c:pt idx="883" formatCode="General">
                  <c:v>3.94</c:v>
                </c:pt>
                <c:pt idx="884" formatCode="General">
                  <c:v>3.89</c:v>
                </c:pt>
                <c:pt idx="885" formatCode="General">
                  <c:v>3.88</c:v>
                </c:pt>
                <c:pt idx="886" formatCode="General">
                  <c:v>3.84</c:v>
                </c:pt>
                <c:pt idx="887" formatCode="General">
                  <c:v>3.86</c:v>
                </c:pt>
                <c:pt idx="888" formatCode="General">
                  <c:v>3.82</c:v>
                </c:pt>
                <c:pt idx="889" formatCode="General">
                  <c:v>3.73</c:v>
                </c:pt>
                <c:pt idx="890" formatCode="General">
                  <c:v>3.8</c:v>
                </c:pt>
                <c:pt idx="896" formatCode="0.00">
                  <c:v>4.0236363636363643</c:v>
                </c:pt>
                <c:pt idx="897" formatCode="0.00">
                  <c:v>3.96388888888888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9793616"/>
        <c:axId val="609793072"/>
      </c:lineChart>
      <c:dateAx>
        <c:axId val="606179184"/>
        <c:scaling>
          <c:orientation val="minMax"/>
          <c:max val="42217"/>
          <c:min val="40910"/>
        </c:scaling>
        <c:delete val="0"/>
        <c:axPos val="b"/>
        <c:numFmt formatCode="yyyy/mm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hu-HU"/>
          </a:p>
        </c:txPr>
        <c:crossAx val="609798512"/>
        <c:crosses val="autoZero"/>
        <c:auto val="0"/>
        <c:lblOffset val="100"/>
        <c:baseTimeUnit val="days"/>
        <c:majorUnit val="5"/>
        <c:majorTimeUnit val="months"/>
      </c:dateAx>
      <c:valAx>
        <c:axId val="609798512"/>
        <c:scaling>
          <c:orientation val="minMax"/>
          <c:max val="11"/>
          <c:min val="1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#,##0.0" sourceLinked="0"/>
        <c:majorTickMark val="out"/>
        <c:minorTickMark val="none"/>
        <c:tickLblPos val="nextTo"/>
        <c:crossAx val="606179184"/>
        <c:crosses val="autoZero"/>
        <c:crossBetween val="between"/>
        <c:majorUnit val="1"/>
      </c:valAx>
      <c:valAx>
        <c:axId val="609793072"/>
        <c:scaling>
          <c:orientation val="minMax"/>
          <c:max val="11"/>
          <c:min val="1"/>
        </c:scaling>
        <c:delete val="0"/>
        <c:axPos val="r"/>
        <c:numFmt formatCode="#,##0.0" sourceLinked="0"/>
        <c:majorTickMark val="out"/>
        <c:minorTickMark val="none"/>
        <c:tickLblPos val="nextTo"/>
        <c:crossAx val="609793616"/>
        <c:crosses val="max"/>
        <c:crossBetween val="between"/>
        <c:majorUnit val="1"/>
      </c:valAx>
      <c:dateAx>
        <c:axId val="609793616"/>
        <c:scaling>
          <c:orientation val="minMax"/>
        </c:scaling>
        <c:delete val="1"/>
        <c:axPos val="b"/>
        <c:numFmt formatCode="dd\.mm\.yyyy" sourceLinked="1"/>
        <c:majorTickMark val="out"/>
        <c:minorTickMark val="none"/>
        <c:tickLblPos val="none"/>
        <c:crossAx val="609793072"/>
        <c:crosses val="autoZero"/>
        <c:auto val="1"/>
        <c:lblOffset val="100"/>
        <c:baseTimeUnit val="days"/>
        <c:majorUnit val="1"/>
        <c:minorUnit val="1"/>
      </c:dateAx>
    </c:plotArea>
    <c:legend>
      <c:legendPos val="r"/>
      <c:layout>
        <c:manualLayout>
          <c:xMode val="edge"/>
          <c:yMode val="edge"/>
          <c:x val="0.10305669754325462"/>
          <c:y val="0.10790801497989352"/>
          <c:w val="0.7863331411924821"/>
          <c:h val="5.9571567676732877E-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 baseline="0">
          <a:latin typeface="Calibri" pitchFamily="34" charset="0"/>
        </a:defRPr>
      </a:pPr>
      <a:endParaRPr lang="hu-H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1004982380240393E-2"/>
          <c:y val="4.9616493106114622E-2"/>
          <c:w val="0.8915688346989129"/>
          <c:h val="0.75059614649423867"/>
        </c:manualLayout>
      </c:layout>
      <c:lineChart>
        <c:grouping val="standard"/>
        <c:varyColors val="0"/>
        <c:ser>
          <c:idx val="0"/>
          <c:order val="0"/>
          <c:tx>
            <c:v>államadósság devizaaránya, %</c:v>
          </c:tx>
          <c:spPr>
            <a:ln w="38100">
              <a:solidFill>
                <a:schemeClr val="accent1"/>
              </a:solidFill>
            </a:ln>
          </c:spPr>
          <c:marker>
            <c:symbol val="none"/>
          </c:marker>
          <c:dLbls>
            <c:dLbl>
              <c:idx val="5"/>
              <c:layout>
                <c:manualLayout>
                  <c:x val="0"/>
                  <c:y val="2.7253668763102725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7"/>
              <c:layout>
                <c:manualLayout>
                  <c:x val="-5.4259376226200466E-2"/>
                  <c:y val="-4.8311574437645471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0"/>
              <c:layout>
                <c:manualLayout>
                  <c:x val="-1.3673199359263051E-3"/>
                  <c:y val="4.402518431843576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3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accent1">
                  <a:lumMod val="40000"/>
                  <a:lumOff val="60000"/>
                </a:schemeClr>
              </a:solidFill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állomány!$B$2:$CN$2</c:f>
              <c:numCache>
                <c:formatCode>dd/mm/yyyy</c:formatCode>
                <c:ptCount val="91"/>
                <c:pt idx="0">
                  <c:v>39447</c:v>
                </c:pt>
                <c:pt idx="1">
                  <c:v>39478</c:v>
                </c:pt>
                <c:pt idx="2">
                  <c:v>39507</c:v>
                </c:pt>
                <c:pt idx="3">
                  <c:v>39538</c:v>
                </c:pt>
                <c:pt idx="4">
                  <c:v>39568</c:v>
                </c:pt>
                <c:pt idx="5">
                  <c:v>39599</c:v>
                </c:pt>
                <c:pt idx="6">
                  <c:v>39629</c:v>
                </c:pt>
                <c:pt idx="7">
                  <c:v>39660</c:v>
                </c:pt>
                <c:pt idx="8">
                  <c:v>39691</c:v>
                </c:pt>
                <c:pt idx="9">
                  <c:v>39721</c:v>
                </c:pt>
                <c:pt idx="10">
                  <c:v>39752</c:v>
                </c:pt>
                <c:pt idx="11">
                  <c:v>39782</c:v>
                </c:pt>
                <c:pt idx="12">
                  <c:v>39813</c:v>
                </c:pt>
                <c:pt idx="13">
                  <c:v>39844</c:v>
                </c:pt>
                <c:pt idx="14">
                  <c:v>39872</c:v>
                </c:pt>
                <c:pt idx="15">
                  <c:v>39903</c:v>
                </c:pt>
                <c:pt idx="16">
                  <c:v>39933</c:v>
                </c:pt>
                <c:pt idx="17">
                  <c:v>39964</c:v>
                </c:pt>
                <c:pt idx="18">
                  <c:v>39994</c:v>
                </c:pt>
                <c:pt idx="19">
                  <c:v>40025</c:v>
                </c:pt>
                <c:pt idx="20">
                  <c:v>40056</c:v>
                </c:pt>
                <c:pt idx="21">
                  <c:v>40086</c:v>
                </c:pt>
                <c:pt idx="22">
                  <c:v>40117</c:v>
                </c:pt>
                <c:pt idx="23">
                  <c:v>40147</c:v>
                </c:pt>
                <c:pt idx="24">
                  <c:v>40178</c:v>
                </c:pt>
                <c:pt idx="25">
                  <c:v>40209</c:v>
                </c:pt>
                <c:pt idx="26">
                  <c:v>40237</c:v>
                </c:pt>
                <c:pt idx="27">
                  <c:v>40268</c:v>
                </c:pt>
                <c:pt idx="28">
                  <c:v>40298</c:v>
                </c:pt>
                <c:pt idx="29">
                  <c:v>40329</c:v>
                </c:pt>
                <c:pt idx="30">
                  <c:v>40359</c:v>
                </c:pt>
                <c:pt idx="31">
                  <c:v>40390</c:v>
                </c:pt>
                <c:pt idx="32">
                  <c:v>40421</c:v>
                </c:pt>
                <c:pt idx="33">
                  <c:v>40451</c:v>
                </c:pt>
                <c:pt idx="34">
                  <c:v>40482</c:v>
                </c:pt>
                <c:pt idx="35">
                  <c:v>40512</c:v>
                </c:pt>
                <c:pt idx="36">
                  <c:v>40543</c:v>
                </c:pt>
                <c:pt idx="37">
                  <c:v>40574</c:v>
                </c:pt>
                <c:pt idx="38">
                  <c:v>40602</c:v>
                </c:pt>
                <c:pt idx="39">
                  <c:v>40633</c:v>
                </c:pt>
                <c:pt idx="40">
                  <c:v>40663</c:v>
                </c:pt>
                <c:pt idx="41">
                  <c:v>40694</c:v>
                </c:pt>
                <c:pt idx="42">
                  <c:v>40724</c:v>
                </c:pt>
                <c:pt idx="43">
                  <c:v>40755</c:v>
                </c:pt>
                <c:pt idx="44">
                  <c:v>40786</c:v>
                </c:pt>
                <c:pt idx="45">
                  <c:v>40816</c:v>
                </c:pt>
                <c:pt idx="46">
                  <c:v>40847</c:v>
                </c:pt>
                <c:pt idx="47">
                  <c:v>40877</c:v>
                </c:pt>
                <c:pt idx="48">
                  <c:v>40908</c:v>
                </c:pt>
                <c:pt idx="49">
                  <c:v>40939</c:v>
                </c:pt>
                <c:pt idx="50">
                  <c:v>40968</c:v>
                </c:pt>
                <c:pt idx="51">
                  <c:v>40999</c:v>
                </c:pt>
                <c:pt idx="52">
                  <c:v>41029</c:v>
                </c:pt>
                <c:pt idx="53">
                  <c:v>41060</c:v>
                </c:pt>
                <c:pt idx="54">
                  <c:v>41090</c:v>
                </c:pt>
                <c:pt idx="55">
                  <c:v>41121</c:v>
                </c:pt>
                <c:pt idx="56">
                  <c:v>41152</c:v>
                </c:pt>
                <c:pt idx="57">
                  <c:v>41182</c:v>
                </c:pt>
                <c:pt idx="58">
                  <c:v>41213</c:v>
                </c:pt>
                <c:pt idx="59">
                  <c:v>41243</c:v>
                </c:pt>
                <c:pt idx="60">
                  <c:v>41274</c:v>
                </c:pt>
                <c:pt idx="61">
                  <c:v>41305</c:v>
                </c:pt>
                <c:pt idx="62">
                  <c:v>41333</c:v>
                </c:pt>
                <c:pt idx="63">
                  <c:v>41364</c:v>
                </c:pt>
                <c:pt idx="64">
                  <c:v>41394</c:v>
                </c:pt>
                <c:pt idx="65">
                  <c:v>41425</c:v>
                </c:pt>
                <c:pt idx="66">
                  <c:v>41455</c:v>
                </c:pt>
                <c:pt idx="67">
                  <c:v>41486</c:v>
                </c:pt>
                <c:pt idx="68">
                  <c:v>41517</c:v>
                </c:pt>
                <c:pt idx="69">
                  <c:v>41547</c:v>
                </c:pt>
                <c:pt idx="70">
                  <c:v>41578</c:v>
                </c:pt>
                <c:pt idx="71">
                  <c:v>41608</c:v>
                </c:pt>
                <c:pt idx="72">
                  <c:v>41639</c:v>
                </c:pt>
                <c:pt idx="73">
                  <c:v>41670</c:v>
                </c:pt>
                <c:pt idx="74">
                  <c:v>41698</c:v>
                </c:pt>
                <c:pt idx="75">
                  <c:v>41729</c:v>
                </c:pt>
                <c:pt idx="76">
                  <c:v>41759</c:v>
                </c:pt>
                <c:pt idx="77">
                  <c:v>41790</c:v>
                </c:pt>
                <c:pt idx="78">
                  <c:v>41820</c:v>
                </c:pt>
                <c:pt idx="79">
                  <c:v>41851</c:v>
                </c:pt>
                <c:pt idx="80">
                  <c:v>41882</c:v>
                </c:pt>
                <c:pt idx="81">
                  <c:v>41912</c:v>
                </c:pt>
                <c:pt idx="82">
                  <c:v>41943</c:v>
                </c:pt>
                <c:pt idx="83">
                  <c:v>41973</c:v>
                </c:pt>
                <c:pt idx="84">
                  <c:v>42004</c:v>
                </c:pt>
                <c:pt idx="85">
                  <c:v>42035</c:v>
                </c:pt>
                <c:pt idx="86">
                  <c:v>42063</c:v>
                </c:pt>
                <c:pt idx="87">
                  <c:v>42094</c:v>
                </c:pt>
                <c:pt idx="88">
                  <c:v>42124</c:v>
                </c:pt>
                <c:pt idx="89">
                  <c:v>42155</c:v>
                </c:pt>
                <c:pt idx="90">
                  <c:v>42185</c:v>
                </c:pt>
              </c:numCache>
            </c:numRef>
          </c:cat>
          <c:val>
            <c:numRef>
              <c:f>állomány!$B$235:$CN$235</c:f>
              <c:numCache>
                <c:formatCode>0.0</c:formatCode>
                <c:ptCount val="91"/>
                <c:pt idx="0">
                  <c:v>24.657015582644334</c:v>
                </c:pt>
                <c:pt idx="1">
                  <c:v>24.816642298976557</c:v>
                </c:pt>
                <c:pt idx="2">
                  <c:v>24.92617302854643</c:v>
                </c:pt>
                <c:pt idx="3">
                  <c:v>24.479857965706195</c:v>
                </c:pt>
                <c:pt idx="4">
                  <c:v>24.16185808702172</c:v>
                </c:pt>
                <c:pt idx="5">
                  <c:v>23.548864486376655</c:v>
                </c:pt>
                <c:pt idx="6">
                  <c:v>24.91378038827505</c:v>
                </c:pt>
                <c:pt idx="7">
                  <c:v>24.718563912431733</c:v>
                </c:pt>
                <c:pt idx="8">
                  <c:v>25.282049449007367</c:v>
                </c:pt>
                <c:pt idx="9">
                  <c:v>25.615281781170218</c:v>
                </c:pt>
                <c:pt idx="10">
                  <c:v>27.066063072254181</c:v>
                </c:pt>
                <c:pt idx="11">
                  <c:v>35.461050246329926</c:v>
                </c:pt>
                <c:pt idx="12">
                  <c:v>37.585074772597657</c:v>
                </c:pt>
                <c:pt idx="13">
                  <c:v>40.499045692911658</c:v>
                </c:pt>
                <c:pt idx="14">
                  <c:v>40.146636757913953</c:v>
                </c:pt>
                <c:pt idx="15">
                  <c:v>41.358290712399501</c:v>
                </c:pt>
                <c:pt idx="16">
                  <c:v>38.671211674990133</c:v>
                </c:pt>
                <c:pt idx="17">
                  <c:v>38.211621680782635</c:v>
                </c:pt>
                <c:pt idx="18">
                  <c:v>38.700642471721061</c:v>
                </c:pt>
                <c:pt idx="19">
                  <c:v>40.869462485826425</c:v>
                </c:pt>
                <c:pt idx="20">
                  <c:v>41.893049459790909</c:v>
                </c:pt>
                <c:pt idx="21">
                  <c:v>41.426083726151766</c:v>
                </c:pt>
                <c:pt idx="22">
                  <c:v>41.572861995015558</c:v>
                </c:pt>
                <c:pt idx="23">
                  <c:v>44.396520177846043</c:v>
                </c:pt>
                <c:pt idx="24">
                  <c:v>44.701320230345615</c:v>
                </c:pt>
                <c:pt idx="25">
                  <c:v>45.93902220282483</c:v>
                </c:pt>
                <c:pt idx="26">
                  <c:v>45.685034986045856</c:v>
                </c:pt>
                <c:pt idx="27">
                  <c:v>45.316911528753288</c:v>
                </c:pt>
                <c:pt idx="28">
                  <c:v>45.500331916489777</c:v>
                </c:pt>
                <c:pt idx="29">
                  <c:v>46.28367124489364</c:v>
                </c:pt>
                <c:pt idx="30">
                  <c:v>47.02521437002278</c:v>
                </c:pt>
                <c:pt idx="31">
                  <c:v>46.22462027031812</c:v>
                </c:pt>
                <c:pt idx="32">
                  <c:v>46.72641452356936</c:v>
                </c:pt>
                <c:pt idx="33">
                  <c:v>44.338661899046897</c:v>
                </c:pt>
                <c:pt idx="34">
                  <c:v>43.9640018956379</c:v>
                </c:pt>
                <c:pt idx="35">
                  <c:v>44.589645689378841</c:v>
                </c:pt>
                <c:pt idx="36">
                  <c:v>44.613389839059579</c:v>
                </c:pt>
                <c:pt idx="37">
                  <c:v>43.839947479261134</c:v>
                </c:pt>
                <c:pt idx="38">
                  <c:v>43.042955680089243</c:v>
                </c:pt>
                <c:pt idx="39">
                  <c:v>43.992347263973073</c:v>
                </c:pt>
                <c:pt idx="40">
                  <c:v>44.656189454781156</c:v>
                </c:pt>
                <c:pt idx="41">
                  <c:v>45.266401196067058</c:v>
                </c:pt>
                <c:pt idx="42">
                  <c:v>47.255279108620421</c:v>
                </c:pt>
                <c:pt idx="43">
                  <c:v>47.779972539952325</c:v>
                </c:pt>
                <c:pt idx="44">
                  <c:v>47.869221683001484</c:v>
                </c:pt>
                <c:pt idx="45">
                  <c:v>49.628197077227426</c:v>
                </c:pt>
                <c:pt idx="46">
                  <c:v>50.001393286704676</c:v>
                </c:pt>
                <c:pt idx="47">
                  <c:v>50.493789162210213</c:v>
                </c:pt>
                <c:pt idx="48">
                  <c:v>49.533168577405881</c:v>
                </c:pt>
                <c:pt idx="49">
                  <c:v>47.744253190096792</c:v>
                </c:pt>
                <c:pt idx="50">
                  <c:v>45.995953367117473</c:v>
                </c:pt>
                <c:pt idx="51">
                  <c:v>46.014817019684529</c:v>
                </c:pt>
                <c:pt idx="52">
                  <c:v>45.072033939917702</c:v>
                </c:pt>
                <c:pt idx="53">
                  <c:v>45.454154226360089</c:v>
                </c:pt>
                <c:pt idx="54">
                  <c:v>44.487276261569072</c:v>
                </c:pt>
                <c:pt idx="55">
                  <c:v>42.653630310409355</c:v>
                </c:pt>
                <c:pt idx="56">
                  <c:v>42.664917467909774</c:v>
                </c:pt>
                <c:pt idx="57">
                  <c:v>41.752129220862884</c:v>
                </c:pt>
                <c:pt idx="58">
                  <c:v>41.440930225732366</c:v>
                </c:pt>
                <c:pt idx="59">
                  <c:v>39.340466186425196</c:v>
                </c:pt>
                <c:pt idx="60">
                  <c:v>40.878906806147008</c:v>
                </c:pt>
                <c:pt idx="61">
                  <c:v>40.477159845549963</c:v>
                </c:pt>
                <c:pt idx="62">
                  <c:v>42.246250008889355</c:v>
                </c:pt>
                <c:pt idx="63">
                  <c:v>41.896652213945252</c:v>
                </c:pt>
                <c:pt idx="64">
                  <c:v>41.573343050471223</c:v>
                </c:pt>
                <c:pt idx="65">
                  <c:v>40.844358210130892</c:v>
                </c:pt>
                <c:pt idx="66">
                  <c:v>41.012300248270428</c:v>
                </c:pt>
                <c:pt idx="67">
                  <c:v>41.203250984571817</c:v>
                </c:pt>
                <c:pt idx="68">
                  <c:v>39.221869441159654</c:v>
                </c:pt>
                <c:pt idx="69">
                  <c:v>39.20680140331114</c:v>
                </c:pt>
                <c:pt idx="70">
                  <c:v>39.43160943738927</c:v>
                </c:pt>
                <c:pt idx="71">
                  <c:v>41.443193454140435</c:v>
                </c:pt>
                <c:pt idx="72">
                  <c:v>40.69660311043372</c:v>
                </c:pt>
                <c:pt idx="73">
                  <c:v>41.091596026237035</c:v>
                </c:pt>
                <c:pt idx="74">
                  <c:v>41.206748141676933</c:v>
                </c:pt>
                <c:pt idx="75">
                  <c:v>42.232631753151317</c:v>
                </c:pt>
                <c:pt idx="76">
                  <c:v>41.779640181052912</c:v>
                </c:pt>
                <c:pt idx="77">
                  <c:v>40.642513457945746</c:v>
                </c:pt>
                <c:pt idx="78">
                  <c:v>40.724955705552659</c:v>
                </c:pt>
                <c:pt idx="79">
                  <c:v>39.726909920005468</c:v>
                </c:pt>
                <c:pt idx="80">
                  <c:v>40.647762176187193</c:v>
                </c:pt>
                <c:pt idx="81">
                  <c:v>39.535300592699578</c:v>
                </c:pt>
                <c:pt idx="82">
                  <c:v>38.942765521005668</c:v>
                </c:pt>
                <c:pt idx="83">
                  <c:v>37.435778338698285</c:v>
                </c:pt>
                <c:pt idx="84">
                  <c:v>38.005680314185739</c:v>
                </c:pt>
                <c:pt idx="85">
                  <c:v>36.950860018855074</c:v>
                </c:pt>
                <c:pt idx="86">
                  <c:v>35.34908637387317</c:v>
                </c:pt>
                <c:pt idx="87">
                  <c:v>34.94196399070308</c:v>
                </c:pt>
                <c:pt idx="88">
                  <c:v>35.29945266443795</c:v>
                </c:pt>
                <c:pt idx="89">
                  <c:v>35.741889906871052</c:v>
                </c:pt>
                <c:pt idx="90">
                  <c:v>35.71667449406957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9797424"/>
        <c:axId val="609802320"/>
      </c:lineChart>
      <c:dateAx>
        <c:axId val="609797424"/>
        <c:scaling>
          <c:orientation val="minMax"/>
        </c:scaling>
        <c:delete val="0"/>
        <c:axPos val="b"/>
        <c:numFmt formatCode="yyyy/mm/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hu-HU"/>
          </a:p>
        </c:txPr>
        <c:crossAx val="609802320"/>
        <c:crosses val="autoZero"/>
        <c:auto val="1"/>
        <c:lblOffset val="100"/>
        <c:baseTimeUnit val="months"/>
      </c:dateAx>
      <c:valAx>
        <c:axId val="60980232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  <a:prstDash val="dash"/>
            </a:ln>
          </c:spPr>
        </c:majorGridlines>
        <c:numFmt formatCode="General" sourceLinked="0"/>
        <c:majorTickMark val="out"/>
        <c:minorTickMark val="none"/>
        <c:tickLblPos val="nextTo"/>
        <c:crossAx val="6097974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3767529323703841"/>
          <c:y val="0.43998483153804868"/>
          <c:w val="0.52540918751684051"/>
          <c:h val="0.1983113268063465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20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185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0034824078362752E-2"/>
          <c:y val="0.14037456087219866"/>
          <c:w val="0.60659690961191992"/>
          <c:h val="0.85813126072419244"/>
        </c:manualLayout>
      </c:layout>
      <c:pie3DChart>
        <c:varyColors val="1"/>
        <c:ser>
          <c:idx val="0"/>
          <c:order val="0"/>
          <c:tx>
            <c:strRef>
              <c:f>'3.7.3.'!$K$1</c:f>
              <c:strCache>
                <c:ptCount val="1"/>
                <c:pt idx="0">
                  <c:v>J–Sz</c:v>
                </c:pt>
              </c:strCache>
            </c:strRef>
          </c:tx>
          <c:spPr>
            <a:ln>
              <a:solidFill>
                <a:schemeClr val="tx1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c:spPr>
          <c:explosion val="8"/>
          <c:dPt>
            <c:idx val="3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3.7.3.'!$A$53:$A$60</c:f>
              <c:strCache>
                <c:ptCount val="8"/>
                <c:pt idx="0">
                  <c:v>Gazdálkodó szerveztek</c:v>
                </c:pt>
                <c:pt idx="1">
                  <c:v>Fogyasztási adók</c:v>
                </c:pt>
                <c:pt idx="2">
                  <c:v>Lakosság</c:v>
                </c:pt>
                <c:pt idx="3">
                  <c:v>Költségvetési szervek</c:v>
                </c:pt>
                <c:pt idx="4">
                  <c:v>Államháztartási alrendszerek</c:v>
                </c:pt>
                <c:pt idx="5">
                  <c:v>Állami vagyon</c:v>
                </c:pt>
                <c:pt idx="6">
                  <c:v>Kamat és egyéb</c:v>
                </c:pt>
                <c:pt idx="7">
                  <c:v>Egyéb uniós</c:v>
                </c:pt>
              </c:strCache>
            </c:strRef>
          </c:cat>
          <c:val>
            <c:numRef>
              <c:f>('3.7.3.'!$K$3:$K$43;'3.7.3.'!$K$45:$K$46)</c:f>
              <c:numCache>
                <c:formatCode>#,##0</c:formatCode>
                <c:ptCount val="8"/>
                <c:pt idx="0">
                  <c:v>899187.70100000012</c:v>
                </c:pt>
                <c:pt idx="1">
                  <c:v>3323142.8759999997</c:v>
                </c:pt>
                <c:pt idx="2">
                  <c:v>1382417.1109999998</c:v>
                </c:pt>
                <c:pt idx="3">
                  <c:v>1799816.713</c:v>
                </c:pt>
                <c:pt idx="4">
                  <c:v>33794.495999999999</c:v>
                </c:pt>
                <c:pt idx="5">
                  <c:v>62915.663000000008</c:v>
                </c:pt>
                <c:pt idx="6">
                  <c:v>211775.70225100001</c:v>
                </c:pt>
                <c:pt idx="7">
                  <c:v>25709.5930000000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5548299669063093"/>
          <c:y val="5.3902500794008656E-2"/>
          <c:w val="0.33727062649777478"/>
          <c:h val="0.9417388398694837"/>
        </c:manualLayout>
      </c:layout>
      <c:overlay val="0"/>
      <c:txPr>
        <a:bodyPr/>
        <a:lstStyle/>
        <a:p>
          <a:pPr>
            <a:defRPr sz="1800"/>
          </a:pPr>
          <a:endParaRPr lang="hu-HU"/>
        </a:p>
      </c:txPr>
    </c:legend>
    <c:plotVisOnly val="1"/>
    <c:dispBlanksAs val="gap"/>
    <c:showDLblsOverMax val="0"/>
  </c:chart>
  <c:spPr>
    <a:ln w="12700">
      <a:solidFill>
        <a:schemeClr val="tx2">
          <a:lumMod val="75000"/>
        </a:schemeClr>
      </a:solidFill>
    </a:ln>
    <a:effectLst>
      <a:softEdge rad="25400"/>
    </a:effectLst>
  </c:spPr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Magyar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00" baseline="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A$2:$A$3</c:f>
              <c:strCache>
                <c:ptCount val="2"/>
                <c:pt idx="0">
                  <c:v>Bevételek</c:v>
                </c:pt>
                <c:pt idx="1">
                  <c:v>Kiadások</c:v>
                </c:pt>
              </c:strCache>
            </c:strRef>
          </c:cat>
          <c:val>
            <c:numRef>
              <c:f>Munka1!$B$2:$B$3</c:f>
              <c:numCache>
                <c:formatCode>General</c:formatCode>
                <c:ptCount val="2"/>
                <c:pt idx="0">
                  <c:v>47.6</c:v>
                </c:pt>
                <c:pt idx="1">
                  <c:v>50.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OECD-átla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00" baseline="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A$2:$A$3</c:f>
              <c:strCache>
                <c:ptCount val="2"/>
                <c:pt idx="0">
                  <c:v>Bevételek</c:v>
                </c:pt>
                <c:pt idx="1">
                  <c:v>Kiadások</c:v>
                </c:pt>
              </c:strCache>
            </c:strRef>
          </c:cat>
          <c:val>
            <c:numRef>
              <c:f>Munka1!$C$2:$C$3</c:f>
              <c:numCache>
                <c:formatCode>General</c:formatCode>
                <c:ptCount val="2"/>
                <c:pt idx="0">
                  <c:v>42.4</c:v>
                </c:pt>
                <c:pt idx="1">
                  <c:v>45.3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Csehország</c:v>
                </c:pt>
              </c:strCache>
            </c:strRef>
          </c:tx>
          <c:invertIfNegative val="0"/>
          <c:cat>
            <c:strRef>
              <c:f>Munka1!$A$2:$A$3</c:f>
              <c:strCache>
                <c:ptCount val="2"/>
                <c:pt idx="0">
                  <c:v>Bevételek</c:v>
                </c:pt>
                <c:pt idx="1">
                  <c:v>Kiadások</c:v>
                </c:pt>
              </c:strCache>
            </c:strRef>
          </c:cat>
          <c:val>
            <c:numRef>
              <c:f>Munka1!$D$2:$D$3</c:f>
              <c:numCache>
                <c:formatCode>General</c:formatCode>
                <c:ptCount val="2"/>
                <c:pt idx="0">
                  <c:v>40.1</c:v>
                </c:pt>
                <c:pt idx="1">
                  <c:v>42.1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Lengyelország</c:v>
                </c:pt>
              </c:strCache>
            </c:strRef>
          </c:tx>
          <c:invertIfNegative val="0"/>
          <c:cat>
            <c:strRef>
              <c:f>Munka1!$A$2:$A$3</c:f>
              <c:strCache>
                <c:ptCount val="2"/>
                <c:pt idx="0">
                  <c:v>Bevételek</c:v>
                </c:pt>
                <c:pt idx="1">
                  <c:v>Kiadások</c:v>
                </c:pt>
              </c:strCache>
            </c:strRef>
          </c:cat>
          <c:val>
            <c:numRef>
              <c:f>Munka1!$E$2:$E$3</c:f>
              <c:numCache>
                <c:formatCode>General</c:formatCode>
                <c:ptCount val="2"/>
                <c:pt idx="0">
                  <c:v>38.700000000000003</c:v>
                </c:pt>
                <c:pt idx="1">
                  <c:v>41.9</c:v>
                </c:pt>
              </c:numCache>
            </c:numRef>
          </c:val>
        </c:ser>
        <c:ser>
          <c:idx val="4"/>
          <c:order val="4"/>
          <c:tx>
            <c:strRef>
              <c:f>Munka1!$F$1</c:f>
              <c:strCache>
                <c:ptCount val="1"/>
                <c:pt idx="0">
                  <c:v>Szlovákia</c:v>
                </c:pt>
              </c:strCache>
            </c:strRef>
          </c:tx>
          <c:invertIfNegative val="0"/>
          <c:cat>
            <c:strRef>
              <c:f>Munka1!$A$2:$A$3</c:f>
              <c:strCache>
                <c:ptCount val="2"/>
                <c:pt idx="0">
                  <c:v>Bevételek</c:v>
                </c:pt>
                <c:pt idx="1">
                  <c:v>Kiadások</c:v>
                </c:pt>
              </c:strCache>
            </c:strRef>
          </c:cat>
          <c:val>
            <c:numRef>
              <c:f>Munka1!$F$2:$F$3</c:f>
              <c:numCache>
                <c:formatCode>General</c:formatCode>
                <c:ptCount val="2"/>
                <c:pt idx="0">
                  <c:v>38.9</c:v>
                </c:pt>
                <c:pt idx="1">
                  <c:v>41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50"/>
        <c:axId val="609789264"/>
        <c:axId val="609790896"/>
      </c:barChart>
      <c:catAx>
        <c:axId val="6097892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609790896"/>
        <c:crosses val="autoZero"/>
        <c:auto val="1"/>
        <c:lblAlgn val="ctr"/>
        <c:lblOffset val="100"/>
        <c:noMultiLvlLbl val="0"/>
      </c:catAx>
      <c:valAx>
        <c:axId val="609790896"/>
        <c:scaling>
          <c:orientation val="minMax"/>
          <c:max val="55"/>
          <c:min val="35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09789264"/>
        <c:crosses val="autoZero"/>
        <c:crossBetween val="between"/>
        <c:majorUnit val="5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26499365857039E-2"/>
          <c:y val="3.5237156188994874E-2"/>
          <c:w val="0.70345474019607312"/>
          <c:h val="0.807304512461578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Magyarorszá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aseline="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A$2:$A$5</c:f>
              <c:strCache>
                <c:ptCount val="4"/>
                <c:pt idx="0">
                  <c:v>Általános  közszolgáltatások</c:v>
                </c:pt>
                <c:pt idx="1">
                  <c:v>Gazdaság- fejlesztés</c:v>
                </c:pt>
                <c:pt idx="2">
                  <c:v>Oktatás</c:v>
                </c:pt>
                <c:pt idx="3">
                  <c:v>Egészségügy</c:v>
                </c:pt>
              </c:strCache>
            </c:strRef>
          </c:cat>
          <c:val>
            <c:numRef>
              <c:f>Munka1!$B$2:$B$5</c:f>
              <c:numCache>
                <c:formatCode>General</c:formatCode>
                <c:ptCount val="4"/>
                <c:pt idx="0">
                  <c:v>20.9</c:v>
                </c:pt>
                <c:pt idx="1">
                  <c:v>13.7</c:v>
                </c:pt>
                <c:pt idx="2">
                  <c:v>9.5</c:v>
                </c:pt>
                <c:pt idx="3">
                  <c:v>10.4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OECD-átlag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aseline="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A$2:$A$5</c:f>
              <c:strCache>
                <c:ptCount val="4"/>
                <c:pt idx="0">
                  <c:v>Általános  közszolgáltatások</c:v>
                </c:pt>
                <c:pt idx="1">
                  <c:v>Gazdaság- fejlesztés</c:v>
                </c:pt>
                <c:pt idx="2">
                  <c:v>Oktatás</c:v>
                </c:pt>
                <c:pt idx="3">
                  <c:v>Egészségügy</c:v>
                </c:pt>
              </c:strCache>
            </c:strRef>
          </c:cat>
          <c:val>
            <c:numRef>
              <c:f>Munka1!$C$2:$C$5</c:f>
              <c:numCache>
                <c:formatCode>General</c:formatCode>
                <c:ptCount val="4"/>
                <c:pt idx="0">
                  <c:v>14</c:v>
                </c:pt>
                <c:pt idx="1">
                  <c:v>10.8</c:v>
                </c:pt>
                <c:pt idx="2">
                  <c:v>12.1</c:v>
                </c:pt>
                <c:pt idx="3">
                  <c:v>14.5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Csehország</c:v>
                </c:pt>
              </c:strCache>
            </c:strRef>
          </c:tx>
          <c:invertIfNegative val="0"/>
          <c:cat>
            <c:strRef>
              <c:f>Munka1!$A$2:$A$5</c:f>
              <c:strCache>
                <c:ptCount val="4"/>
                <c:pt idx="0">
                  <c:v>Általános  közszolgáltatások</c:v>
                </c:pt>
                <c:pt idx="1">
                  <c:v>Gazdaság- fejlesztés</c:v>
                </c:pt>
                <c:pt idx="2">
                  <c:v>Oktatás</c:v>
                </c:pt>
                <c:pt idx="3">
                  <c:v>Egészségügy</c:v>
                </c:pt>
              </c:strCache>
            </c:strRef>
          </c:cat>
          <c:val>
            <c:numRef>
              <c:f>Munka1!$D$2:$D$5</c:f>
              <c:numCache>
                <c:formatCode>General</c:formatCode>
                <c:ptCount val="4"/>
                <c:pt idx="0">
                  <c:v>11.1</c:v>
                </c:pt>
                <c:pt idx="1">
                  <c:v>14.3</c:v>
                </c:pt>
                <c:pt idx="2">
                  <c:v>12.3</c:v>
                </c:pt>
                <c:pt idx="3">
                  <c:v>17.399999999999999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Lengyelország</c:v>
                </c:pt>
              </c:strCache>
            </c:strRef>
          </c:tx>
          <c:invertIfNegative val="0"/>
          <c:cat>
            <c:strRef>
              <c:f>Munka1!$A$2:$A$5</c:f>
              <c:strCache>
                <c:ptCount val="4"/>
                <c:pt idx="0">
                  <c:v>Általános  közszolgáltatások</c:v>
                </c:pt>
                <c:pt idx="1">
                  <c:v>Gazdaság- fejlesztés</c:v>
                </c:pt>
                <c:pt idx="2">
                  <c:v>Oktatás</c:v>
                </c:pt>
                <c:pt idx="3">
                  <c:v>Egészségügy</c:v>
                </c:pt>
              </c:strCache>
            </c:strRef>
          </c:cat>
          <c:val>
            <c:numRef>
              <c:f>Munka1!$E$2:$E$5</c:f>
              <c:numCache>
                <c:formatCode>General</c:formatCode>
                <c:ptCount val="4"/>
                <c:pt idx="0">
                  <c:v>13.5</c:v>
                </c:pt>
                <c:pt idx="1">
                  <c:v>9.6</c:v>
                </c:pt>
                <c:pt idx="2">
                  <c:v>12.5</c:v>
                </c:pt>
                <c:pt idx="3">
                  <c:v>10.9</c:v>
                </c:pt>
              </c:numCache>
            </c:numRef>
          </c:val>
        </c:ser>
        <c:ser>
          <c:idx val="4"/>
          <c:order val="4"/>
          <c:tx>
            <c:strRef>
              <c:f>Munka1!$F$1</c:f>
              <c:strCache>
                <c:ptCount val="1"/>
                <c:pt idx="0">
                  <c:v>Szlovákia</c:v>
                </c:pt>
              </c:strCache>
            </c:strRef>
          </c:tx>
          <c:invertIfNegative val="0"/>
          <c:cat>
            <c:strRef>
              <c:f>Munka1!$A$2:$A$5</c:f>
              <c:strCache>
                <c:ptCount val="4"/>
                <c:pt idx="0">
                  <c:v>Általános  közszolgáltatások</c:v>
                </c:pt>
                <c:pt idx="1">
                  <c:v>Gazdaság- fejlesztés</c:v>
                </c:pt>
                <c:pt idx="2">
                  <c:v>Oktatás</c:v>
                </c:pt>
                <c:pt idx="3">
                  <c:v>Egészségügy</c:v>
                </c:pt>
              </c:strCache>
            </c:strRef>
          </c:cat>
          <c:val>
            <c:numRef>
              <c:f>Munka1!$F$2:$F$5</c:f>
              <c:numCache>
                <c:formatCode>General</c:formatCode>
                <c:ptCount val="4"/>
                <c:pt idx="0">
                  <c:v>13.4</c:v>
                </c:pt>
                <c:pt idx="1">
                  <c:v>7.9</c:v>
                </c:pt>
                <c:pt idx="2">
                  <c:v>12.2</c:v>
                </c:pt>
                <c:pt idx="3">
                  <c:v>18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22"/>
        <c:axId val="609789808"/>
        <c:axId val="609788176"/>
      </c:barChart>
      <c:catAx>
        <c:axId val="609789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hu-HU"/>
          </a:p>
        </c:txPr>
        <c:crossAx val="609788176"/>
        <c:crosses val="autoZero"/>
        <c:auto val="1"/>
        <c:lblAlgn val="ctr"/>
        <c:lblOffset val="100"/>
        <c:noMultiLvlLbl val="0"/>
      </c:catAx>
      <c:valAx>
        <c:axId val="609788176"/>
        <c:scaling>
          <c:orientation val="minMax"/>
          <c:max val="22"/>
          <c:min val="6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09789808"/>
        <c:crosses val="autoZero"/>
        <c:crossBetween val="between"/>
        <c:majorUnit val="2"/>
      </c:valAx>
    </c:plotArea>
    <c:legend>
      <c:legendPos val="r"/>
      <c:overlay val="0"/>
      <c:txPr>
        <a:bodyPr/>
        <a:lstStyle/>
        <a:p>
          <a:pPr>
            <a:defRPr sz="1600" baseline="0"/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8283919959973859E-2"/>
          <c:y val="3.5961283159298411E-2"/>
          <c:w val="0.90309591254464705"/>
          <c:h val="0.70368780184132329"/>
        </c:manualLayout>
      </c:layout>
      <c:areaChart>
        <c:grouping val="standard"/>
        <c:varyColors val="0"/>
        <c:ser>
          <c:idx val="2"/>
          <c:order val="0"/>
          <c:tx>
            <c:strRef>
              <c:f>gdp!$A$13</c:f>
              <c:strCache>
                <c:ptCount val="1"/>
                <c:pt idx="0">
                  <c:v>CEE max (ex Hun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c:spPr>
          <c:cat>
            <c:numRef>
              <c:f>gdp!$B$5:$BR$5</c:f>
              <c:numCache>
                <c:formatCode>m/d/yyyy</c:formatCode>
                <c:ptCount val="44"/>
                <c:pt idx="0">
                  <c:v>38807</c:v>
                </c:pt>
                <c:pt idx="1">
                  <c:v>38898</c:v>
                </c:pt>
                <c:pt idx="2">
                  <c:v>38990</c:v>
                </c:pt>
                <c:pt idx="3">
                  <c:v>39082</c:v>
                </c:pt>
                <c:pt idx="4">
                  <c:v>39172</c:v>
                </c:pt>
                <c:pt idx="5">
                  <c:v>39263</c:v>
                </c:pt>
                <c:pt idx="6">
                  <c:v>39355</c:v>
                </c:pt>
                <c:pt idx="7">
                  <c:v>39447</c:v>
                </c:pt>
                <c:pt idx="8">
                  <c:v>39538</c:v>
                </c:pt>
                <c:pt idx="9">
                  <c:v>39629</c:v>
                </c:pt>
                <c:pt idx="10">
                  <c:v>39721</c:v>
                </c:pt>
                <c:pt idx="11">
                  <c:v>39813</c:v>
                </c:pt>
                <c:pt idx="12">
                  <c:v>39903</c:v>
                </c:pt>
                <c:pt idx="13">
                  <c:v>39994</c:v>
                </c:pt>
                <c:pt idx="14">
                  <c:v>40086</c:v>
                </c:pt>
                <c:pt idx="15">
                  <c:v>40178</c:v>
                </c:pt>
                <c:pt idx="16">
                  <c:v>40268</c:v>
                </c:pt>
                <c:pt idx="17">
                  <c:v>40359</c:v>
                </c:pt>
                <c:pt idx="18">
                  <c:v>40451</c:v>
                </c:pt>
                <c:pt idx="19">
                  <c:v>40543</c:v>
                </c:pt>
                <c:pt idx="20">
                  <c:v>40633</c:v>
                </c:pt>
                <c:pt idx="21">
                  <c:v>40724</c:v>
                </c:pt>
                <c:pt idx="22">
                  <c:v>40816</c:v>
                </c:pt>
                <c:pt idx="23">
                  <c:v>40908</c:v>
                </c:pt>
                <c:pt idx="24">
                  <c:v>40999</c:v>
                </c:pt>
                <c:pt idx="25">
                  <c:v>41090</c:v>
                </c:pt>
                <c:pt idx="26">
                  <c:v>41182</c:v>
                </c:pt>
                <c:pt idx="27">
                  <c:v>41274</c:v>
                </c:pt>
                <c:pt idx="28">
                  <c:v>41364</c:v>
                </c:pt>
                <c:pt idx="29">
                  <c:v>41455</c:v>
                </c:pt>
                <c:pt idx="30">
                  <c:v>41547</c:v>
                </c:pt>
                <c:pt idx="31">
                  <c:v>41639</c:v>
                </c:pt>
                <c:pt idx="32">
                  <c:v>41729</c:v>
                </c:pt>
                <c:pt idx="33">
                  <c:v>41820</c:v>
                </c:pt>
                <c:pt idx="34">
                  <c:v>41912</c:v>
                </c:pt>
                <c:pt idx="35">
                  <c:v>42004</c:v>
                </c:pt>
                <c:pt idx="36">
                  <c:v>42094</c:v>
                </c:pt>
                <c:pt idx="37">
                  <c:v>42185</c:v>
                </c:pt>
                <c:pt idx="38">
                  <c:v>42277</c:v>
                </c:pt>
                <c:pt idx="39">
                  <c:v>42369</c:v>
                </c:pt>
                <c:pt idx="40">
                  <c:v>42460</c:v>
                </c:pt>
                <c:pt idx="41">
                  <c:v>42551</c:v>
                </c:pt>
                <c:pt idx="42">
                  <c:v>42643</c:v>
                </c:pt>
                <c:pt idx="43">
                  <c:v>42735</c:v>
                </c:pt>
              </c:numCache>
            </c:numRef>
          </c:cat>
          <c:val>
            <c:numRef>
              <c:f>gdp!$B$13:$BR$13</c:f>
              <c:numCache>
                <c:formatCode>#,##0.0</c:formatCode>
                <c:ptCount val="44"/>
                <c:pt idx="0">
                  <c:v>7.782418619925302</c:v>
                </c:pt>
                <c:pt idx="1">
                  <c:v>8.1667899071138361</c:v>
                </c:pt>
                <c:pt idx="2">
                  <c:v>8.2662882157170436</c:v>
                </c:pt>
                <c:pt idx="3">
                  <c:v>9.5336015496945379</c:v>
                </c:pt>
                <c:pt idx="4">
                  <c:v>9.3019642874481825</c:v>
                </c:pt>
                <c:pt idx="5">
                  <c:v>9.5381897951625216</c:v>
                </c:pt>
                <c:pt idx="6">
                  <c:v>10.03504716453525</c:v>
                </c:pt>
                <c:pt idx="7">
                  <c:v>13.691026827012021</c:v>
                </c:pt>
                <c:pt idx="8">
                  <c:v>9.6014774927126734</c:v>
                </c:pt>
                <c:pt idx="9">
                  <c:v>10.711841805133959</c:v>
                </c:pt>
                <c:pt idx="10">
                  <c:v>10.30280633871703</c:v>
                </c:pt>
                <c:pt idx="11">
                  <c:v>4.4614293793417747</c:v>
                </c:pt>
                <c:pt idx="12">
                  <c:v>2.3226624317396638</c:v>
                </c:pt>
                <c:pt idx="13">
                  <c:v>1.9217317980121829</c:v>
                </c:pt>
                <c:pt idx="14">
                  <c:v>1.8864138621045967</c:v>
                </c:pt>
                <c:pt idx="15">
                  <c:v>3.7647263340448101</c:v>
                </c:pt>
                <c:pt idx="16">
                  <c:v>5.736466420048969</c:v>
                </c:pt>
                <c:pt idx="17">
                  <c:v>5.2515286984224918</c:v>
                </c:pt>
                <c:pt idx="18">
                  <c:v>4.676738690074278</c:v>
                </c:pt>
                <c:pt idx="19">
                  <c:v>3.8364885240408597</c:v>
                </c:pt>
                <c:pt idx="20">
                  <c:v>4.7047265726886334</c:v>
                </c:pt>
                <c:pt idx="21">
                  <c:v>5.0386572304986554</c:v>
                </c:pt>
                <c:pt idx="22">
                  <c:v>4.5408339221154392</c:v>
                </c:pt>
                <c:pt idx="23">
                  <c:v>4.977924266404421</c:v>
                </c:pt>
                <c:pt idx="24">
                  <c:v>3.8053051464498111</c:v>
                </c:pt>
                <c:pt idx="25">
                  <c:v>2.2881561816720852</c:v>
                </c:pt>
                <c:pt idx="26">
                  <c:v>1.5222510099777153</c:v>
                </c:pt>
                <c:pt idx="27">
                  <c:v>0.74410007307743609</c:v>
                </c:pt>
                <c:pt idx="28">
                  <c:v>2.0039434514220966</c:v>
                </c:pt>
                <c:pt idx="29">
                  <c:v>1.6785175063471547</c:v>
                </c:pt>
                <c:pt idx="30">
                  <c:v>4.0359990594069917</c:v>
                </c:pt>
                <c:pt idx="31">
                  <c:v>5.0435012651422362</c:v>
                </c:pt>
                <c:pt idx="32">
                  <c:v>4.0129539788423818</c:v>
                </c:pt>
                <c:pt idx="33">
                  <c:v>3.3231475787069087</c:v>
                </c:pt>
                <c:pt idx="34">
                  <c:v>3.2762186960971551</c:v>
                </c:pt>
                <c:pt idx="35">
                  <c:v>3.1731487499304434</c:v>
                </c:pt>
                <c:pt idx="36">
                  <c:v>3.1798615624478321</c:v>
                </c:pt>
                <c:pt idx="37">
                  <c:v>3.1865743749652218</c:v>
                </c:pt>
                <c:pt idx="38">
                  <c:v>3.1932871874826114</c:v>
                </c:pt>
                <c:pt idx="39">
                  <c:v>3.2</c:v>
                </c:pt>
                <c:pt idx="40">
                  <c:v>3.2500000000000004</c:v>
                </c:pt>
                <c:pt idx="41">
                  <c:v>3.3</c:v>
                </c:pt>
                <c:pt idx="42">
                  <c:v>3.3499999999999996</c:v>
                </c:pt>
                <c:pt idx="43">
                  <c:v>3.4</c:v>
                </c:pt>
              </c:numCache>
            </c:numRef>
          </c:val>
        </c:ser>
        <c:ser>
          <c:idx val="1"/>
          <c:order val="1"/>
          <c:tx>
            <c:strRef>
              <c:f>gdp!$A$12</c:f>
              <c:strCache>
                <c:ptCount val="1"/>
                <c:pt idx="0">
                  <c:v>CEE min (ex Hun)</c:v>
                </c:pt>
              </c:strCache>
            </c:strRef>
          </c:tx>
          <c:spPr>
            <a:solidFill>
              <a:schemeClr val="bg1"/>
            </a:solidFill>
            <a:ln>
              <a:noFill/>
              <a:prstDash val="dashDot"/>
            </a:ln>
          </c:spPr>
          <c:cat>
            <c:numRef>
              <c:f>gdp!$B$5:$BR$5</c:f>
              <c:numCache>
                <c:formatCode>m/d/yyyy</c:formatCode>
                <c:ptCount val="44"/>
                <c:pt idx="0">
                  <c:v>38807</c:v>
                </c:pt>
                <c:pt idx="1">
                  <c:v>38898</c:v>
                </c:pt>
                <c:pt idx="2">
                  <c:v>38990</c:v>
                </c:pt>
                <c:pt idx="3">
                  <c:v>39082</c:v>
                </c:pt>
                <c:pt idx="4">
                  <c:v>39172</c:v>
                </c:pt>
                <c:pt idx="5">
                  <c:v>39263</c:v>
                </c:pt>
                <c:pt idx="6">
                  <c:v>39355</c:v>
                </c:pt>
                <c:pt idx="7">
                  <c:v>39447</c:v>
                </c:pt>
                <c:pt idx="8">
                  <c:v>39538</c:v>
                </c:pt>
                <c:pt idx="9">
                  <c:v>39629</c:v>
                </c:pt>
                <c:pt idx="10">
                  <c:v>39721</c:v>
                </c:pt>
                <c:pt idx="11">
                  <c:v>39813</c:v>
                </c:pt>
                <c:pt idx="12">
                  <c:v>39903</c:v>
                </c:pt>
                <c:pt idx="13">
                  <c:v>39994</c:v>
                </c:pt>
                <c:pt idx="14">
                  <c:v>40086</c:v>
                </c:pt>
                <c:pt idx="15">
                  <c:v>40178</c:v>
                </c:pt>
                <c:pt idx="16">
                  <c:v>40268</c:v>
                </c:pt>
                <c:pt idx="17">
                  <c:v>40359</c:v>
                </c:pt>
                <c:pt idx="18">
                  <c:v>40451</c:v>
                </c:pt>
                <c:pt idx="19">
                  <c:v>40543</c:v>
                </c:pt>
                <c:pt idx="20">
                  <c:v>40633</c:v>
                </c:pt>
                <c:pt idx="21">
                  <c:v>40724</c:v>
                </c:pt>
                <c:pt idx="22">
                  <c:v>40816</c:v>
                </c:pt>
                <c:pt idx="23">
                  <c:v>40908</c:v>
                </c:pt>
                <c:pt idx="24">
                  <c:v>40999</c:v>
                </c:pt>
                <c:pt idx="25">
                  <c:v>41090</c:v>
                </c:pt>
                <c:pt idx="26">
                  <c:v>41182</c:v>
                </c:pt>
                <c:pt idx="27">
                  <c:v>41274</c:v>
                </c:pt>
                <c:pt idx="28">
                  <c:v>41364</c:v>
                </c:pt>
                <c:pt idx="29">
                  <c:v>41455</c:v>
                </c:pt>
                <c:pt idx="30">
                  <c:v>41547</c:v>
                </c:pt>
                <c:pt idx="31">
                  <c:v>41639</c:v>
                </c:pt>
                <c:pt idx="32">
                  <c:v>41729</c:v>
                </c:pt>
                <c:pt idx="33">
                  <c:v>41820</c:v>
                </c:pt>
                <c:pt idx="34">
                  <c:v>41912</c:v>
                </c:pt>
                <c:pt idx="35">
                  <c:v>42004</c:v>
                </c:pt>
                <c:pt idx="36">
                  <c:v>42094</c:v>
                </c:pt>
                <c:pt idx="37">
                  <c:v>42185</c:v>
                </c:pt>
                <c:pt idx="38">
                  <c:v>42277</c:v>
                </c:pt>
                <c:pt idx="39">
                  <c:v>42369</c:v>
                </c:pt>
                <c:pt idx="40">
                  <c:v>42460</c:v>
                </c:pt>
                <c:pt idx="41">
                  <c:v>42551</c:v>
                </c:pt>
                <c:pt idx="42">
                  <c:v>42643</c:v>
                </c:pt>
                <c:pt idx="43">
                  <c:v>42735</c:v>
                </c:pt>
              </c:numCache>
            </c:numRef>
          </c:cat>
          <c:val>
            <c:numRef>
              <c:f>gdp!$B$12:$BR$12</c:f>
              <c:numCache>
                <c:formatCode>#,##0.0</c:formatCode>
                <c:ptCount val="44"/>
                <c:pt idx="0">
                  <c:v>5.0350319423542622</c:v>
                </c:pt>
                <c:pt idx="1">
                  <c:v>6.0202268689353522</c:v>
                </c:pt>
                <c:pt idx="2">
                  <c:v>6.3922176336478564</c:v>
                </c:pt>
                <c:pt idx="3">
                  <c:v>7.038331111729268</c:v>
                </c:pt>
                <c:pt idx="4">
                  <c:v>6.2186714052350434</c:v>
                </c:pt>
                <c:pt idx="5">
                  <c:v>5.2557042781226526</c:v>
                </c:pt>
                <c:pt idx="6">
                  <c:v>5.3524157310997245</c:v>
                </c:pt>
                <c:pt idx="7">
                  <c:v>5.2522589731666347</c:v>
                </c:pt>
                <c:pt idx="8">
                  <c:v>3.9442269124247975</c:v>
                </c:pt>
                <c:pt idx="9">
                  <c:v>3.9260381696341051</c:v>
                </c:pt>
                <c:pt idx="10">
                  <c:v>2.6177184035976797</c:v>
                </c:pt>
                <c:pt idx="11">
                  <c:v>-0.24442261910437857</c:v>
                </c:pt>
                <c:pt idx="12">
                  <c:v>-5.700016241676142</c:v>
                </c:pt>
                <c:pt idx="13">
                  <c:v>-8.2589780975625189</c:v>
                </c:pt>
                <c:pt idx="14">
                  <c:v>-8.1154690536156977</c:v>
                </c:pt>
                <c:pt idx="15">
                  <c:v>-7.7034701195775046</c:v>
                </c:pt>
                <c:pt idx="16">
                  <c:v>-1.5587140239938568</c:v>
                </c:pt>
                <c:pt idx="17">
                  <c:v>-0.23882840200909472</c:v>
                </c:pt>
                <c:pt idx="18">
                  <c:v>-1.5802816538908582</c:v>
                </c:pt>
                <c:pt idx="19">
                  <c:v>-0.31407170300002951</c:v>
                </c:pt>
                <c:pt idx="20">
                  <c:v>0.90078328981724187</c:v>
                </c:pt>
                <c:pt idx="21">
                  <c:v>0.43810661748791002</c:v>
                </c:pt>
                <c:pt idx="22">
                  <c:v>1.3989804289230134</c:v>
                </c:pt>
                <c:pt idx="23">
                  <c:v>0.40094777320769381</c:v>
                </c:pt>
                <c:pt idx="24">
                  <c:v>0.19940084035490191</c:v>
                </c:pt>
                <c:pt idx="25">
                  <c:v>-0.57544716377671001</c:v>
                </c:pt>
                <c:pt idx="26">
                  <c:v>-1.0958904109588996</c:v>
                </c:pt>
                <c:pt idx="27">
                  <c:v>-1.4464946528062739</c:v>
                </c:pt>
                <c:pt idx="28">
                  <c:v>-2.1667558204697124</c:v>
                </c:pt>
                <c:pt idx="29">
                  <c:v>-1.3062469622163619</c:v>
                </c:pt>
                <c:pt idx="30">
                  <c:v>-0.45889543739676686</c:v>
                </c:pt>
                <c:pt idx="31">
                  <c:v>1.1206498542283505</c:v>
                </c:pt>
                <c:pt idx="32">
                  <c:v>1.549564543667592</c:v>
                </c:pt>
                <c:pt idx="33">
                  <c:v>1.7574037441587143</c:v>
                </c:pt>
                <c:pt idx="34">
                  <c:v>1.5249458936097637</c:v>
                </c:pt>
                <c:pt idx="35">
                  <c:v>1.2661809436231186</c:v>
                </c:pt>
                <c:pt idx="36">
                  <c:v>1.3727324081059922</c:v>
                </c:pt>
                <c:pt idx="37">
                  <c:v>1.4792838725888657</c:v>
                </c:pt>
                <c:pt idx="38">
                  <c:v>1.5858353370717393</c:v>
                </c:pt>
                <c:pt idx="39">
                  <c:v>1.6923868015546129</c:v>
                </c:pt>
                <c:pt idx="40">
                  <c:v>1.768247470359019</c:v>
                </c:pt>
                <c:pt idx="41">
                  <c:v>1.8441081391634251</c:v>
                </c:pt>
                <c:pt idx="42">
                  <c:v>1.9199688079678312</c:v>
                </c:pt>
                <c:pt idx="43">
                  <c:v>1.99582947677223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2571232"/>
        <c:axId val="292565792"/>
      </c:areaChart>
      <c:lineChart>
        <c:grouping val="standard"/>
        <c:varyColors val="0"/>
        <c:ser>
          <c:idx val="4"/>
          <c:order val="3"/>
          <c:tx>
            <c:v>KKE átlag</c:v>
          </c:tx>
          <c:spPr>
            <a:ln w="76200">
              <a:solidFill>
                <a:srgbClr val="70AD47">
                  <a:lumMod val="60000"/>
                  <a:lumOff val="40000"/>
                </a:srgbClr>
              </a:solidFill>
            </a:ln>
          </c:spPr>
          <c:marker>
            <c:symbol val="none"/>
          </c:marker>
          <c:val>
            <c:numRef>
              <c:f>gdp!$B$11:$BR$11</c:f>
              <c:numCache>
                <c:formatCode>#,##0.0</c:formatCode>
                <c:ptCount val="44"/>
                <c:pt idx="0">
                  <c:v>6.5295849351323954</c:v>
                </c:pt>
                <c:pt idx="1">
                  <c:v>7.0704573282852845</c:v>
                </c:pt>
                <c:pt idx="2">
                  <c:v>7.369729042284777</c:v>
                </c:pt>
                <c:pt idx="3">
                  <c:v>7.7365859805513448</c:v>
                </c:pt>
                <c:pt idx="4">
                  <c:v>7.4589655839832982</c:v>
                </c:pt>
                <c:pt idx="5">
                  <c:v>7.3025083133159043</c:v>
                </c:pt>
                <c:pt idx="6">
                  <c:v>6.9665229915154727</c:v>
                </c:pt>
                <c:pt idx="7">
                  <c:v>8.1278351297056197</c:v>
                </c:pt>
                <c:pt idx="8">
                  <c:v>6.8795011475376935</c:v>
                </c:pt>
                <c:pt idx="9">
                  <c:v>6.4847578220459354</c:v>
                </c:pt>
                <c:pt idx="10">
                  <c:v>5.7299338251668352</c:v>
                </c:pt>
                <c:pt idx="11">
                  <c:v>2.095415970189145</c:v>
                </c:pt>
                <c:pt idx="12">
                  <c:v>-3.2883953536529149</c:v>
                </c:pt>
                <c:pt idx="13">
                  <c:v>-4.3814807101759028</c:v>
                </c:pt>
                <c:pt idx="14">
                  <c:v>-4.3491217562281168</c:v>
                </c:pt>
                <c:pt idx="15">
                  <c:v>-3.6903010658248192</c:v>
                </c:pt>
                <c:pt idx="16">
                  <c:v>1.3063145057885839</c:v>
                </c:pt>
                <c:pt idx="17">
                  <c:v>2.2574601692922491</c:v>
                </c:pt>
                <c:pt idx="18">
                  <c:v>2.1262886821059723</c:v>
                </c:pt>
                <c:pt idx="19">
                  <c:v>2.7376414564219571</c:v>
                </c:pt>
                <c:pt idx="20">
                  <c:v>3.0088393870240182</c:v>
                </c:pt>
                <c:pt idx="21">
                  <c:v>2.5669414126720818</c:v>
                </c:pt>
                <c:pt idx="22">
                  <c:v>2.5070136406430081</c:v>
                </c:pt>
                <c:pt idx="23">
                  <c:v>2.0627562043040593</c:v>
                </c:pt>
                <c:pt idx="24">
                  <c:v>1.5126272430353627</c:v>
                </c:pt>
                <c:pt idx="25">
                  <c:v>1.2369648364958641</c:v>
                </c:pt>
                <c:pt idx="26">
                  <c:v>0.35283029940112787</c:v>
                </c:pt>
                <c:pt idx="27">
                  <c:v>2.7690903789139298E-2</c:v>
                </c:pt>
                <c:pt idx="28">
                  <c:v>0.30612764480860699</c:v>
                </c:pt>
                <c:pt idx="29">
                  <c:v>0.60911702803355228</c:v>
                </c:pt>
                <c:pt idx="30">
                  <c:v>1.6399594889442604</c:v>
                </c:pt>
                <c:pt idx="31">
                  <c:v>2.5949069736969044</c:v>
                </c:pt>
                <c:pt idx="32">
                  <c:v>2.7188949661718365</c:v>
                </c:pt>
                <c:pt idx="33">
                  <c:v>2.3200817476994162</c:v>
                </c:pt>
                <c:pt idx="34">
                  <c:v>2.5339614903287044</c:v>
                </c:pt>
                <c:pt idx="35">
                  <c:v>2.1789209279651005</c:v>
                </c:pt>
                <c:pt idx="36">
                  <c:v>2.2827847354614299</c:v>
                </c:pt>
                <c:pt idx="37">
                  <c:v>2.3866485429577593</c:v>
                </c:pt>
                <c:pt idx="38">
                  <c:v>2.4905123504540887</c:v>
                </c:pt>
                <c:pt idx="39">
                  <c:v>2.5943761579504185</c:v>
                </c:pt>
                <c:pt idx="40">
                  <c:v>2.6472715519392684</c:v>
                </c:pt>
                <c:pt idx="41">
                  <c:v>2.7001669459281192</c:v>
                </c:pt>
                <c:pt idx="42">
                  <c:v>2.7530623399169696</c:v>
                </c:pt>
                <c:pt idx="43">
                  <c:v>2.80595773390581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2571232"/>
        <c:axId val="292565792"/>
      </c:lineChart>
      <c:lineChart>
        <c:grouping val="standard"/>
        <c:varyColors val="0"/>
        <c:ser>
          <c:idx val="3"/>
          <c:order val="2"/>
          <c:tx>
            <c:v>Magyarország</c:v>
          </c:tx>
          <c:spPr>
            <a:ln w="88900">
              <a:solidFill>
                <a:srgbClr val="FF0000"/>
              </a:solidFill>
            </a:ln>
          </c:spPr>
          <c:marker>
            <c:symbol val="none"/>
          </c:marker>
          <c:val>
            <c:numRef>
              <c:f>gdp!$B$14:$BR$14</c:f>
              <c:numCache>
                <c:formatCode>#,##0.0</c:formatCode>
                <c:ptCount val="44"/>
                <c:pt idx="0">
                  <c:v>4.7750200450277003</c:v>
                </c:pt>
                <c:pt idx="1">
                  <c:v>3.8640343469719785</c:v>
                </c:pt>
                <c:pt idx="2">
                  <c:v>3.8413292933932697</c:v>
                </c:pt>
                <c:pt idx="3">
                  <c:v>3.5736277365568725</c:v>
                </c:pt>
                <c:pt idx="4">
                  <c:v>1.7929561510458658</c:v>
                </c:pt>
                <c:pt idx="5">
                  <c:v>0.35217294558649304</c:v>
                </c:pt>
                <c:pt idx="6">
                  <c:v>1.1484328145550116E-2</c:v>
                </c:pt>
                <c:pt idx="7">
                  <c:v>-4.3007851041043654E-2</c:v>
                </c:pt>
                <c:pt idx="8">
                  <c:v>1.7966284546871547</c:v>
                </c:pt>
                <c:pt idx="9">
                  <c:v>2.331194166684436</c:v>
                </c:pt>
                <c:pt idx="10">
                  <c:v>1.2631310338961477</c:v>
                </c:pt>
                <c:pt idx="11">
                  <c:v>-2.3744642796881932</c:v>
                </c:pt>
                <c:pt idx="12">
                  <c:v>-6.5936220902821034</c:v>
                </c:pt>
                <c:pt idx="13">
                  <c:v>-7.5380653549016134</c:v>
                </c:pt>
                <c:pt idx="14">
                  <c:v>-7.3326333473330401</c:v>
                </c:pt>
                <c:pt idx="15">
                  <c:v>-4.3321018860587142</c:v>
                </c:pt>
                <c:pt idx="16">
                  <c:v>-0.63474904854645686</c:v>
                </c:pt>
                <c:pt idx="17">
                  <c:v>0.68817262452003369</c:v>
                </c:pt>
                <c:pt idx="18">
                  <c:v>1.529634111520517</c:v>
                </c:pt>
                <c:pt idx="19">
                  <c:v>1.53200637733788</c:v>
                </c:pt>
                <c:pt idx="20">
                  <c:v>2.4378840802528279</c:v>
                </c:pt>
                <c:pt idx="21">
                  <c:v>1.6614522489134753</c:v>
                </c:pt>
                <c:pt idx="22">
                  <c:v>1.504356831654885</c:v>
                </c:pt>
                <c:pt idx="23">
                  <c:v>1.6378930698706773</c:v>
                </c:pt>
                <c:pt idx="24">
                  <c:v>-0.9966208803264931</c:v>
                </c:pt>
                <c:pt idx="25">
                  <c:v>-1.3507623353923637</c:v>
                </c:pt>
                <c:pt idx="26">
                  <c:v>-1.4306069854784553</c:v>
                </c:pt>
                <c:pt idx="27">
                  <c:v>-2.3323398239693871</c:v>
                </c:pt>
                <c:pt idx="28">
                  <c:v>-0.21365342931485287</c:v>
                </c:pt>
                <c:pt idx="29">
                  <c:v>1.1112945912533423</c:v>
                </c:pt>
                <c:pt idx="30">
                  <c:v>2.1790633240085233</c:v>
                </c:pt>
                <c:pt idx="31">
                  <c:v>3.4568056140602321</c:v>
                </c:pt>
                <c:pt idx="32">
                  <c:v>3.6656494178582744</c:v>
                </c:pt>
                <c:pt idx="33">
                  <c:v>4.0352588577507342</c:v>
                </c:pt>
                <c:pt idx="34">
                  <c:v>3.3783518254103528</c:v>
                </c:pt>
                <c:pt idx="35">
                  <c:v>3.366425836408693</c:v>
                </c:pt>
                <c:pt idx="36">
                  <c:v>3.1748193773065196</c:v>
                </c:pt>
                <c:pt idx="37">
                  <c:v>2.9832129182043463</c:v>
                </c:pt>
                <c:pt idx="38">
                  <c:v>2.7916064591021734</c:v>
                </c:pt>
                <c:pt idx="39">
                  <c:v>2.6</c:v>
                </c:pt>
                <c:pt idx="40">
                  <c:v>2.4750000000000001</c:v>
                </c:pt>
                <c:pt idx="41">
                  <c:v>2.35</c:v>
                </c:pt>
                <c:pt idx="42">
                  <c:v>2.2250000000000001</c:v>
                </c:pt>
                <c:pt idx="43">
                  <c:v>2.1</c:v>
                </c:pt>
              </c:numCache>
            </c:numRef>
          </c:val>
          <c:smooth val="0"/>
        </c:ser>
        <c:ser>
          <c:idx val="0"/>
          <c:order val="4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5:$BR$15</c:f>
              <c:numCache>
                <c:formatCode>General</c:formatCode>
                <c:ptCount val="4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2</c:v>
                </c:pt>
                <c:pt idx="31">
                  <c:v>12</c:v>
                </c:pt>
                <c:pt idx="32">
                  <c:v>12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2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</c:numCache>
            </c:numRef>
          </c:val>
          <c:smooth val="0"/>
        </c:ser>
        <c:ser>
          <c:idx val="5"/>
          <c:order val="5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6:$BR$16</c:f>
              <c:numCache>
                <c:formatCode>General</c:formatCode>
                <c:ptCount val="44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9</c:v>
                </c:pt>
                <c:pt idx="39">
                  <c:v>9</c:v>
                </c:pt>
                <c:pt idx="40">
                  <c:v>9</c:v>
                </c:pt>
                <c:pt idx="41">
                  <c:v>9</c:v>
                </c:pt>
                <c:pt idx="42">
                  <c:v>9</c:v>
                </c:pt>
                <c:pt idx="43">
                  <c:v>9</c:v>
                </c:pt>
              </c:numCache>
            </c:numRef>
          </c:val>
          <c:smooth val="0"/>
        </c:ser>
        <c:ser>
          <c:idx val="6"/>
          <c:order val="6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7:$BR$17</c:f>
              <c:numCache>
                <c:formatCode>General</c:formatCode>
                <c:ptCount val="4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</c:numCache>
            </c:numRef>
          </c:val>
          <c:smooth val="0"/>
        </c:ser>
        <c:ser>
          <c:idx val="7"/>
          <c:order val="7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8:$BR$18</c:f>
              <c:numCache>
                <c:formatCode>General</c:formatCode>
                <c:ptCount val="4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</c:numCache>
            </c:numRef>
          </c:val>
          <c:smooth val="0"/>
        </c:ser>
        <c:ser>
          <c:idx val="8"/>
          <c:order val="8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9:$BR$19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smooth val="0"/>
        </c:ser>
        <c:ser>
          <c:idx val="9"/>
          <c:order val="9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20:$BR$20</c:f>
              <c:numCache>
                <c:formatCode>General</c:formatCode>
                <c:ptCount val="44"/>
                <c:pt idx="0">
                  <c:v>-3</c:v>
                </c:pt>
                <c:pt idx="1">
                  <c:v>-3</c:v>
                </c:pt>
                <c:pt idx="2">
                  <c:v>-3</c:v>
                </c:pt>
                <c:pt idx="3">
                  <c:v>-3</c:v>
                </c:pt>
                <c:pt idx="4">
                  <c:v>-3</c:v>
                </c:pt>
                <c:pt idx="5">
                  <c:v>-3</c:v>
                </c:pt>
                <c:pt idx="6">
                  <c:v>-3</c:v>
                </c:pt>
                <c:pt idx="7">
                  <c:v>-3</c:v>
                </c:pt>
                <c:pt idx="8">
                  <c:v>-3</c:v>
                </c:pt>
                <c:pt idx="9">
                  <c:v>-3</c:v>
                </c:pt>
                <c:pt idx="10">
                  <c:v>-3</c:v>
                </c:pt>
                <c:pt idx="11">
                  <c:v>-3</c:v>
                </c:pt>
                <c:pt idx="12">
                  <c:v>-3</c:v>
                </c:pt>
                <c:pt idx="13">
                  <c:v>-3</c:v>
                </c:pt>
                <c:pt idx="14">
                  <c:v>-3</c:v>
                </c:pt>
                <c:pt idx="15">
                  <c:v>-3</c:v>
                </c:pt>
                <c:pt idx="16">
                  <c:v>-3</c:v>
                </c:pt>
                <c:pt idx="17">
                  <c:v>-3</c:v>
                </c:pt>
                <c:pt idx="18">
                  <c:v>-3</c:v>
                </c:pt>
                <c:pt idx="19">
                  <c:v>-3</c:v>
                </c:pt>
                <c:pt idx="20">
                  <c:v>-3</c:v>
                </c:pt>
                <c:pt idx="21">
                  <c:v>-3</c:v>
                </c:pt>
                <c:pt idx="22">
                  <c:v>-3</c:v>
                </c:pt>
                <c:pt idx="23">
                  <c:v>-3</c:v>
                </c:pt>
                <c:pt idx="24">
                  <c:v>-3</c:v>
                </c:pt>
                <c:pt idx="25">
                  <c:v>-3</c:v>
                </c:pt>
                <c:pt idx="26">
                  <c:v>-3</c:v>
                </c:pt>
                <c:pt idx="27">
                  <c:v>-3</c:v>
                </c:pt>
                <c:pt idx="28">
                  <c:v>-3</c:v>
                </c:pt>
                <c:pt idx="29">
                  <c:v>-3</c:v>
                </c:pt>
                <c:pt idx="30">
                  <c:v>-3</c:v>
                </c:pt>
                <c:pt idx="31">
                  <c:v>-3</c:v>
                </c:pt>
                <c:pt idx="32">
                  <c:v>-3</c:v>
                </c:pt>
                <c:pt idx="33">
                  <c:v>-3</c:v>
                </c:pt>
                <c:pt idx="34">
                  <c:v>-3</c:v>
                </c:pt>
                <c:pt idx="35">
                  <c:v>-3</c:v>
                </c:pt>
                <c:pt idx="36">
                  <c:v>-3</c:v>
                </c:pt>
                <c:pt idx="37">
                  <c:v>-3</c:v>
                </c:pt>
                <c:pt idx="38">
                  <c:v>-3</c:v>
                </c:pt>
                <c:pt idx="39">
                  <c:v>-3</c:v>
                </c:pt>
                <c:pt idx="40">
                  <c:v>-3</c:v>
                </c:pt>
                <c:pt idx="41">
                  <c:v>-3</c:v>
                </c:pt>
                <c:pt idx="42">
                  <c:v>-3</c:v>
                </c:pt>
                <c:pt idx="43">
                  <c:v>-3</c:v>
                </c:pt>
              </c:numCache>
            </c:numRef>
          </c:val>
          <c:smooth val="0"/>
        </c:ser>
        <c:ser>
          <c:idx val="10"/>
          <c:order val="10"/>
          <c:spPr>
            <a:ln w="12700">
              <a:prstDash val="sysDash"/>
            </a:ln>
          </c:spPr>
          <c:marker>
            <c:symbol val="none"/>
          </c:marker>
          <c:val>
            <c:numRef>
              <c:f>gdp!$B$21:$BR$21</c:f>
              <c:numCache>
                <c:formatCode>General</c:formatCode>
                <c:ptCount val="44"/>
                <c:pt idx="0">
                  <c:v>-6</c:v>
                </c:pt>
                <c:pt idx="1">
                  <c:v>-6</c:v>
                </c:pt>
                <c:pt idx="2">
                  <c:v>-6</c:v>
                </c:pt>
                <c:pt idx="3">
                  <c:v>-6</c:v>
                </c:pt>
                <c:pt idx="4">
                  <c:v>-6</c:v>
                </c:pt>
                <c:pt idx="5">
                  <c:v>-6</c:v>
                </c:pt>
                <c:pt idx="6">
                  <c:v>-6</c:v>
                </c:pt>
                <c:pt idx="7">
                  <c:v>-6</c:v>
                </c:pt>
                <c:pt idx="8">
                  <c:v>-6</c:v>
                </c:pt>
                <c:pt idx="9">
                  <c:v>-6</c:v>
                </c:pt>
                <c:pt idx="10">
                  <c:v>-6</c:v>
                </c:pt>
                <c:pt idx="11">
                  <c:v>-6</c:v>
                </c:pt>
                <c:pt idx="12">
                  <c:v>-6</c:v>
                </c:pt>
                <c:pt idx="13">
                  <c:v>-6</c:v>
                </c:pt>
                <c:pt idx="14">
                  <c:v>-6</c:v>
                </c:pt>
                <c:pt idx="15">
                  <c:v>-6</c:v>
                </c:pt>
                <c:pt idx="16">
                  <c:v>-6</c:v>
                </c:pt>
                <c:pt idx="17">
                  <c:v>-6</c:v>
                </c:pt>
                <c:pt idx="18">
                  <c:v>-6</c:v>
                </c:pt>
                <c:pt idx="19">
                  <c:v>-6</c:v>
                </c:pt>
                <c:pt idx="20">
                  <c:v>-6</c:v>
                </c:pt>
                <c:pt idx="21">
                  <c:v>-6</c:v>
                </c:pt>
                <c:pt idx="22">
                  <c:v>-6</c:v>
                </c:pt>
                <c:pt idx="23">
                  <c:v>-6</c:v>
                </c:pt>
                <c:pt idx="24">
                  <c:v>-6</c:v>
                </c:pt>
                <c:pt idx="25">
                  <c:v>-6</c:v>
                </c:pt>
                <c:pt idx="26">
                  <c:v>-6</c:v>
                </c:pt>
                <c:pt idx="27">
                  <c:v>-6</c:v>
                </c:pt>
                <c:pt idx="28">
                  <c:v>-6</c:v>
                </c:pt>
                <c:pt idx="29">
                  <c:v>-6</c:v>
                </c:pt>
                <c:pt idx="30">
                  <c:v>-6</c:v>
                </c:pt>
                <c:pt idx="31">
                  <c:v>-6</c:v>
                </c:pt>
                <c:pt idx="32">
                  <c:v>-6</c:v>
                </c:pt>
                <c:pt idx="33">
                  <c:v>-6</c:v>
                </c:pt>
                <c:pt idx="34">
                  <c:v>-6</c:v>
                </c:pt>
                <c:pt idx="35">
                  <c:v>-6</c:v>
                </c:pt>
                <c:pt idx="36">
                  <c:v>-6</c:v>
                </c:pt>
                <c:pt idx="37">
                  <c:v>-6</c:v>
                </c:pt>
                <c:pt idx="38">
                  <c:v>-6</c:v>
                </c:pt>
                <c:pt idx="39">
                  <c:v>-6</c:v>
                </c:pt>
                <c:pt idx="40">
                  <c:v>-6</c:v>
                </c:pt>
                <c:pt idx="41">
                  <c:v>-6</c:v>
                </c:pt>
                <c:pt idx="42">
                  <c:v>-6</c:v>
                </c:pt>
                <c:pt idx="43">
                  <c:v>-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2571776"/>
        <c:axId val="292567424"/>
      </c:lineChart>
      <c:dateAx>
        <c:axId val="292571232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txPr>
          <a:bodyPr rot="-540000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292565792"/>
        <c:crossesAt val="-30"/>
        <c:auto val="1"/>
        <c:lblOffset val="100"/>
        <c:baseTimeUnit val="months"/>
        <c:majorUnit val="12"/>
        <c:majorTimeUnit val="months"/>
        <c:minorUnit val="9"/>
        <c:minorTimeUnit val="days"/>
      </c:dateAx>
      <c:valAx>
        <c:axId val="292565792"/>
        <c:scaling>
          <c:orientation val="minMax"/>
          <c:max val="12"/>
          <c:min val="-9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292571232"/>
        <c:crosses val="autoZero"/>
        <c:crossBetween val="midCat"/>
        <c:majorUnit val="3"/>
      </c:valAx>
      <c:catAx>
        <c:axId val="292571776"/>
        <c:scaling>
          <c:orientation val="minMax"/>
        </c:scaling>
        <c:delete val="1"/>
        <c:axPos val="b"/>
        <c:majorTickMark val="out"/>
        <c:minorTickMark val="none"/>
        <c:tickLblPos val="nextTo"/>
        <c:crossAx val="292567424"/>
        <c:crosses val="autoZero"/>
        <c:auto val="1"/>
        <c:lblAlgn val="ctr"/>
        <c:lblOffset val="100"/>
        <c:noMultiLvlLbl val="0"/>
      </c:catAx>
      <c:valAx>
        <c:axId val="292567424"/>
        <c:scaling>
          <c:orientation val="minMax"/>
          <c:max val="12"/>
          <c:min val="-9"/>
        </c:scaling>
        <c:delete val="0"/>
        <c:axPos val="r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292571776"/>
        <c:crosses val="max"/>
        <c:crossBetween val="midCat"/>
        <c:majorUnit val="3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egendEntry>
        <c:idx val="3"/>
        <c:txPr>
          <a:bodyPr/>
          <a:lstStyle/>
          <a:p>
            <a:pPr>
              <a:defRPr sz="2205" b="1" i="0" u="none" strike="noStrike" baseline="0">
                <a:solidFill>
                  <a:srgbClr val="FF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50952407236701369"/>
          <c:y val="6.290679142290935E-2"/>
          <c:w val="0.23491492527267843"/>
          <c:h val="0.13958589214602446"/>
        </c:manualLayout>
      </c:layout>
      <c:overlay val="0"/>
      <c:txPr>
        <a:bodyPr/>
        <a:lstStyle/>
        <a:p>
          <a:pPr>
            <a:defRPr sz="2205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2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hu-HU"/>
    </a:p>
  </c:txPr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Munka1!$B$1</c:f>
              <c:strCache>
                <c:ptCount val="1"/>
                <c:pt idx="0">
                  <c:v>Magyarország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3445240091168321E-3"/>
                  <c:y val="0.100288421112251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A$2</c:f>
              <c:strCache>
                <c:ptCount val="1"/>
                <c:pt idx="0">
                  <c:v>Állami alkalmazottak aránya (%)</c:v>
                </c:pt>
              </c:strCache>
            </c:strRef>
          </c:cat>
          <c:val>
            <c:numRef>
              <c:f>Munka1!$B$2</c:f>
              <c:numCache>
                <c:formatCode>General</c:formatCode>
                <c:ptCount val="1"/>
                <c:pt idx="0">
                  <c:v>20.10000000000000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OECD-átlag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3445240091168321E-3"/>
                  <c:y val="0.103746642529914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A$2</c:f>
              <c:strCache>
                <c:ptCount val="1"/>
                <c:pt idx="0">
                  <c:v>Állami alkalmazottak aránya (%)</c:v>
                </c:pt>
              </c:strCache>
            </c:strRef>
          </c:cat>
          <c:val>
            <c:numRef>
              <c:f>Munka1!$C$2</c:f>
              <c:numCache>
                <c:formatCode>General</c:formatCode>
                <c:ptCount val="1"/>
                <c:pt idx="0">
                  <c:v>15.5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Csehország</c:v>
                </c:pt>
              </c:strCache>
            </c:strRef>
          </c:tx>
          <c:invertIfNegative val="0"/>
          <c:cat>
            <c:strRef>
              <c:f>Munka1!$A$2</c:f>
              <c:strCache>
                <c:ptCount val="1"/>
                <c:pt idx="0">
                  <c:v>Állami alkalmazottak aránya (%)</c:v>
                </c:pt>
              </c:strCache>
            </c:strRef>
          </c:cat>
          <c:val>
            <c:numRef>
              <c:f>Munka1!$D$2</c:f>
              <c:numCache>
                <c:formatCode>General</c:formatCode>
                <c:ptCount val="1"/>
                <c:pt idx="0">
                  <c:v>12.9</c:v>
                </c:pt>
              </c:numCache>
            </c:numRef>
          </c:val>
        </c:ser>
        <c:ser>
          <c:idx val="3"/>
          <c:order val="3"/>
          <c:tx>
            <c:strRef>
              <c:f>Munka1!$E$1</c:f>
              <c:strCache>
                <c:ptCount val="1"/>
                <c:pt idx="0">
                  <c:v>Lengyelország</c:v>
                </c:pt>
              </c:strCache>
            </c:strRef>
          </c:tx>
          <c:invertIfNegative val="0"/>
          <c:cat>
            <c:strRef>
              <c:f>Munka1!$A$2</c:f>
              <c:strCache>
                <c:ptCount val="1"/>
                <c:pt idx="0">
                  <c:v>Állami alkalmazottak aránya (%)</c:v>
                </c:pt>
              </c:strCache>
            </c:strRef>
          </c:cat>
          <c:val>
            <c:numRef>
              <c:f>Munka1!$E$2</c:f>
              <c:numCache>
                <c:formatCode>General</c:formatCode>
                <c:ptCount val="1"/>
                <c:pt idx="0">
                  <c:v>9.6999999999999993</c:v>
                </c:pt>
              </c:numCache>
            </c:numRef>
          </c:val>
        </c:ser>
        <c:ser>
          <c:idx val="4"/>
          <c:order val="4"/>
          <c:tx>
            <c:strRef>
              <c:f>Munka1!$F$1</c:f>
              <c:strCache>
                <c:ptCount val="1"/>
                <c:pt idx="0">
                  <c:v>Szlovákia</c:v>
                </c:pt>
              </c:strCache>
            </c:strRef>
          </c:tx>
          <c:invertIfNegative val="0"/>
          <c:cat>
            <c:strRef>
              <c:f>Munka1!$A$2</c:f>
              <c:strCache>
                <c:ptCount val="1"/>
                <c:pt idx="0">
                  <c:v>Állami alkalmazottak aránya (%)</c:v>
                </c:pt>
              </c:strCache>
            </c:strRef>
          </c:cat>
          <c:val>
            <c:numRef>
              <c:f>Munka1!$F$2</c:f>
              <c:numCache>
                <c:formatCode>General</c:formatCode>
                <c:ptCount val="1"/>
                <c:pt idx="0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0"/>
        <c:overlap val="-50"/>
        <c:axId val="609800144"/>
        <c:axId val="609792528"/>
      </c:barChart>
      <c:catAx>
        <c:axId val="6098001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609792528"/>
        <c:crosses val="autoZero"/>
        <c:auto val="1"/>
        <c:lblAlgn val="ctr"/>
        <c:lblOffset val="100"/>
        <c:noMultiLvlLbl val="0"/>
      </c:catAx>
      <c:valAx>
        <c:axId val="609792528"/>
        <c:scaling>
          <c:orientation val="minMax"/>
          <c:max val="22"/>
          <c:min val="6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09800144"/>
        <c:crosses val="autoZero"/>
        <c:crossBetween val="between"/>
        <c:majorUnit val="2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Munka1!$A$3</c:f>
              <c:strCache>
                <c:ptCount val="1"/>
                <c:pt idx="0">
                  <c:v>Átlag RO-BG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Munka1!$B$2:$Q$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1!$B$3:$Q$3</c:f>
              <c:numCache>
                <c:formatCode>General</c:formatCode>
                <c:ptCount val="16"/>
                <c:pt idx="4">
                  <c:v>45</c:v>
                </c:pt>
                <c:pt idx="5">
                  <c:v>46</c:v>
                </c:pt>
                <c:pt idx="6">
                  <c:v>45</c:v>
                </c:pt>
                <c:pt idx="7">
                  <c:v>42.5</c:v>
                </c:pt>
                <c:pt idx="8">
                  <c:v>43.5</c:v>
                </c:pt>
                <c:pt idx="9">
                  <c:v>46</c:v>
                </c:pt>
                <c:pt idx="10">
                  <c:v>53.5</c:v>
                </c:pt>
                <c:pt idx="11">
                  <c:v>52.5</c:v>
                </c:pt>
                <c:pt idx="12">
                  <c:v>53.5</c:v>
                </c:pt>
                <c:pt idx="13">
                  <c:v>56</c:v>
                </c:pt>
                <c:pt idx="14">
                  <c:v>51.5</c:v>
                </c:pt>
                <c:pt idx="15">
                  <c:v>5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Munka1!$A$4</c:f>
              <c:strCache>
                <c:ptCount val="1"/>
                <c:pt idx="0">
                  <c:v>Átlag CZ-SK-PL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Munka1!$B$2:$Q$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1!$B$4:$Q$4</c:f>
              <c:numCache>
                <c:formatCode>General</c:formatCode>
                <c:ptCount val="16"/>
                <c:pt idx="0">
                  <c:v>39</c:v>
                </c:pt>
                <c:pt idx="1">
                  <c:v>41</c:v>
                </c:pt>
                <c:pt idx="2">
                  <c:v>38</c:v>
                </c:pt>
                <c:pt idx="3">
                  <c:v>45</c:v>
                </c:pt>
                <c:pt idx="4">
                  <c:v>39</c:v>
                </c:pt>
                <c:pt idx="5">
                  <c:v>37</c:v>
                </c:pt>
                <c:pt idx="6">
                  <c:v>37</c:v>
                </c:pt>
                <c:pt idx="7">
                  <c:v>39</c:v>
                </c:pt>
                <c:pt idx="8">
                  <c:v>34</c:v>
                </c:pt>
                <c:pt idx="9">
                  <c:v>35.299999999999997</c:v>
                </c:pt>
                <c:pt idx="10">
                  <c:v>36.6</c:v>
                </c:pt>
                <c:pt idx="11">
                  <c:v>37.299999999999997</c:v>
                </c:pt>
                <c:pt idx="12">
                  <c:v>38</c:v>
                </c:pt>
                <c:pt idx="13" formatCode="0.0">
                  <c:v>38.333333333333336</c:v>
                </c:pt>
                <c:pt idx="14">
                  <c:v>38</c:v>
                </c:pt>
                <c:pt idx="15">
                  <c:v>3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1!$A$5</c:f>
              <c:strCache>
                <c:ptCount val="1"/>
                <c:pt idx="0">
                  <c:v>Átlag PT-ES-GR-SI</c:v>
                </c:pt>
              </c:strCache>
            </c:strRef>
          </c:tx>
          <c:spPr>
            <a:ln w="38100" cap="rnd">
              <a:solidFill>
                <a:srgbClr val="FF33CC"/>
              </a:solidFill>
              <a:round/>
            </a:ln>
            <a:effectLst/>
          </c:spPr>
          <c:marker>
            <c:symbol val="none"/>
          </c:marker>
          <c:cat>
            <c:numRef>
              <c:f>Munka1!$B$2:$Q$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1!$B$5:$Q$5</c:f>
              <c:numCache>
                <c:formatCode>General</c:formatCode>
                <c:ptCount val="16"/>
                <c:pt idx="0">
                  <c:v>31</c:v>
                </c:pt>
                <c:pt idx="1">
                  <c:v>31.5</c:v>
                </c:pt>
                <c:pt idx="2">
                  <c:v>32</c:v>
                </c:pt>
                <c:pt idx="3">
                  <c:v>36</c:v>
                </c:pt>
                <c:pt idx="4">
                  <c:v>34</c:v>
                </c:pt>
                <c:pt idx="5">
                  <c:v>37.5</c:v>
                </c:pt>
                <c:pt idx="6">
                  <c:v>36</c:v>
                </c:pt>
                <c:pt idx="7">
                  <c:v>36.5</c:v>
                </c:pt>
                <c:pt idx="8">
                  <c:v>36</c:v>
                </c:pt>
                <c:pt idx="9">
                  <c:v>39.200000000000003</c:v>
                </c:pt>
                <c:pt idx="10">
                  <c:v>42.7</c:v>
                </c:pt>
                <c:pt idx="11">
                  <c:v>45.5</c:v>
                </c:pt>
                <c:pt idx="12">
                  <c:v>47.2</c:v>
                </c:pt>
                <c:pt idx="13">
                  <c:v>49.25</c:v>
                </c:pt>
                <c:pt idx="14">
                  <c:v>48.5</c:v>
                </c:pt>
                <c:pt idx="15">
                  <c:v>4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1!$A$6</c:f>
              <c:strCache>
                <c:ptCount val="1"/>
                <c:pt idx="0">
                  <c:v>HU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Munka1!$B$2:$Q$2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1!$B$6:$Q$6</c:f>
              <c:numCache>
                <c:formatCode>General</c:formatCode>
                <c:ptCount val="16"/>
                <c:pt idx="0">
                  <c:v>26</c:v>
                </c:pt>
                <c:pt idx="1">
                  <c:v>30</c:v>
                </c:pt>
                <c:pt idx="2">
                  <c:v>30</c:v>
                </c:pt>
                <c:pt idx="3">
                  <c:v>34</c:v>
                </c:pt>
                <c:pt idx="4">
                  <c:v>35</c:v>
                </c:pt>
                <c:pt idx="5">
                  <c:v>31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5</c:v>
                </c:pt>
                <c:pt idx="10">
                  <c:v>42</c:v>
                </c:pt>
                <c:pt idx="11">
                  <c:v>47</c:v>
                </c:pt>
                <c:pt idx="12">
                  <c:v>45</c:v>
                </c:pt>
                <c:pt idx="13">
                  <c:v>50</c:v>
                </c:pt>
                <c:pt idx="14">
                  <c:v>48</c:v>
                </c:pt>
                <c:pt idx="15">
                  <c:v>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9796880"/>
        <c:axId val="609799056"/>
      </c:lineChart>
      <c:catAx>
        <c:axId val="60979688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9799056"/>
        <c:crosses val="autoZero"/>
        <c:auto val="1"/>
        <c:lblAlgn val="ctr"/>
        <c:lblOffset val="100"/>
        <c:noMultiLvlLbl val="0"/>
      </c:catAx>
      <c:valAx>
        <c:axId val="609799056"/>
        <c:scaling>
          <c:orientation val="maxMin"/>
          <c:min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9796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088633776409485E-2"/>
          <c:y val="7.6093518230095802E-2"/>
          <c:w val="0.91502016672098041"/>
          <c:h val="0.81982223605664484"/>
        </c:manualLayout>
      </c:layout>
      <c:lineChart>
        <c:grouping val="standard"/>
        <c:varyColors val="0"/>
        <c:ser>
          <c:idx val="0"/>
          <c:order val="0"/>
          <c:tx>
            <c:strRef>
              <c:f>Munka2!$A$4</c:f>
              <c:strCache>
                <c:ptCount val="1"/>
                <c:pt idx="0">
                  <c:v>Átlag RO-BG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Munka2!$B$3:$Q$3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2!$B$4:$Q$4</c:f>
              <c:numCache>
                <c:formatCode>General</c:formatCode>
                <c:ptCount val="16"/>
                <c:pt idx="4">
                  <c:v>44</c:v>
                </c:pt>
                <c:pt idx="5">
                  <c:v>46</c:v>
                </c:pt>
                <c:pt idx="6">
                  <c:v>41</c:v>
                </c:pt>
                <c:pt idx="7">
                  <c:v>41</c:v>
                </c:pt>
                <c:pt idx="8">
                  <c:v>38.200000000000003</c:v>
                </c:pt>
                <c:pt idx="9">
                  <c:v>38.200000000000003</c:v>
                </c:pt>
                <c:pt idx="10">
                  <c:v>41</c:v>
                </c:pt>
                <c:pt idx="11">
                  <c:v>45</c:v>
                </c:pt>
                <c:pt idx="12">
                  <c:v>48</c:v>
                </c:pt>
                <c:pt idx="13">
                  <c:v>48</c:v>
                </c:pt>
                <c:pt idx="14">
                  <c:v>47.5</c:v>
                </c:pt>
                <c:pt idx="15">
                  <c:v>47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Munka2!$A$5</c:f>
              <c:strCache>
                <c:ptCount val="1"/>
                <c:pt idx="0">
                  <c:v>Átlag CZ-SK-PL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Munka2!$B$3:$Q$3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2!$B$5:$Q$5</c:f>
              <c:numCache>
                <c:formatCode>General</c:formatCode>
                <c:ptCount val="16"/>
                <c:pt idx="0">
                  <c:v>39.5</c:v>
                </c:pt>
                <c:pt idx="1">
                  <c:v>40.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34</c:v>
                </c:pt>
                <c:pt idx="6">
                  <c:v>34</c:v>
                </c:pt>
                <c:pt idx="7">
                  <c:v>43</c:v>
                </c:pt>
                <c:pt idx="8">
                  <c:v>37.799999999999997</c:v>
                </c:pt>
                <c:pt idx="9">
                  <c:v>36.299999999999997</c:v>
                </c:pt>
                <c:pt idx="10">
                  <c:v>36.6</c:v>
                </c:pt>
                <c:pt idx="11">
                  <c:v>35</c:v>
                </c:pt>
                <c:pt idx="12">
                  <c:v>36.299999999999997</c:v>
                </c:pt>
                <c:pt idx="13">
                  <c:v>37</c:v>
                </c:pt>
                <c:pt idx="14" formatCode="0.0">
                  <c:v>37.666666666666664</c:v>
                </c:pt>
                <c:pt idx="15">
                  <c:v>3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2!$A$6</c:f>
              <c:strCache>
                <c:ptCount val="1"/>
                <c:pt idx="0">
                  <c:v>Átlag PT-ES-GR-SI</c:v>
                </c:pt>
              </c:strCache>
            </c:strRef>
          </c:tx>
          <c:spPr>
            <a:ln w="38100" cap="rnd">
              <a:solidFill>
                <a:srgbClr val="FF33CC"/>
              </a:solidFill>
              <a:round/>
            </a:ln>
            <a:effectLst/>
          </c:spPr>
          <c:marker>
            <c:symbol val="none"/>
          </c:marker>
          <c:cat>
            <c:numRef>
              <c:f>Munka2!$B$3:$Q$3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2!$B$6:$Q$6</c:f>
              <c:numCache>
                <c:formatCode>General</c:formatCode>
                <c:ptCount val="16"/>
                <c:pt idx="0">
                  <c:v>30</c:v>
                </c:pt>
                <c:pt idx="1">
                  <c:v>32.5</c:v>
                </c:pt>
                <c:pt idx="2">
                  <c:v>33</c:v>
                </c:pt>
                <c:pt idx="3">
                  <c:v>35</c:v>
                </c:pt>
                <c:pt idx="4">
                  <c:v>33</c:v>
                </c:pt>
                <c:pt idx="5">
                  <c:v>36</c:v>
                </c:pt>
                <c:pt idx="6">
                  <c:v>37</c:v>
                </c:pt>
                <c:pt idx="7">
                  <c:v>31</c:v>
                </c:pt>
                <c:pt idx="8">
                  <c:v>37.5</c:v>
                </c:pt>
                <c:pt idx="9">
                  <c:v>40.700000000000003</c:v>
                </c:pt>
                <c:pt idx="10">
                  <c:v>49</c:v>
                </c:pt>
                <c:pt idx="11">
                  <c:v>48.7</c:v>
                </c:pt>
                <c:pt idx="12">
                  <c:v>49.2</c:v>
                </c:pt>
                <c:pt idx="13">
                  <c:v>52.5</c:v>
                </c:pt>
                <c:pt idx="14">
                  <c:v>51.75</c:v>
                </c:pt>
                <c:pt idx="15">
                  <c:v>46.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2!$A$7</c:f>
              <c:strCache>
                <c:ptCount val="1"/>
                <c:pt idx="0">
                  <c:v>HU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Munka2!$B$3:$Q$3</c:f>
              <c:numCache>
                <c:formatCode>General</c:formatCod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numCache>
            </c:numRef>
          </c:cat>
          <c:val>
            <c:numRef>
              <c:f>Munka2!$B$7:$Q$7</c:f>
              <c:numCache>
                <c:formatCode>General</c:formatCode>
                <c:ptCount val="16"/>
                <c:pt idx="0">
                  <c:v>27</c:v>
                </c:pt>
                <c:pt idx="1">
                  <c:v>30</c:v>
                </c:pt>
                <c:pt idx="2">
                  <c:v>26</c:v>
                </c:pt>
                <c:pt idx="3">
                  <c:v>35</c:v>
                </c:pt>
                <c:pt idx="4">
                  <c:v>36</c:v>
                </c:pt>
                <c:pt idx="5">
                  <c:v>31</c:v>
                </c:pt>
                <c:pt idx="6">
                  <c:v>35</c:v>
                </c:pt>
                <c:pt idx="7">
                  <c:v>40</c:v>
                </c:pt>
                <c:pt idx="8">
                  <c:v>47</c:v>
                </c:pt>
                <c:pt idx="9">
                  <c:v>50</c:v>
                </c:pt>
                <c:pt idx="10">
                  <c:v>51</c:v>
                </c:pt>
                <c:pt idx="11">
                  <c:v>52</c:v>
                </c:pt>
                <c:pt idx="12">
                  <c:v>51</c:v>
                </c:pt>
                <c:pt idx="13">
                  <c:v>52</c:v>
                </c:pt>
                <c:pt idx="14">
                  <c:v>53</c:v>
                </c:pt>
                <c:pt idx="15">
                  <c:v>5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9803408"/>
        <c:axId val="609801776"/>
      </c:lineChart>
      <c:catAx>
        <c:axId val="60980340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9801776"/>
        <c:crosses val="autoZero"/>
        <c:auto val="1"/>
        <c:lblAlgn val="ctr"/>
        <c:lblOffset val="100"/>
        <c:noMultiLvlLbl val="0"/>
      </c:catAx>
      <c:valAx>
        <c:axId val="609801776"/>
        <c:scaling>
          <c:orientation val="maxMin"/>
          <c:min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980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  <c:userShapes r:id="rId4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9342089991600419E-2"/>
          <c:y val="4.0251698754471398E-2"/>
          <c:w val="0.90131582001679922"/>
          <c:h val="0.69744923164516515"/>
        </c:manualLayout>
      </c:layout>
      <c:lineChart>
        <c:grouping val="standard"/>
        <c:varyColors val="0"/>
        <c:ser>
          <c:idx val="0"/>
          <c:order val="0"/>
          <c:tx>
            <c:strRef>
              <c:f>Munka1!$C$7</c:f>
              <c:strCache>
                <c:ptCount val="1"/>
                <c:pt idx="0">
                  <c:v>Eddigi kifizetés</c:v>
                </c:pt>
              </c:strCache>
            </c:strRef>
          </c:tx>
          <c:spPr>
            <a:ln w="4445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Munka1!$D$6:$T$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Munka1!$D$7:$T$7</c:f>
              <c:numCache>
                <c:formatCode>0.00%</c:formatCode>
                <c:ptCount val="17"/>
                <c:pt idx="0" formatCode="0%">
                  <c:v>0</c:v>
                </c:pt>
                <c:pt idx="1">
                  <c:v>5.0000000000000001E-3</c:v>
                </c:pt>
                <c:pt idx="2">
                  <c:v>1.95E-2</c:v>
                </c:pt>
                <c:pt idx="3">
                  <c:v>2.8000000000000001E-2</c:v>
                </c:pt>
                <c:pt idx="4">
                  <c:v>3.15E-2</c:v>
                </c:pt>
                <c:pt idx="5">
                  <c:v>0.04</c:v>
                </c:pt>
                <c:pt idx="6">
                  <c:v>5.7000000000000002E-2</c:v>
                </c:pt>
                <c:pt idx="7">
                  <c:v>5.8999999999999997E-2</c:v>
                </c:pt>
                <c:pt idx="8">
                  <c:v>6.7000000000000004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1!$C$9</c:f>
              <c:strCache>
                <c:ptCount val="1"/>
                <c:pt idx="0">
                  <c:v>"Realista" pálya</c:v>
                </c:pt>
              </c:strCache>
            </c:strRef>
          </c:tx>
          <c:spPr>
            <a:ln w="44450">
              <a:solidFill>
                <a:schemeClr val="accent5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9"/>
              <c:layout>
                <c:manualLayout>
                  <c:x val="-6.5511587899442295E-3"/>
                  <c:y val="2.0141609790408313E-2"/>
                </c:manualLayout>
              </c:layout>
              <c:tx>
                <c:rich>
                  <a:bodyPr/>
                  <a:lstStyle/>
                  <a:p>
                    <a:pPr>
                      <a:defRPr sz="2000">
                        <a:solidFill>
                          <a:schemeClr val="accent5">
                            <a:lumMod val="50000"/>
                          </a:schemeClr>
                        </a:solidFill>
                      </a:defRPr>
                    </a:pPr>
                    <a:r>
                      <a:rPr lang="en-US" dirty="0" smtClean="0">
                        <a:solidFill>
                          <a:schemeClr val="accent5">
                            <a:lumMod val="50000"/>
                          </a:schemeClr>
                        </a:solidFill>
                      </a:rPr>
                      <a:t>3,5%</a:t>
                    </a:r>
                    <a:endParaRPr lang="en-US" dirty="0">
                      <a:solidFill>
                        <a:schemeClr val="accent5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Munka1!$D$6:$T$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Munka1!$D$9:$T$9</c:f>
              <c:numCache>
                <c:formatCode>General</c:formatCode>
                <c:ptCount val="17"/>
                <c:pt idx="8" formatCode="0.00%">
                  <c:v>6.7000000000000004E-2</c:v>
                </c:pt>
                <c:pt idx="9" formatCode="0.00%">
                  <c:v>3.5000000000000003E-2</c:v>
                </c:pt>
                <c:pt idx="10" formatCode="0.00%">
                  <c:v>4.0500000000000001E-2</c:v>
                </c:pt>
                <c:pt idx="11" formatCode="0.00%">
                  <c:v>4.1000000000000002E-2</c:v>
                </c:pt>
                <c:pt idx="12" formatCode="0.00%">
                  <c:v>3.2000000000000001E-2</c:v>
                </c:pt>
                <c:pt idx="13" formatCode="0.00%">
                  <c:v>2.1000000000000001E-2</c:v>
                </c:pt>
                <c:pt idx="14" formatCode="0.00%">
                  <c:v>1.4999999999999999E-2</c:v>
                </c:pt>
                <c:pt idx="15" formatCode="0.00%">
                  <c:v>1.0999999999999999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1!$C$10</c:f>
              <c:strCache>
                <c:ptCount val="1"/>
                <c:pt idx="0">
                  <c:v>Ambiciózus kormányzati pálya</c:v>
                </c:pt>
              </c:strCache>
            </c:strRef>
          </c:tx>
          <c:spPr>
            <a:ln w="44450"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9"/>
              <c:layout>
                <c:manualLayout>
                  <c:x val="-6.5511587899442295E-3"/>
                  <c:y val="3.273011590941350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accent3">
                            <a:lumMod val="50000"/>
                          </a:schemeClr>
                        </a:solidFill>
                      </a:rPr>
                      <a:t>4,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>
                    <a:solidFill>
                      <a:schemeClr val="accent3">
                        <a:lumMod val="50000"/>
                      </a:schemeClr>
                    </a:solidFill>
                  </a:defRPr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Munka1!$D$6:$T$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Munka1!$D$10:$T$10</c:f>
              <c:numCache>
                <c:formatCode>General</c:formatCode>
                <c:ptCount val="17"/>
                <c:pt idx="8" formatCode="0.00%">
                  <c:v>6.7000000000000004E-2</c:v>
                </c:pt>
                <c:pt idx="9" formatCode="0.00%">
                  <c:v>4.8500000000000001E-2</c:v>
                </c:pt>
                <c:pt idx="10" formatCode="0.00%">
                  <c:v>4.9500000000000002E-2</c:v>
                </c:pt>
                <c:pt idx="11" formatCode="0%">
                  <c:v>0.05</c:v>
                </c:pt>
                <c:pt idx="12" formatCode="0.00%">
                  <c:v>3.7999999999999999E-2</c:v>
                </c:pt>
                <c:pt idx="13" formatCode="0.00%">
                  <c:v>1.9E-2</c:v>
                </c:pt>
                <c:pt idx="14" formatCode="0%">
                  <c:v>0.01</c:v>
                </c:pt>
                <c:pt idx="15" formatCode="0.00%">
                  <c:v>5.0000000000000001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5513392"/>
        <c:axId val="605506864"/>
      </c:lineChart>
      <c:lineChart>
        <c:grouping val="standard"/>
        <c:varyColors val="0"/>
        <c:ser>
          <c:idx val="1"/>
          <c:order val="1"/>
          <c:tx>
            <c:strRef>
              <c:f>Munka1!$C$11</c:f>
              <c:strCache>
                <c:ptCount val="1"/>
                <c:pt idx="0">
                  <c:v>Alappálya</c:v>
                </c:pt>
              </c:strCache>
            </c:strRef>
          </c:tx>
          <c:spPr>
            <a:ln w="44450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-7.5531036714031165E-3"/>
                </c:manualLayout>
              </c:layout>
              <c:tx>
                <c:rich>
                  <a:bodyPr/>
                  <a:lstStyle/>
                  <a:p>
                    <a:pPr>
                      <a:defRPr sz="2000">
                        <a:solidFill>
                          <a:srgbClr val="FF0000"/>
                        </a:solidFill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6,7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6.5511587899442295E-3"/>
                  <c:y val="4.5318622028418701E-2"/>
                </c:manualLayout>
              </c:layout>
              <c:spPr/>
              <c:txPr>
                <a:bodyPr/>
                <a:lstStyle/>
                <a:p>
                  <a:pPr>
                    <a:defRPr sz="2000">
                      <a:solidFill>
                        <a:schemeClr val="accent2">
                          <a:lumMod val="50000"/>
                        </a:schemeClr>
                      </a:solidFill>
                    </a:defRPr>
                  </a:pPr>
                  <a:endParaRPr lang="hu-H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Munka1!$D$6:$T$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Munka1!$D$11:$T$11</c:f>
              <c:numCache>
                <c:formatCode>General</c:formatCode>
                <c:ptCount val="17"/>
                <c:pt idx="8" formatCode="0.00%">
                  <c:v>6.7000000000000004E-2</c:v>
                </c:pt>
                <c:pt idx="9" formatCode="0.0%">
                  <c:v>2.5000000000000001E-2</c:v>
                </c:pt>
                <c:pt idx="10" formatCode="0.0%">
                  <c:v>2.5000000000000001E-2</c:v>
                </c:pt>
                <c:pt idx="11" formatCode="0%">
                  <c:v>2.6800000000000001E-2</c:v>
                </c:pt>
                <c:pt idx="12" formatCode="0.00%">
                  <c:v>3.2000000000000001E-2</c:v>
                </c:pt>
                <c:pt idx="13" formatCode="0.00%">
                  <c:v>3.6999999999999998E-2</c:v>
                </c:pt>
                <c:pt idx="14" formatCode="0%">
                  <c:v>4.8000000000000001E-2</c:v>
                </c:pt>
                <c:pt idx="15" formatCode="0.00%">
                  <c:v>0.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5506320"/>
        <c:axId val="605512848"/>
      </c:lineChart>
      <c:catAx>
        <c:axId val="605513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800"/>
            </a:pPr>
            <a:endParaRPr lang="hu-HU"/>
          </a:p>
        </c:txPr>
        <c:crossAx val="605506864"/>
        <c:crosses val="autoZero"/>
        <c:auto val="1"/>
        <c:lblAlgn val="ctr"/>
        <c:lblOffset val="100"/>
        <c:noMultiLvlLbl val="0"/>
      </c:catAx>
      <c:valAx>
        <c:axId val="605506864"/>
        <c:scaling>
          <c:orientation val="minMax"/>
          <c:max val="7.0000000000000007E-2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  <a:prstDash val="dash"/>
            </a:ln>
          </c:spPr>
        </c:majorGridlines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hu-HU"/>
          </a:p>
        </c:txPr>
        <c:crossAx val="605513392"/>
        <c:crosses val="autoZero"/>
        <c:crossBetween val="between"/>
      </c:valAx>
      <c:valAx>
        <c:axId val="605512848"/>
        <c:scaling>
          <c:orientation val="minMax"/>
          <c:max val="7.0000000000000007E-2"/>
        </c:scaling>
        <c:delete val="0"/>
        <c:axPos val="r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hu-HU"/>
          </a:p>
        </c:txPr>
        <c:crossAx val="605506320"/>
        <c:crosses val="max"/>
        <c:crossBetween val="between"/>
      </c:valAx>
      <c:catAx>
        <c:axId val="6055063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0551284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5335698783018565"/>
          <c:w val="0.98609502006081839"/>
          <c:h val="0.13072261593518525"/>
        </c:manualLayout>
      </c:layout>
      <c:overlay val="0"/>
      <c:txPr>
        <a:bodyPr/>
        <a:lstStyle/>
        <a:p>
          <a:pPr>
            <a:defRPr sz="1800"/>
          </a:pPr>
          <a:endParaRPr lang="hu-HU"/>
        </a:p>
      </c:txPr>
    </c:legend>
    <c:plotVisOnly val="1"/>
    <c:dispBlanksAs val="gap"/>
    <c:showDLblsOverMax val="0"/>
  </c:chart>
  <c:spPr>
    <a:solidFill>
      <a:sysClr val="window" lastClr="FFFFFF"/>
    </a:solidFill>
    <a:ln>
      <a:noFill/>
    </a:ln>
  </c:sp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84983863296467E-2"/>
          <c:y val="1.6004227973370099E-2"/>
          <c:w val="0.93825742568681036"/>
          <c:h val="0.86310253053747432"/>
        </c:manualLayout>
      </c:layout>
      <c:lineChart>
        <c:grouping val="standard"/>
        <c:varyColors val="0"/>
        <c:ser>
          <c:idx val="0"/>
          <c:order val="0"/>
          <c:spPr>
            <a:ln w="57150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multiLvlStrRef>
              <c:f>'3.2.7_GFO''11'!$A$4:$B$50</c:f>
              <c:multiLvlStrCache>
                <c:ptCount val="47"/>
                <c:lvl>
                  <c:pt idx="0">
                    <c:v>J</c:v>
                  </c:pt>
                  <c:pt idx="1">
                    <c:v>F</c:v>
                  </c:pt>
                  <c:pt idx="2">
                    <c:v>M</c:v>
                  </c:pt>
                  <c:pt idx="3">
                    <c:v>Á</c:v>
                  </c:pt>
                  <c:pt idx="4">
                    <c:v>Mj</c:v>
                  </c:pt>
                  <c:pt idx="5">
                    <c:v>Jú</c:v>
                  </c:pt>
                  <c:pt idx="6">
                    <c:v>Jl</c:v>
                  </c:pt>
                  <c:pt idx="7">
                    <c:v>Au</c:v>
                  </c:pt>
                  <c:pt idx="8">
                    <c:v>Sz</c:v>
                  </c:pt>
                  <c:pt idx="9">
                    <c:v>O</c:v>
                  </c:pt>
                  <c:pt idx="10">
                    <c:v>N</c:v>
                  </c:pt>
                  <c:pt idx="11">
                    <c:v>D</c:v>
                  </c:pt>
                  <c:pt idx="12">
                    <c:v>J</c:v>
                  </c:pt>
                  <c:pt idx="13">
                    <c:v>F</c:v>
                  </c:pt>
                  <c:pt idx="14">
                    <c:v>M</c:v>
                  </c:pt>
                  <c:pt idx="15">
                    <c:v>Á</c:v>
                  </c:pt>
                  <c:pt idx="16">
                    <c:v>Mj</c:v>
                  </c:pt>
                  <c:pt idx="17">
                    <c:v>Jú</c:v>
                  </c:pt>
                  <c:pt idx="18">
                    <c:v>Jl</c:v>
                  </c:pt>
                  <c:pt idx="19">
                    <c:v>Au</c:v>
                  </c:pt>
                  <c:pt idx="20">
                    <c:v>Sz</c:v>
                  </c:pt>
                  <c:pt idx="21">
                    <c:v>O</c:v>
                  </c:pt>
                  <c:pt idx="22">
                    <c:v>N</c:v>
                  </c:pt>
                  <c:pt idx="23">
                    <c:v>D</c:v>
                  </c:pt>
                  <c:pt idx="24">
                    <c:v>J</c:v>
                  </c:pt>
                  <c:pt idx="25">
                    <c:v>F</c:v>
                  </c:pt>
                  <c:pt idx="26">
                    <c:v>M</c:v>
                  </c:pt>
                  <c:pt idx="27">
                    <c:v>Á</c:v>
                  </c:pt>
                  <c:pt idx="28">
                    <c:v>Mj</c:v>
                  </c:pt>
                  <c:pt idx="29">
                    <c:v>Jú</c:v>
                  </c:pt>
                  <c:pt idx="30">
                    <c:v>Jl</c:v>
                  </c:pt>
                  <c:pt idx="31">
                    <c:v>Au</c:v>
                  </c:pt>
                  <c:pt idx="32">
                    <c:v>Sz</c:v>
                  </c:pt>
                  <c:pt idx="33">
                    <c:v>O</c:v>
                  </c:pt>
                  <c:pt idx="34">
                    <c:v>N</c:v>
                  </c:pt>
                  <c:pt idx="35">
                    <c:v>D</c:v>
                  </c:pt>
                  <c:pt idx="36">
                    <c:v>J</c:v>
                  </c:pt>
                  <c:pt idx="37">
                    <c:v>F</c:v>
                  </c:pt>
                  <c:pt idx="38">
                    <c:v>M</c:v>
                  </c:pt>
                  <c:pt idx="39">
                    <c:v>Á</c:v>
                  </c:pt>
                  <c:pt idx="40">
                    <c:v>Mj</c:v>
                  </c:pt>
                  <c:pt idx="41">
                    <c:v>Jú</c:v>
                  </c:pt>
                  <c:pt idx="42">
                    <c:v>Jl</c:v>
                  </c:pt>
                  <c:pt idx="43">
                    <c:v>Au</c:v>
                  </c:pt>
                  <c:pt idx="44">
                    <c:v>Sz</c:v>
                  </c:pt>
                  <c:pt idx="45">
                    <c:v>O</c:v>
                  </c:pt>
                  <c:pt idx="46">
                    <c:v>N</c:v>
                  </c:pt>
                </c:lvl>
                <c:lvl>
                  <c:pt idx="0">
                    <c:v>2011.</c:v>
                  </c:pt>
                  <c:pt idx="12">
                    <c:v>2012.</c:v>
                  </c:pt>
                  <c:pt idx="24">
                    <c:v>2013.</c:v>
                  </c:pt>
                  <c:pt idx="36">
                    <c:v>2014.</c:v>
                  </c:pt>
                </c:lvl>
              </c:multiLvlStrCache>
            </c:multiLvlStrRef>
          </c:cat>
          <c:val>
            <c:numRef>
              <c:f>'3.2.7_GFO''11'!$J$4:$J$50</c:f>
              <c:numCache>
                <c:formatCode>#,##0</c:formatCode>
                <c:ptCount val="47"/>
                <c:pt idx="0">
                  <c:v>358384</c:v>
                </c:pt>
                <c:pt idx="1">
                  <c:v>358848</c:v>
                </c:pt>
                <c:pt idx="2">
                  <c:v>360262</c:v>
                </c:pt>
                <c:pt idx="3">
                  <c:v>361866</c:v>
                </c:pt>
                <c:pt idx="4">
                  <c:v>363437</c:v>
                </c:pt>
                <c:pt idx="5">
                  <c:v>364467</c:v>
                </c:pt>
                <c:pt idx="6">
                  <c:v>366021</c:v>
                </c:pt>
                <c:pt idx="7">
                  <c:v>366945</c:v>
                </c:pt>
                <c:pt idx="8">
                  <c:v>367962</c:v>
                </c:pt>
                <c:pt idx="9">
                  <c:v>369191</c:v>
                </c:pt>
                <c:pt idx="10">
                  <c:v>370366</c:v>
                </c:pt>
                <c:pt idx="11">
                  <c:v>372239</c:v>
                </c:pt>
                <c:pt idx="12">
                  <c:v>373224</c:v>
                </c:pt>
                <c:pt idx="13">
                  <c:v>375486</c:v>
                </c:pt>
                <c:pt idx="14">
                  <c:v>377972</c:v>
                </c:pt>
                <c:pt idx="15">
                  <c:v>378482</c:v>
                </c:pt>
                <c:pt idx="16">
                  <c:v>378508</c:v>
                </c:pt>
                <c:pt idx="17">
                  <c:v>379069</c:v>
                </c:pt>
                <c:pt idx="18">
                  <c:v>378804</c:v>
                </c:pt>
                <c:pt idx="19">
                  <c:v>378967</c:v>
                </c:pt>
                <c:pt idx="20">
                  <c:v>380261</c:v>
                </c:pt>
                <c:pt idx="21">
                  <c:v>380545</c:v>
                </c:pt>
                <c:pt idx="22">
                  <c:v>380877</c:v>
                </c:pt>
                <c:pt idx="23">
                  <c:v>380900</c:v>
                </c:pt>
                <c:pt idx="24">
                  <c:v>378540</c:v>
                </c:pt>
                <c:pt idx="25">
                  <c:v>378339</c:v>
                </c:pt>
                <c:pt idx="26">
                  <c:v>378835</c:v>
                </c:pt>
                <c:pt idx="27">
                  <c:v>379162</c:v>
                </c:pt>
                <c:pt idx="28">
                  <c:v>379486</c:v>
                </c:pt>
                <c:pt idx="29">
                  <c:v>379754</c:v>
                </c:pt>
                <c:pt idx="30">
                  <c:v>379863</c:v>
                </c:pt>
                <c:pt idx="31">
                  <c:v>380460</c:v>
                </c:pt>
                <c:pt idx="32">
                  <c:v>381128</c:v>
                </c:pt>
                <c:pt idx="33">
                  <c:v>381214</c:v>
                </c:pt>
                <c:pt idx="34">
                  <c:v>381537</c:v>
                </c:pt>
                <c:pt idx="35">
                  <c:v>381690</c:v>
                </c:pt>
                <c:pt idx="36">
                  <c:v>383533</c:v>
                </c:pt>
                <c:pt idx="37">
                  <c:v>383598</c:v>
                </c:pt>
                <c:pt idx="38">
                  <c:v>384369</c:v>
                </c:pt>
                <c:pt idx="39">
                  <c:v>384387</c:v>
                </c:pt>
                <c:pt idx="40">
                  <c:v>384137</c:v>
                </c:pt>
                <c:pt idx="41">
                  <c:v>383667</c:v>
                </c:pt>
                <c:pt idx="42">
                  <c:v>383525</c:v>
                </c:pt>
                <c:pt idx="43">
                  <c:v>383172</c:v>
                </c:pt>
                <c:pt idx="44">
                  <c:v>382776</c:v>
                </c:pt>
                <c:pt idx="45">
                  <c:v>382163</c:v>
                </c:pt>
                <c:pt idx="46">
                  <c:v>38165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5509040"/>
        <c:axId val="605509584"/>
      </c:lineChart>
      <c:catAx>
        <c:axId val="605509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5509584"/>
        <c:crosses val="autoZero"/>
        <c:auto val="1"/>
        <c:lblAlgn val="ctr"/>
        <c:lblOffset val="100"/>
        <c:noMultiLvlLbl val="0"/>
      </c:catAx>
      <c:valAx>
        <c:axId val="605509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5509040"/>
        <c:crosses val="autoZero"/>
        <c:crossBetween val="between"/>
      </c:valAx>
      <c:spPr>
        <a:solidFill>
          <a:schemeClr val="bg1"/>
        </a:solidFill>
        <a:ln w="25400">
          <a:noFill/>
        </a:ln>
      </c:spPr>
    </c:plotArea>
    <c:plotVisOnly val="1"/>
    <c:dispBlanksAs val="gap"/>
    <c:showDLblsOverMax val="0"/>
  </c:chart>
  <c:spPr>
    <a:solidFill>
      <a:schemeClr val="tx2">
        <a:lumMod val="20000"/>
        <a:lumOff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Munka1!$B$7</c:f>
              <c:strCache>
                <c:ptCount val="1"/>
                <c:pt idx="0">
                  <c:v>KKV-k foglalkoztatási arány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unka1!$C$3:$H$3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Munka1!$C$7:$H$7</c:f>
              <c:numCache>
                <c:formatCode>0.00%</c:formatCode>
                <c:ptCount val="6"/>
                <c:pt idx="0">
                  <c:v>0.71750179129016589</c:v>
                </c:pt>
                <c:pt idx="1">
                  <c:v>0.71149440698348398</c:v>
                </c:pt>
                <c:pt idx="2">
                  <c:v>0.71072589382448537</c:v>
                </c:pt>
                <c:pt idx="3">
                  <c:v>0.70822383309919745</c:v>
                </c:pt>
                <c:pt idx="4">
                  <c:v>0.70713018028351449</c:v>
                </c:pt>
                <c:pt idx="5">
                  <c:v>0.7077021428958203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Munka1!$B$10</c:f>
              <c:strCache>
                <c:ptCount val="1"/>
                <c:pt idx="0">
                  <c:v>KKV-k részesedése a hozzáadott értékben</c:v>
                </c:pt>
              </c:strCache>
            </c:strRef>
          </c:tx>
          <c:spPr>
            <a:ln w="571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Munka1!$C$3:$H$3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Munka1!$C$10:$H$10</c:f>
              <c:numCache>
                <c:formatCode>0.0%</c:formatCode>
                <c:ptCount val="6"/>
                <c:pt idx="0">
                  <c:v>0.54220698249634358</c:v>
                </c:pt>
                <c:pt idx="1">
                  <c:v>0.53645435409861819</c:v>
                </c:pt>
                <c:pt idx="2">
                  <c:v>0.54023639250898881</c:v>
                </c:pt>
                <c:pt idx="3">
                  <c:v>0.53893745151468597</c:v>
                </c:pt>
                <c:pt idx="4">
                  <c:v>0.53769070612338066</c:v>
                </c:pt>
                <c:pt idx="5">
                  <c:v>0.53828596719777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5513936"/>
        <c:axId val="605511760"/>
      </c:lineChart>
      <c:catAx>
        <c:axId val="60551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5511760"/>
        <c:crosses val="autoZero"/>
        <c:auto val="1"/>
        <c:lblAlgn val="ctr"/>
        <c:lblOffset val="100"/>
        <c:noMultiLvlLbl val="0"/>
      </c:catAx>
      <c:valAx>
        <c:axId val="605511760"/>
        <c:scaling>
          <c:orientation val="minMax"/>
          <c:min val="0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ln w="6350">
            <a:noFill/>
          </a:ln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605513936"/>
        <c:crosses val="autoZero"/>
        <c:crossBetween val="between"/>
      </c:valAx>
      <c:spPr>
        <a:solidFill>
          <a:schemeClr val="bg1"/>
        </a:solidFill>
        <a:ln w="25400">
          <a:noFill/>
        </a:ln>
      </c:spPr>
    </c:plotArea>
    <c:legend>
      <c:legendPos val="b"/>
      <c:overlay val="0"/>
      <c:spPr>
        <a:noFill/>
        <a:ln w="25400">
          <a:noFill/>
        </a:ln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tx2">
        <a:lumMod val="20000"/>
        <a:lumOff val="80000"/>
      </a:schemeClr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GDP - CEE országok'!$A$2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71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2:$L$2</c:f>
              <c:numCache>
                <c:formatCode>0.0</c:formatCode>
                <c:ptCount val="11"/>
                <c:pt idx="0">
                  <c:v>3</c:v>
                </c:pt>
                <c:pt idx="1">
                  <c:v>4.2</c:v>
                </c:pt>
                <c:pt idx="2">
                  <c:v>-0.1</c:v>
                </c:pt>
                <c:pt idx="3">
                  <c:v>1.8</c:v>
                </c:pt>
                <c:pt idx="4">
                  <c:v>-1.5</c:v>
                </c:pt>
                <c:pt idx="5">
                  <c:v>1.5</c:v>
                </c:pt>
                <c:pt idx="6">
                  <c:v>3.3</c:v>
                </c:pt>
                <c:pt idx="7">
                  <c:v>3.1</c:v>
                </c:pt>
                <c:pt idx="8">
                  <c:v>2.5</c:v>
                </c:pt>
                <c:pt idx="9">
                  <c:v>3.1</c:v>
                </c:pt>
                <c:pt idx="10">
                  <c:v>2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GDP - CEE országok'!$A$3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3:$L$3</c:f>
              <c:numCache>
                <c:formatCode>0.0</c:formatCode>
                <c:ptCount val="11"/>
                <c:pt idx="0">
                  <c:v>1.8</c:v>
                </c:pt>
                <c:pt idx="1">
                  <c:v>3.9</c:v>
                </c:pt>
                <c:pt idx="2">
                  <c:v>2.5</c:v>
                </c:pt>
                <c:pt idx="3">
                  <c:v>2</c:v>
                </c:pt>
                <c:pt idx="4">
                  <c:v>-0.8</c:v>
                </c:pt>
                <c:pt idx="5">
                  <c:v>-0.7</c:v>
                </c:pt>
                <c:pt idx="6">
                  <c:v>2.2999999999999998</c:v>
                </c:pt>
                <c:pt idx="7">
                  <c:v>2.7</c:v>
                </c:pt>
                <c:pt idx="8">
                  <c:v>2.5</c:v>
                </c:pt>
                <c:pt idx="9">
                  <c:v>2.2999999999999998</c:v>
                </c:pt>
                <c:pt idx="10">
                  <c:v>2.29999999999999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GDP - CEE országok'!$A$4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4:$L$4</c:f>
              <c:numCache>
                <c:formatCode>0.0</c:formatCode>
                <c:ptCount val="11"/>
                <c:pt idx="0">
                  <c:v>5.4</c:v>
                </c:pt>
                <c:pt idx="1">
                  <c:v>3</c:v>
                </c:pt>
                <c:pt idx="2">
                  <c:v>4.7</c:v>
                </c:pt>
                <c:pt idx="3">
                  <c:v>4.8</c:v>
                </c:pt>
                <c:pt idx="4">
                  <c:v>1.8</c:v>
                </c:pt>
                <c:pt idx="5">
                  <c:v>1.7</c:v>
                </c:pt>
                <c:pt idx="6">
                  <c:v>3.3</c:v>
                </c:pt>
                <c:pt idx="7">
                  <c:v>3.4</c:v>
                </c:pt>
                <c:pt idx="8">
                  <c:v>3.8</c:v>
                </c:pt>
                <c:pt idx="9">
                  <c:v>3.9</c:v>
                </c:pt>
                <c:pt idx="10">
                  <c:v>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GDP - CEE országok'!$A$5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5:$L$5</c:f>
              <c:numCache>
                <c:formatCode>0.0</c:formatCode>
                <c:ptCount val="11"/>
                <c:pt idx="0">
                  <c:v>3.6</c:v>
                </c:pt>
                <c:pt idx="1">
                  <c:v>5</c:v>
                </c:pt>
                <c:pt idx="2">
                  <c:v>4.8</c:v>
                </c:pt>
                <c:pt idx="3">
                  <c:v>2.7</c:v>
                </c:pt>
                <c:pt idx="4">
                  <c:v>1.6</c:v>
                </c:pt>
                <c:pt idx="5">
                  <c:v>1.4</c:v>
                </c:pt>
                <c:pt idx="6">
                  <c:v>2.4</c:v>
                </c:pt>
                <c:pt idx="7">
                  <c:v>2.9</c:v>
                </c:pt>
                <c:pt idx="8">
                  <c:v>3.6</c:v>
                </c:pt>
                <c:pt idx="9">
                  <c:v>3.4</c:v>
                </c:pt>
                <c:pt idx="10">
                  <c:v>3.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GDP - CEE országok'!$A$6</c:f>
              <c:strCache>
                <c:ptCount val="1"/>
                <c:pt idx="0">
                  <c:v>Szlovéni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6:$L$6</c:f>
              <c:numCache>
                <c:formatCode>0.0</c:formatCode>
                <c:ptCount val="11"/>
                <c:pt idx="0">
                  <c:v>4.3</c:v>
                </c:pt>
                <c:pt idx="1">
                  <c:v>3.6</c:v>
                </c:pt>
                <c:pt idx="2">
                  <c:v>1.9</c:v>
                </c:pt>
                <c:pt idx="3">
                  <c:v>0.6</c:v>
                </c:pt>
                <c:pt idx="4">
                  <c:v>-2.6</c:v>
                </c:pt>
                <c:pt idx="5">
                  <c:v>-1</c:v>
                </c:pt>
                <c:pt idx="6">
                  <c:v>2.6</c:v>
                </c:pt>
                <c:pt idx="7">
                  <c:v>2.4</c:v>
                </c:pt>
                <c:pt idx="8">
                  <c:v>2</c:v>
                </c:pt>
                <c:pt idx="9">
                  <c:v>2.1</c:v>
                </c:pt>
                <c:pt idx="10">
                  <c:v>2.200000000000000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GDP - CEE országok'!$A$7</c:f>
              <c:strCache>
                <c:ptCount val="1"/>
                <c:pt idx="0">
                  <c:v>Románi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7:$L$7</c:f>
              <c:numCache>
                <c:formatCode>0.0</c:formatCode>
                <c:ptCount val="11"/>
                <c:pt idx="0">
                  <c:v>-0.2</c:v>
                </c:pt>
                <c:pt idx="1">
                  <c:v>5.8</c:v>
                </c:pt>
                <c:pt idx="2">
                  <c:v>3.1</c:v>
                </c:pt>
                <c:pt idx="3">
                  <c:v>1.1000000000000001</c:v>
                </c:pt>
                <c:pt idx="4">
                  <c:v>0.6</c:v>
                </c:pt>
                <c:pt idx="5">
                  <c:v>3.4</c:v>
                </c:pt>
                <c:pt idx="6">
                  <c:v>3</c:v>
                </c:pt>
                <c:pt idx="7">
                  <c:v>3.2</c:v>
                </c:pt>
                <c:pt idx="8">
                  <c:v>3.4</c:v>
                </c:pt>
                <c:pt idx="9">
                  <c:v>3.7</c:v>
                </c:pt>
                <c:pt idx="10">
                  <c:v>4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'GDP - CEE országok'!$A$8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GDP - CEE országok'!$B$1:$L$1</c:f>
              <c:strCache>
                <c:ptCount val="11"/>
                <c:pt idx="0">
                  <c:v>1996-2000</c:v>
                </c:pt>
                <c:pt idx="1">
                  <c:v>2001-2005</c:v>
                </c:pt>
                <c:pt idx="2">
                  <c:v>2006-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strCache>
            </c:strRef>
          </c:cat>
          <c:val>
            <c:numRef>
              <c:f>'GDP - CEE országok'!$B$8:$L$8</c:f>
              <c:numCache>
                <c:formatCode>0.0</c:formatCode>
                <c:ptCount val="11"/>
                <c:pt idx="0">
                  <c:v>3.4</c:v>
                </c:pt>
                <c:pt idx="1">
                  <c:v>4.5</c:v>
                </c:pt>
                <c:pt idx="2">
                  <c:v>0.6</c:v>
                </c:pt>
                <c:pt idx="3">
                  <c:v>-0.3</c:v>
                </c:pt>
                <c:pt idx="4">
                  <c:v>-2.2000000000000002</c:v>
                </c:pt>
                <c:pt idx="5">
                  <c:v>-0.9</c:v>
                </c:pt>
                <c:pt idx="6">
                  <c:v>-0.5</c:v>
                </c:pt>
                <c:pt idx="7">
                  <c:v>0.4</c:v>
                </c:pt>
                <c:pt idx="8">
                  <c:v>1</c:v>
                </c:pt>
                <c:pt idx="9">
                  <c:v>1.2</c:v>
                </c:pt>
                <c:pt idx="10">
                  <c:v>1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5975952"/>
        <c:axId val="555979216"/>
      </c:lineChart>
      <c:catAx>
        <c:axId val="55597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79216"/>
        <c:crosses val="autoZero"/>
        <c:auto val="1"/>
        <c:lblAlgn val="ctr"/>
        <c:lblOffset val="100"/>
        <c:noMultiLvlLbl val="0"/>
      </c:catAx>
      <c:valAx>
        <c:axId val="555979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75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003499562555E-2"/>
          <c:y val="5.5555555555555552E-2"/>
          <c:w val="0.88897440944881889"/>
          <c:h val="0.642938174394867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DP összetevők HU'!$A$3</c:f>
              <c:strCache>
                <c:ptCount val="1"/>
                <c:pt idx="0">
                  <c:v>Bruttó állóeszköz felhalmozás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GDP összetevők HU'!$B$2:$F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GDP összetevők HU'!$B$3:$F$3</c:f>
              <c:numCache>
                <c:formatCode>0.0</c:formatCode>
                <c:ptCount val="5"/>
                <c:pt idx="0">
                  <c:v>2.4137931034482758</c:v>
                </c:pt>
                <c:pt idx="1">
                  <c:v>1.3103448275862069</c:v>
                </c:pt>
                <c:pt idx="2">
                  <c:v>-0.17241379310344829</c:v>
                </c:pt>
                <c:pt idx="3">
                  <c:v>1.3793103448275863</c:v>
                </c:pt>
                <c:pt idx="4">
                  <c:v>1.103448275862069</c:v>
                </c:pt>
              </c:numCache>
            </c:numRef>
          </c:val>
        </c:ser>
        <c:ser>
          <c:idx val="1"/>
          <c:order val="1"/>
          <c:tx>
            <c:strRef>
              <c:f>'GDP összetevők HU'!$A$4</c:f>
              <c:strCache>
                <c:ptCount val="1"/>
                <c:pt idx="0">
                  <c:v>Nettó export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'GDP összetevők HU'!$B$2:$F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GDP összetevők HU'!$B$4:$F$4</c:f>
              <c:numCache>
                <c:formatCode>0.0</c:formatCode>
                <c:ptCount val="5"/>
                <c:pt idx="0">
                  <c:v>-0.41379310344827586</c:v>
                </c:pt>
                <c:pt idx="1">
                  <c:v>0.27586206896551724</c:v>
                </c:pt>
                <c:pt idx="2">
                  <c:v>0.96551724137931028</c:v>
                </c:pt>
                <c:pt idx="3">
                  <c:v>0.34482758620689657</c:v>
                </c:pt>
                <c:pt idx="4">
                  <c:v>0.55172413793103448</c:v>
                </c:pt>
              </c:numCache>
            </c:numRef>
          </c:val>
        </c:ser>
        <c:ser>
          <c:idx val="2"/>
          <c:order val="2"/>
          <c:tx>
            <c:strRef>
              <c:f>'GDP összetevők HU'!$A$5</c:f>
              <c:strCache>
                <c:ptCount val="1"/>
                <c:pt idx="0">
                  <c:v>Kormányzati fogyasztá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GDP összetevők HU'!$B$2:$F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GDP összetevők HU'!$B$5:$F$5</c:f>
              <c:numCache>
                <c:formatCode>0.0</c:formatCode>
                <c:ptCount val="5"/>
                <c:pt idx="0">
                  <c:v>0.41379310344827586</c:v>
                </c:pt>
                <c:pt idx="1">
                  <c:v>0.17241379310344829</c:v>
                </c:pt>
                <c:pt idx="2">
                  <c:v>-0.27586206896551724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3"/>
          <c:order val="3"/>
          <c:tx>
            <c:strRef>
              <c:f>'GDP összetevők HU'!$A$6</c:f>
              <c:strCache>
                <c:ptCount val="1"/>
                <c:pt idx="0">
                  <c:v>Háztartások fogyasztási kiadás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</c:dPt>
          <c:cat>
            <c:numRef>
              <c:f>'GDP összetevők HU'!$B$2:$F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GDP összetevők HU'!$B$6:$F$6</c:f>
              <c:numCache>
                <c:formatCode>0.0</c:formatCode>
                <c:ptCount val="5"/>
                <c:pt idx="0">
                  <c:v>0.93103448275862077</c:v>
                </c:pt>
                <c:pt idx="1">
                  <c:v>1.517241379310345</c:v>
                </c:pt>
                <c:pt idx="2">
                  <c:v>1.8620689655172415</c:v>
                </c:pt>
                <c:pt idx="3">
                  <c:v>1.3793103448275863</c:v>
                </c:pt>
                <c:pt idx="4">
                  <c:v>1.3103448275862069</c:v>
                </c:pt>
              </c:numCache>
            </c:numRef>
          </c:val>
        </c:ser>
        <c:ser>
          <c:idx val="4"/>
          <c:order val="4"/>
          <c:tx>
            <c:strRef>
              <c:f>'GDP összetevők HU'!$A$7</c:f>
              <c:strCache>
                <c:ptCount val="1"/>
                <c:pt idx="0">
                  <c:v>Készletváltozás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'GDP összetevők HU'!$B$2:$F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GDP összetevők HU'!$B$7:$F$7</c:f>
              <c:numCache>
                <c:formatCode>0.0</c:formatCode>
                <c:ptCount val="5"/>
                <c:pt idx="0">
                  <c:v>0.34482758620689657</c:v>
                </c:pt>
                <c:pt idx="1">
                  <c:v>-6.8965517241379309E-2</c:v>
                </c:pt>
                <c:pt idx="2">
                  <c:v>0.20689655172413793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55980848"/>
        <c:axId val="555977584"/>
      </c:barChart>
      <c:lineChart>
        <c:grouping val="standard"/>
        <c:varyColors val="0"/>
        <c:ser>
          <c:idx val="5"/>
          <c:order val="5"/>
          <c:tx>
            <c:strRef>
              <c:f>'GDP összetevők HU'!$A$8</c:f>
              <c:strCache>
                <c:ptCount val="1"/>
                <c:pt idx="0">
                  <c:v>GDP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GDP összetevők HU'!$B$2:$F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GDP összetevők HU'!$B$8:$F$8</c:f>
              <c:numCache>
                <c:formatCode>0.0</c:formatCode>
                <c:ptCount val="5"/>
                <c:pt idx="0">
                  <c:v>3.6896551724137936</c:v>
                </c:pt>
                <c:pt idx="1">
                  <c:v>3.2068965517241383</c:v>
                </c:pt>
                <c:pt idx="2">
                  <c:v>2.5862068965517242</c:v>
                </c:pt>
                <c:pt idx="3">
                  <c:v>3.1034482758620694</c:v>
                </c:pt>
                <c:pt idx="4">
                  <c:v>2.96551724137931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5980848"/>
        <c:axId val="555977584"/>
      </c:lineChart>
      <c:catAx>
        <c:axId val="555980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77584"/>
        <c:crosses val="autoZero"/>
        <c:auto val="1"/>
        <c:lblAlgn val="ctr"/>
        <c:lblOffset val="100"/>
        <c:noMultiLvlLbl val="0"/>
      </c:catAx>
      <c:valAx>
        <c:axId val="555977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80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Infláció!$A$2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39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2:$L$2</c:f>
              <c:numCache>
                <c:formatCode>0.0</c:formatCode>
                <c:ptCount val="9"/>
                <c:pt idx="0">
                  <c:v>5.3</c:v>
                </c:pt>
                <c:pt idx="1">
                  <c:v>3.9</c:v>
                </c:pt>
                <c:pt idx="2">
                  <c:v>5.7</c:v>
                </c:pt>
                <c:pt idx="3">
                  <c:v>1.7</c:v>
                </c:pt>
                <c:pt idx="4">
                  <c:v>0</c:v>
                </c:pt>
                <c:pt idx="5">
                  <c:v>0</c:v>
                </c:pt>
                <c:pt idx="6">
                  <c:v>1.6</c:v>
                </c:pt>
                <c:pt idx="7">
                  <c:v>2.5</c:v>
                </c:pt>
                <c:pt idx="8">
                  <c:v>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nfláció!$A$3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3:$L$3</c:f>
              <c:numCache>
                <c:formatCode>0.0</c:formatCode>
                <c:ptCount val="9"/>
                <c:pt idx="0">
                  <c:v>2.6</c:v>
                </c:pt>
                <c:pt idx="1">
                  <c:v>2.1</c:v>
                </c:pt>
                <c:pt idx="2">
                  <c:v>3.54</c:v>
                </c:pt>
                <c:pt idx="3">
                  <c:v>1.4</c:v>
                </c:pt>
                <c:pt idx="4">
                  <c:v>0.4</c:v>
                </c:pt>
                <c:pt idx="5">
                  <c:v>0.2</c:v>
                </c:pt>
                <c:pt idx="6">
                  <c:v>1.4</c:v>
                </c:pt>
                <c:pt idx="7">
                  <c:v>1.8</c:v>
                </c:pt>
                <c:pt idx="8">
                  <c:v>1.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Infláció!$A$4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4:$L$4</c:f>
              <c:numCache>
                <c:formatCode>0.0</c:formatCode>
                <c:ptCount val="9"/>
                <c:pt idx="0">
                  <c:v>2.9</c:v>
                </c:pt>
                <c:pt idx="1">
                  <c:v>3.9</c:v>
                </c:pt>
                <c:pt idx="2">
                  <c:v>3.7</c:v>
                </c:pt>
                <c:pt idx="3">
                  <c:v>0.8</c:v>
                </c:pt>
                <c:pt idx="4">
                  <c:v>0.1</c:v>
                </c:pt>
                <c:pt idx="5">
                  <c:v>0.1</c:v>
                </c:pt>
                <c:pt idx="6">
                  <c:v>0.2</c:v>
                </c:pt>
                <c:pt idx="7">
                  <c:v>0.2</c:v>
                </c:pt>
                <c:pt idx="8">
                  <c:v>0.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Infláció!$A$5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5:$L$5</c:f>
              <c:numCache>
                <c:formatCode>0.0</c:formatCode>
                <c:ptCount val="9"/>
                <c:pt idx="0">
                  <c:v>2.2999999999999998</c:v>
                </c:pt>
                <c:pt idx="1">
                  <c:v>4.0999999999999996</c:v>
                </c:pt>
                <c:pt idx="2">
                  <c:v>3.7</c:v>
                </c:pt>
                <c:pt idx="3">
                  <c:v>1.5</c:v>
                </c:pt>
                <c:pt idx="4">
                  <c:v>-0.1</c:v>
                </c:pt>
                <c:pt idx="5">
                  <c:v>0</c:v>
                </c:pt>
                <c:pt idx="6">
                  <c:v>1.6</c:v>
                </c:pt>
                <c:pt idx="7">
                  <c:v>1.8</c:v>
                </c:pt>
                <c:pt idx="8">
                  <c:v>2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Infláció!$A$6</c:f>
              <c:strCache>
                <c:ptCount val="1"/>
                <c:pt idx="0">
                  <c:v>Szlovéni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6:$L$6</c:f>
              <c:numCache>
                <c:formatCode>0.0</c:formatCode>
                <c:ptCount val="9"/>
                <c:pt idx="0">
                  <c:v>3</c:v>
                </c:pt>
                <c:pt idx="1">
                  <c:v>2.1</c:v>
                </c:pt>
                <c:pt idx="2">
                  <c:v>2.8</c:v>
                </c:pt>
                <c:pt idx="3">
                  <c:v>1.9</c:v>
                </c:pt>
                <c:pt idx="4">
                  <c:v>0.4</c:v>
                </c:pt>
                <c:pt idx="5">
                  <c:v>-0.2</c:v>
                </c:pt>
                <c:pt idx="6">
                  <c:v>1</c:v>
                </c:pt>
                <c:pt idx="7">
                  <c:v>1.4</c:v>
                </c:pt>
                <c:pt idx="8">
                  <c:v>1.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Infláció!$A$7</c:f>
              <c:strCache>
                <c:ptCount val="1"/>
                <c:pt idx="0">
                  <c:v>Románi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7:$L$7</c:f>
              <c:numCache>
                <c:formatCode>0.0</c:formatCode>
                <c:ptCount val="9"/>
                <c:pt idx="0">
                  <c:v>6.2</c:v>
                </c:pt>
                <c:pt idx="1">
                  <c:v>5.8</c:v>
                </c:pt>
                <c:pt idx="2">
                  <c:v>3.4</c:v>
                </c:pt>
                <c:pt idx="3">
                  <c:v>3.2</c:v>
                </c:pt>
                <c:pt idx="4">
                  <c:v>1.4</c:v>
                </c:pt>
                <c:pt idx="5">
                  <c:v>0.2</c:v>
                </c:pt>
                <c:pt idx="6">
                  <c:v>2</c:v>
                </c:pt>
                <c:pt idx="7">
                  <c:v>2.7</c:v>
                </c:pt>
                <c:pt idx="8">
                  <c:v>2.5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Infláció!$A$8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Infláció!$D$1:$L$1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8:$L$8</c:f>
              <c:numCache>
                <c:formatCode>0.0</c:formatCode>
                <c:ptCount val="9"/>
                <c:pt idx="0">
                  <c:v>3</c:v>
                </c:pt>
                <c:pt idx="1">
                  <c:v>2.2000000000000002</c:v>
                </c:pt>
                <c:pt idx="2">
                  <c:v>3.4</c:v>
                </c:pt>
                <c:pt idx="3">
                  <c:v>2.2999999999999998</c:v>
                </c:pt>
                <c:pt idx="4">
                  <c:v>0.2</c:v>
                </c:pt>
                <c:pt idx="5">
                  <c:v>-0.3</c:v>
                </c:pt>
                <c:pt idx="6">
                  <c:v>1</c:v>
                </c:pt>
                <c:pt idx="7">
                  <c:v>1.2</c:v>
                </c:pt>
                <c:pt idx="8">
                  <c:v>1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5980304"/>
        <c:axId val="555981936"/>
      </c:lineChart>
      <c:catAx>
        <c:axId val="555980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81936"/>
        <c:crosses val="autoZero"/>
        <c:auto val="1"/>
        <c:lblAlgn val="ctr"/>
        <c:lblOffset val="100"/>
        <c:noMultiLvlLbl val="0"/>
      </c:catAx>
      <c:valAx>
        <c:axId val="555981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80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400"/>
      </a:pPr>
      <a:endParaRPr lang="hu-HU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329035245935628E-2"/>
          <c:y val="3.1849435384973493E-2"/>
          <c:w val="0.88563327124875846"/>
          <c:h val="0.87006843866863437"/>
        </c:manualLayout>
      </c:layout>
      <c:areaChart>
        <c:grouping val="standard"/>
        <c:varyColors val="0"/>
        <c:ser>
          <c:idx val="3"/>
          <c:order val="3"/>
          <c:tx>
            <c:strRef>
              <c:f>Data!$A$5</c:f>
              <c:strCache>
                <c:ptCount val="1"/>
                <c:pt idx="0">
                  <c:v>Államadósság 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numRef>
              <c:f>Data!$B$1:$AD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Data!$B$5:$AD$5</c:f>
              <c:numCache>
                <c:formatCode>#,##0.00</c:formatCode>
                <c:ptCount val="19"/>
                <c:pt idx="0">
                  <c:v>62.009806539669</c:v>
                </c:pt>
                <c:pt idx="1">
                  <c:v>59.846753997353261</c:v>
                </c:pt>
                <c:pt idx="2">
                  <c:v>59.882294325207184</c:v>
                </c:pt>
                <c:pt idx="3">
                  <c:v>62.150063738367024</c:v>
                </c:pt>
                <c:pt idx="4">
                  <c:v>65.577960674867782</c:v>
                </c:pt>
                <c:pt idx="5">
                  <c:v>67.870262814972705</c:v>
                </c:pt>
                <c:pt idx="6">
                  <c:v>69.407588476409472</c:v>
                </c:pt>
                <c:pt idx="7">
                  <c:v>69.57590102366143</c:v>
                </c:pt>
                <c:pt idx="8">
                  <c:v>72.839759643621377</c:v>
                </c:pt>
                <c:pt idx="9">
                  <c:v>81.09508098717221</c:v>
                </c:pt>
                <c:pt idx="10">
                  <c:v>81.651631056597211</c:v>
                </c:pt>
                <c:pt idx="11">
                  <c:v>81.225272679365133</c:v>
                </c:pt>
                <c:pt idx="12">
                  <c:v>84.658462001905505</c:v>
                </c:pt>
                <c:pt idx="13">
                  <c:v>77.3</c:v>
                </c:pt>
                <c:pt idx="14">
                  <c:v>76.900000000000006</c:v>
                </c:pt>
                <c:pt idx="15" formatCode="General">
                  <c:v>74.900000000000006</c:v>
                </c:pt>
                <c:pt idx="16" formatCode="General">
                  <c:v>73.900000000000006</c:v>
                </c:pt>
                <c:pt idx="17" formatCode="General">
                  <c:v>71.3</c:v>
                </c:pt>
                <c:pt idx="18" formatCode="General">
                  <c:v>68.90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5967248"/>
        <c:axId val="555966704"/>
      </c:areaChart>
      <c:lineChart>
        <c:grouping val="standard"/>
        <c:varyColors val="0"/>
        <c:ser>
          <c:idx val="0"/>
          <c:order val="0"/>
          <c:tx>
            <c:strRef>
              <c:f>Data!$A$2</c:f>
              <c:strCache>
                <c:ptCount val="1"/>
                <c:pt idx="0">
                  <c:v>GDP növekedés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Data!$B$1:$AD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Data!$B$2:$AD$2</c:f>
              <c:numCache>
                <c:formatCode>#,##0.00</c:formatCode>
                <c:ptCount val="19"/>
                <c:pt idx="0">
                  <c:v>4.2404035428695011</c:v>
                </c:pt>
                <c:pt idx="1">
                  <c:v>3.7351114321186003</c:v>
                </c:pt>
                <c:pt idx="2">
                  <c:v>4.491147132566482</c:v>
                </c:pt>
                <c:pt idx="3">
                  <c:v>3.7783471487942961</c:v>
                </c:pt>
                <c:pt idx="4">
                  <c:v>4.7893530640728414</c:v>
                </c:pt>
                <c:pt idx="5">
                  <c:v>4.2596578250628596</c:v>
                </c:pt>
                <c:pt idx="6">
                  <c:v>3.9629443874740815</c:v>
                </c:pt>
                <c:pt idx="7">
                  <c:v>0.51127922017815308</c:v>
                </c:pt>
                <c:pt idx="8">
                  <c:v>0.8785823958600929</c:v>
                </c:pt>
                <c:pt idx="9">
                  <c:v>-6.5510297071443659</c:v>
                </c:pt>
                <c:pt idx="10">
                  <c:v>0.7891168795250536</c:v>
                </c:pt>
                <c:pt idx="11">
                  <c:v>1.8066054345243714</c:v>
                </c:pt>
                <c:pt idx="12">
                  <c:v>-1.4779446874542259</c:v>
                </c:pt>
                <c:pt idx="13">
                  <c:v>1.5251668059151626</c:v>
                </c:pt>
                <c:pt idx="14">
                  <c:v>3.6354497484439463</c:v>
                </c:pt>
                <c:pt idx="15" formatCode="0.0">
                  <c:v>3.1</c:v>
                </c:pt>
                <c:pt idx="16" formatCode="0.0">
                  <c:v>2.5</c:v>
                </c:pt>
                <c:pt idx="17" formatCode="General">
                  <c:v>3.1</c:v>
                </c:pt>
                <c:pt idx="18" formatCode="General">
                  <c:v>2.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Data!$A$4</c:f>
              <c:strCache>
                <c:ptCount val="1"/>
                <c:pt idx="0">
                  <c:v>Infláció, fogyasztói árak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Data!$B$1:$AD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Data!$B$4:$AD$4</c:f>
              <c:numCache>
                <c:formatCode>#,##0.00</c:formatCode>
                <c:ptCount val="19"/>
                <c:pt idx="0">
                  <c:v>9.780586324185478</c:v>
                </c:pt>
                <c:pt idx="1">
                  <c:v>9.1562722933937124</c:v>
                </c:pt>
                <c:pt idx="2">
                  <c:v>5.2615406537209566</c:v>
                </c:pt>
                <c:pt idx="3">
                  <c:v>4.6484575835473265</c:v>
                </c:pt>
                <c:pt idx="4">
                  <c:v>6.779959774738515</c:v>
                </c:pt>
                <c:pt idx="5">
                  <c:v>3.5508083140880302</c:v>
                </c:pt>
                <c:pt idx="6">
                  <c:v>3.8783123732251283</c:v>
                </c:pt>
                <c:pt idx="7">
                  <c:v>7.9350088752622128</c:v>
                </c:pt>
                <c:pt idx="8">
                  <c:v>6.0661571530928029</c:v>
                </c:pt>
                <c:pt idx="9">
                  <c:v>4.2091898428053014</c:v>
                </c:pt>
                <c:pt idx="10">
                  <c:v>4.881345076060768</c:v>
                </c:pt>
                <c:pt idx="11">
                  <c:v>3.9572672309549972</c:v>
                </c:pt>
                <c:pt idx="12">
                  <c:v>5.7058293415611843</c:v>
                </c:pt>
                <c:pt idx="13">
                  <c:v>1.7258394874891678</c:v>
                </c:pt>
                <c:pt idx="14">
                  <c:v>-0.2380185734383673</c:v>
                </c:pt>
                <c:pt idx="15" formatCode="General">
                  <c:v>0.8</c:v>
                </c:pt>
                <c:pt idx="16" formatCode="General">
                  <c:v>2.8</c:v>
                </c:pt>
                <c:pt idx="17">
                  <c:v>2.5</c:v>
                </c:pt>
                <c:pt idx="18">
                  <c:v>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ta!$A$3</c:f>
              <c:strCache>
                <c:ptCount val="1"/>
                <c:pt idx="0">
                  <c:v>Folyó fizetési mérleg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Data!$B$1:$AD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Data!$B$3:$AD$3</c:f>
              <c:numCache>
                <c:formatCode>General</c:formatCode>
                <c:ptCount val="19"/>
                <c:pt idx="5" formatCode="#,##0.00">
                  <c:v>-7.0457084462664969</c:v>
                </c:pt>
                <c:pt idx="6" formatCode="#,##0.00">
                  <c:v>-7.107051729866587</c:v>
                </c:pt>
                <c:pt idx="7" formatCode="#,##0.00">
                  <c:v>-7.1800351565181968</c:v>
                </c:pt>
                <c:pt idx="8" formatCode="#,##0.00">
                  <c:v>-6.981217218984952</c:v>
                </c:pt>
                <c:pt idx="9" formatCode="#,##0.00">
                  <c:v>-0.76699276108898651</c:v>
                </c:pt>
                <c:pt idx="10" formatCode="#,##0.00">
                  <c:v>0.26727711446597913</c:v>
                </c:pt>
                <c:pt idx="11" formatCode="#,##0.00">
                  <c:v>0.81207255164910452</c:v>
                </c:pt>
                <c:pt idx="12" formatCode="#,##0.00">
                  <c:v>1.7852518738666674</c:v>
                </c:pt>
                <c:pt idx="13" formatCode="#,##0.00">
                  <c:v>3.9834995437043013</c:v>
                </c:pt>
                <c:pt idx="14" formatCode="#,##0.00">
                  <c:v>4.0828551053310278</c:v>
                </c:pt>
                <c:pt idx="15">
                  <c:v>5.5</c:v>
                </c:pt>
                <c:pt idx="16">
                  <c:v>6.2</c:v>
                </c:pt>
                <c:pt idx="17" formatCode="#,##0.00">
                  <c:v>6.2</c:v>
                </c:pt>
                <c:pt idx="18" formatCode="#,##0.00">
                  <c:v>6.7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Data!$A$7</c:f>
              <c:strCache>
                <c:ptCount val="1"/>
                <c:pt idx="0">
                  <c:v>Államháztartási egyenleg</c:v>
                </c:pt>
              </c:strCache>
            </c:strRef>
          </c:tx>
          <c:spPr>
            <a:ln w="317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Data!$B$1:$AD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Data!$B$7:$AD$7</c:f>
              <c:numCache>
                <c:formatCode>#,##0.00</c:formatCode>
                <c:ptCount val="19"/>
                <c:pt idx="0">
                  <c:v>-2.7698788091513058</c:v>
                </c:pt>
                <c:pt idx="1">
                  <c:v>-4.185073557142343</c:v>
                </c:pt>
                <c:pt idx="2">
                  <c:v>-8.0022128459622621</c:v>
                </c:pt>
                <c:pt idx="3">
                  <c:v>-6.9935851266270648</c:v>
                </c:pt>
                <c:pt idx="4">
                  <c:v>-6.0962585254378334</c:v>
                </c:pt>
                <c:pt idx="5">
                  <c:v>-7.2791507883553583</c:v>
                </c:pt>
                <c:pt idx="6">
                  <c:v>-8.4632143448700088</c:v>
                </c:pt>
                <c:pt idx="7">
                  <c:v>-4.8740808798246062</c:v>
                </c:pt>
                <c:pt idx="8">
                  <c:v>-3.7060272698572385</c:v>
                </c:pt>
                <c:pt idx="9">
                  <c:v>-4.0612555103391852</c:v>
                </c:pt>
                <c:pt idx="10">
                  <c:v>-3.4673233867846207</c:v>
                </c:pt>
                <c:pt idx="11">
                  <c:v>3.5707644788575776</c:v>
                </c:pt>
                <c:pt idx="12">
                  <c:v>-2.5977519195202601</c:v>
                </c:pt>
                <c:pt idx="13">
                  <c:v>-2.4</c:v>
                </c:pt>
                <c:pt idx="14">
                  <c:v>-2.6</c:v>
                </c:pt>
                <c:pt idx="15" formatCode="General">
                  <c:v>-2.4</c:v>
                </c:pt>
                <c:pt idx="16" formatCode="General">
                  <c:v>-2</c:v>
                </c:pt>
                <c:pt idx="17" formatCode="General">
                  <c:v>-1.7</c:v>
                </c:pt>
                <c:pt idx="18" formatCode="General">
                  <c:v>-1.6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Data!$A$8</c:f>
              <c:strCache>
                <c:ptCount val="1"/>
                <c:pt idx="0">
                  <c:v>Adósságszolgálat</c:v>
                </c:pt>
              </c:strCache>
            </c:strRef>
          </c:tx>
          <c:spPr>
            <a:ln w="317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Data!$B$1:$AD$1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Data!$B$8:$AD$8</c:f>
              <c:numCache>
                <c:formatCode>#,##0.00</c:formatCode>
                <c:ptCount val="19"/>
                <c:pt idx="0">
                  <c:v>7.3</c:v>
                </c:pt>
                <c:pt idx="1">
                  <c:v>4.2</c:v>
                </c:pt>
                <c:pt idx="2">
                  <c:v>4.2</c:v>
                </c:pt>
                <c:pt idx="3">
                  <c:v>4.2</c:v>
                </c:pt>
                <c:pt idx="4">
                  <c:v>4.2</c:v>
                </c:pt>
                <c:pt idx="5">
                  <c:v>4.2</c:v>
                </c:pt>
                <c:pt idx="6">
                  <c:v>4.0999999999999996</c:v>
                </c:pt>
                <c:pt idx="7">
                  <c:v>4.0999999999999996</c:v>
                </c:pt>
                <c:pt idx="8">
                  <c:v>4.0999999999999996</c:v>
                </c:pt>
                <c:pt idx="9">
                  <c:v>4.0999999999999996</c:v>
                </c:pt>
                <c:pt idx="10">
                  <c:v>4.0999999999999996</c:v>
                </c:pt>
                <c:pt idx="11">
                  <c:v>4.2</c:v>
                </c:pt>
                <c:pt idx="12">
                  <c:v>4.5999999999999996</c:v>
                </c:pt>
                <c:pt idx="13">
                  <c:v>4.5999999999999996</c:v>
                </c:pt>
                <c:pt idx="14">
                  <c:v>4.0999999999999996</c:v>
                </c:pt>
                <c:pt idx="15" formatCode="General">
                  <c:v>3.6</c:v>
                </c:pt>
                <c:pt idx="16" formatCode="General">
                  <c:v>3.3</c:v>
                </c:pt>
                <c:pt idx="17">
                  <c:v>3.1</c:v>
                </c:pt>
                <c:pt idx="18">
                  <c:v>2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5979760"/>
        <c:axId val="555969968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tx>
                  <c:strRef>
                    <c:extLst>
                      <c:ext uri="{02D57815-91ED-43cb-92C2-25804820EDAC}">
                        <c15:formulaRef>
                          <c15:sqref>Data!$A$6</c15:sqref>
                        </c15:formulaRef>
                      </c:ext>
                    </c:extLst>
                    <c:strCache>
                      <c:ptCount val="1"/>
                      <c:pt idx="0">
                        <c:v>Fogyasztás </c:v>
                      </c:pt>
                    </c:strCache>
                  </c:strRef>
                </c:tx>
                <c:spPr>
                  <a:ln w="317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6"/>
                  <c:spPr>
                    <a:gradFill rotWithShape="1">
                      <a:gsLst>
                        <a:gs pos="0">
                          <a:schemeClr val="accent5">
                            <a:satMod val="103000"/>
                            <a:lumMod val="102000"/>
                            <a:tint val="94000"/>
                          </a:schemeClr>
                        </a:gs>
                        <a:gs pos="50000">
                          <a:schemeClr val="accent5">
                            <a:satMod val="110000"/>
                            <a:lumMod val="100000"/>
                            <a:shade val="100000"/>
                          </a:schemeClr>
                        </a:gs>
                        <a:gs pos="100000">
                          <a:schemeClr val="accent5">
                            <a:lumMod val="99000"/>
                            <a:satMod val="120000"/>
                            <a:shade val="78000"/>
                          </a:schemeClr>
                        </a:gs>
                      </a:gsLst>
                      <a:lin ang="5400000" scaled="0"/>
                    </a:gradFill>
                    <a:ln w="12700">
                      <a:solidFill>
                        <a:schemeClr val="lt2"/>
                      </a:solidFill>
                      <a:round/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Data!$B$1:$AD$1</c15:sqref>
                        </c15:formulaRef>
                      </c:ext>
                    </c:extLst>
                    <c:numCache>
                      <c:formatCode>General</c:formatCode>
                      <c:ptCount val="19"/>
                      <c:pt idx="0">
                        <c:v>2000</c:v>
                      </c:pt>
                      <c:pt idx="1">
                        <c:v>2001</c:v>
                      </c:pt>
                      <c:pt idx="2">
                        <c:v>2002</c:v>
                      </c:pt>
                      <c:pt idx="3">
                        <c:v>2003</c:v>
                      </c:pt>
                      <c:pt idx="4">
                        <c:v>2004</c:v>
                      </c:pt>
                      <c:pt idx="5">
                        <c:v>2005</c:v>
                      </c:pt>
                      <c:pt idx="6">
                        <c:v>2006</c:v>
                      </c:pt>
                      <c:pt idx="7">
                        <c:v>2007</c:v>
                      </c:pt>
                      <c:pt idx="8">
                        <c:v>2008</c:v>
                      </c:pt>
                      <c:pt idx="9">
                        <c:v>2009</c:v>
                      </c:pt>
                      <c:pt idx="10">
                        <c:v>2010</c:v>
                      </c:pt>
                      <c:pt idx="11">
                        <c:v>2011</c:v>
                      </c:pt>
                      <c:pt idx="12">
                        <c:v>2012</c:v>
                      </c:pt>
                      <c:pt idx="13">
                        <c:v>2013</c:v>
                      </c:pt>
                      <c:pt idx="14">
                        <c:v>2014</c:v>
                      </c:pt>
                      <c:pt idx="15">
                        <c:v>2015</c:v>
                      </c:pt>
                      <c:pt idx="16">
                        <c:v>2016</c:v>
                      </c:pt>
                      <c:pt idx="17">
                        <c:v>2017</c:v>
                      </c:pt>
                      <c:pt idx="18">
                        <c:v>201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B$6:$AD$6</c15:sqref>
                        </c15:formulaRef>
                      </c:ext>
                    </c:extLst>
                    <c:numCache>
                      <c:formatCode>#,##0.00</c:formatCode>
                      <c:ptCount val="19"/>
                      <c:pt idx="0">
                        <c:v>75.364096859400831</c:v>
                      </c:pt>
                      <c:pt idx="1">
                        <c:v>74.880488878665005</c:v>
                      </c:pt>
                      <c:pt idx="2">
                        <c:v>76.26394002289409</c:v>
                      </c:pt>
                      <c:pt idx="3">
                        <c:v>79.258056997830835</c:v>
                      </c:pt>
                      <c:pt idx="4">
                        <c:v>76.975067434901376</c:v>
                      </c:pt>
                      <c:pt idx="5">
                        <c:v>76.913148809070663</c:v>
                      </c:pt>
                      <c:pt idx="6">
                        <c:v>75.42565981989236</c:v>
                      </c:pt>
                      <c:pt idx="7">
                        <c:v>75.145198489874403</c:v>
                      </c:pt>
                      <c:pt idx="8">
                        <c:v>74.962277335721623</c:v>
                      </c:pt>
                      <c:pt idx="9">
                        <c:v>75.663072610898865</c:v>
                      </c:pt>
                      <c:pt idx="10">
                        <c:v>74.001101460957329</c:v>
                      </c:pt>
                      <c:pt idx="11">
                        <c:v>73.390960517150077</c:v>
                      </c:pt>
                      <c:pt idx="12">
                        <c:v>73.933118029479346</c:v>
                      </c:pt>
                      <c:pt idx="13">
                        <c:v>72.582168505607342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555979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69968"/>
        <c:crosses val="autoZero"/>
        <c:auto val="1"/>
        <c:lblAlgn val="ctr"/>
        <c:lblOffset val="100"/>
        <c:noMultiLvlLbl val="0"/>
      </c:catAx>
      <c:valAx>
        <c:axId val="555969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79760"/>
        <c:crosses val="autoZero"/>
        <c:crossBetween val="between"/>
      </c:valAx>
      <c:valAx>
        <c:axId val="555966704"/>
        <c:scaling>
          <c:orientation val="minMax"/>
        </c:scaling>
        <c:delete val="0"/>
        <c:axPos val="r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67248"/>
        <c:crosses val="max"/>
        <c:crossBetween val="between"/>
      </c:valAx>
      <c:catAx>
        <c:axId val="5559672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559667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4411590445037366"/>
          <c:w val="0.92573367708342258"/>
          <c:h val="0.155884095549626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59520908738938"/>
          <c:y val="5.9915709822484217E-2"/>
          <c:w val="0.85933869208938207"/>
          <c:h val="0.58158987848235832"/>
        </c:manualLayout>
      </c:layout>
      <c:lineChart>
        <c:grouping val="standard"/>
        <c:varyColors val="0"/>
        <c:ser>
          <c:idx val="0"/>
          <c:order val="0"/>
          <c:tx>
            <c:strRef>
              <c:f>Infláció!$A$11</c:f>
              <c:strCache>
                <c:ptCount val="1"/>
                <c:pt idx="0">
                  <c:v>Magyarország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1:$L$11</c:f>
              <c:numCache>
                <c:formatCode>0.0</c:formatCode>
                <c:ptCount val="9"/>
                <c:pt idx="0">
                  <c:v>72.400000000000006</c:v>
                </c:pt>
                <c:pt idx="1">
                  <c:v>81</c:v>
                </c:pt>
                <c:pt idx="2">
                  <c:v>78.5</c:v>
                </c:pt>
                <c:pt idx="3">
                  <c:v>77.099999999999994</c:v>
                </c:pt>
                <c:pt idx="4">
                  <c:v>77.7</c:v>
                </c:pt>
                <c:pt idx="5">
                  <c:v>74.900000000000006</c:v>
                </c:pt>
                <c:pt idx="6">
                  <c:v>73.900000000000006</c:v>
                </c:pt>
                <c:pt idx="7">
                  <c:v>71.3</c:v>
                </c:pt>
                <c:pt idx="8">
                  <c:v>68.90000000000000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nfláció!$A$12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2:$L$12</c:f>
              <c:numCache>
                <c:formatCode>0.0</c:formatCode>
                <c:ptCount val="9"/>
                <c:pt idx="0">
                  <c:v>31.3</c:v>
                </c:pt>
                <c:pt idx="1">
                  <c:v>41</c:v>
                </c:pt>
                <c:pt idx="2">
                  <c:v>45.5</c:v>
                </c:pt>
                <c:pt idx="3">
                  <c:v>44.1</c:v>
                </c:pt>
                <c:pt idx="4">
                  <c:v>44.4</c:v>
                </c:pt>
                <c:pt idx="5">
                  <c:v>40.9</c:v>
                </c:pt>
                <c:pt idx="6">
                  <c:v>40.9</c:v>
                </c:pt>
                <c:pt idx="7">
                  <c:v>40.700000000000003</c:v>
                </c:pt>
                <c:pt idx="8">
                  <c:v>40.20000000000000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Infláció!$A$13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3:$L$13</c:f>
              <c:numCache>
                <c:formatCode>0.0</c:formatCode>
                <c:ptCount val="9"/>
                <c:pt idx="0">
                  <c:v>0</c:v>
                </c:pt>
                <c:pt idx="1">
                  <c:v>54.8</c:v>
                </c:pt>
                <c:pt idx="2">
                  <c:v>54.4</c:v>
                </c:pt>
                <c:pt idx="3">
                  <c:v>55.7</c:v>
                </c:pt>
                <c:pt idx="4">
                  <c:v>48.6</c:v>
                </c:pt>
                <c:pt idx="5">
                  <c:v>51.7</c:v>
                </c:pt>
                <c:pt idx="6">
                  <c:v>51.6</c:v>
                </c:pt>
                <c:pt idx="7">
                  <c:v>50.7</c:v>
                </c:pt>
                <c:pt idx="8">
                  <c:v>49.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Infláció!$A$14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4:$L$14</c:f>
              <c:numCache>
                <c:formatCode>0.0</c:formatCode>
                <c:ptCount val="9"/>
                <c:pt idx="0">
                  <c:v>33.200000000000003</c:v>
                </c:pt>
                <c:pt idx="1">
                  <c:v>43.5</c:v>
                </c:pt>
                <c:pt idx="2">
                  <c:v>52.1</c:v>
                </c:pt>
                <c:pt idx="3">
                  <c:v>54.6</c:v>
                </c:pt>
                <c:pt idx="4">
                  <c:v>53.6</c:v>
                </c:pt>
                <c:pt idx="5">
                  <c:v>53.4</c:v>
                </c:pt>
                <c:pt idx="6">
                  <c:v>52.8</c:v>
                </c:pt>
                <c:pt idx="7">
                  <c:v>51.9</c:v>
                </c:pt>
                <c:pt idx="8">
                  <c:v>50.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Infláció!$A$15</c:f>
              <c:strCache>
                <c:ptCount val="1"/>
                <c:pt idx="0">
                  <c:v>Szlovéni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5:$L$15</c:f>
              <c:numCache>
                <c:formatCode>0.0</c:formatCode>
                <c:ptCount val="9"/>
                <c:pt idx="0">
                  <c:v>28.5</c:v>
                </c:pt>
                <c:pt idx="1">
                  <c:v>46.2</c:v>
                </c:pt>
                <c:pt idx="2">
                  <c:v>53.4</c:v>
                </c:pt>
                <c:pt idx="3">
                  <c:v>70.400000000000006</c:v>
                </c:pt>
                <c:pt idx="4">
                  <c:v>82.2</c:v>
                </c:pt>
                <c:pt idx="5">
                  <c:v>78.7</c:v>
                </c:pt>
                <c:pt idx="6">
                  <c:v>79.599999999999994</c:v>
                </c:pt>
                <c:pt idx="7">
                  <c:v>79.400000000000006</c:v>
                </c:pt>
                <c:pt idx="8">
                  <c:v>78.099999999999994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Infláció!$A$16</c:f>
              <c:strCache>
                <c:ptCount val="1"/>
                <c:pt idx="0">
                  <c:v>Románi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6:$L$16</c:f>
              <c:numCache>
                <c:formatCode>0.0</c:formatCode>
                <c:ptCount val="9"/>
                <c:pt idx="0">
                  <c:v>18.3</c:v>
                </c:pt>
                <c:pt idx="1">
                  <c:v>34.200000000000003</c:v>
                </c:pt>
                <c:pt idx="2">
                  <c:v>37.299999999999997</c:v>
                </c:pt>
                <c:pt idx="3">
                  <c:v>38</c:v>
                </c:pt>
                <c:pt idx="4">
                  <c:v>38.700000000000003</c:v>
                </c:pt>
                <c:pt idx="5">
                  <c:v>40.1</c:v>
                </c:pt>
                <c:pt idx="6">
                  <c:v>39.4</c:v>
                </c:pt>
                <c:pt idx="7">
                  <c:v>38.4</c:v>
                </c:pt>
                <c:pt idx="8">
                  <c:v>37.1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Infláció!$A$17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Infláció!$D$10:$L$10</c:f>
              <c:strCache>
                <c:ptCount val="9"/>
                <c:pt idx="0">
                  <c:v>2006-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strCache>
            </c:strRef>
          </c:cat>
          <c:val>
            <c:numRef>
              <c:f>Infláció!$D$17:$L$17</c:f>
              <c:numCache>
                <c:formatCode>0.0</c:formatCode>
                <c:ptCount val="9"/>
                <c:pt idx="0">
                  <c:v>40.700000000000003</c:v>
                </c:pt>
                <c:pt idx="1">
                  <c:v>59.9</c:v>
                </c:pt>
                <c:pt idx="2">
                  <c:v>64.400000000000006</c:v>
                </c:pt>
                <c:pt idx="3">
                  <c:v>75.7</c:v>
                </c:pt>
                <c:pt idx="4">
                  <c:v>81.400000000000006</c:v>
                </c:pt>
                <c:pt idx="5">
                  <c:v>89.8</c:v>
                </c:pt>
                <c:pt idx="6">
                  <c:v>92</c:v>
                </c:pt>
                <c:pt idx="7">
                  <c:v>92.5</c:v>
                </c:pt>
                <c:pt idx="8">
                  <c:v>92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5968880"/>
        <c:axId val="555969424"/>
      </c:lineChart>
      <c:catAx>
        <c:axId val="555968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69424"/>
        <c:crosses val="autoZero"/>
        <c:auto val="1"/>
        <c:lblAlgn val="ctr"/>
        <c:lblOffset val="100"/>
        <c:noMultiLvlLbl val="0"/>
      </c:catAx>
      <c:valAx>
        <c:axId val="555969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555968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400"/>
      </a:pPr>
      <a:endParaRPr lang="hu-HU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Microsoft PowerPoint programbeli  diagram]Munka1'!$A$2</c:f>
              <c:strCache>
                <c:ptCount val="1"/>
                <c:pt idx="0">
                  <c:v>1. Forintadósság </c:v>
                </c:pt>
              </c:strCache>
            </c:strRef>
          </c:tx>
          <c:spPr>
            <a:ln w="34925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[Microsoft PowerPoint programbeli  diagram]Munka1'!$B$1:$M$1</c:f>
              <c:numCache>
                <c:formatCode>yyyy/\ mmm</c:formatCode>
                <c:ptCount val="12"/>
                <c:pt idx="0">
                  <c:v>38017</c:v>
                </c:pt>
                <c:pt idx="1">
                  <c:v>38383</c:v>
                </c:pt>
                <c:pt idx="2">
                  <c:v>38748</c:v>
                </c:pt>
                <c:pt idx="3">
                  <c:v>39113</c:v>
                </c:pt>
                <c:pt idx="4">
                  <c:v>39478</c:v>
                </c:pt>
                <c:pt idx="5">
                  <c:v>39844</c:v>
                </c:pt>
                <c:pt idx="6">
                  <c:v>40209</c:v>
                </c:pt>
                <c:pt idx="7">
                  <c:v>40574</c:v>
                </c:pt>
                <c:pt idx="8">
                  <c:v>40939</c:v>
                </c:pt>
                <c:pt idx="9">
                  <c:v>41305</c:v>
                </c:pt>
                <c:pt idx="10">
                  <c:v>41670</c:v>
                </c:pt>
                <c:pt idx="11">
                  <c:v>42035</c:v>
                </c:pt>
              </c:numCache>
            </c:numRef>
          </c:cat>
          <c:val>
            <c:numRef>
              <c:f>'[Microsoft PowerPoint programbeli  diagram]Munka1'!$B$2:$M$2</c:f>
              <c:numCache>
                <c:formatCode>#\ ##0.0</c:formatCode>
                <c:ptCount val="12"/>
                <c:pt idx="0">
                  <c:v>8095.84</c:v>
                </c:pt>
                <c:pt idx="1">
                  <c:v>8783.4500000000007</c:v>
                </c:pt>
                <c:pt idx="2">
                  <c:v>9286.58</c:v>
                </c:pt>
                <c:pt idx="3">
                  <c:v>10711.61</c:v>
                </c:pt>
                <c:pt idx="4">
                  <c:v>11277.08</c:v>
                </c:pt>
                <c:pt idx="5">
                  <c:v>11238.64</c:v>
                </c:pt>
                <c:pt idx="6">
                  <c:v>10461.923754311756</c:v>
                </c:pt>
                <c:pt idx="7">
                  <c:v>11110.12123541453</c:v>
                </c:pt>
                <c:pt idx="8">
                  <c:v>10493.31</c:v>
                </c:pt>
                <c:pt idx="9">
                  <c:v>12446.3</c:v>
                </c:pt>
                <c:pt idx="10">
                  <c:v>13390.525189760232</c:v>
                </c:pt>
                <c:pt idx="11">
                  <c:v>15122.95766191548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Microsoft PowerPoint programbeli  diagram]Munka1'!$A$3</c:f>
              <c:strCache>
                <c:ptCount val="1"/>
                <c:pt idx="0">
                  <c:v>2. Devizaadósság*</c:v>
                </c:pt>
              </c:strCache>
            </c:strRef>
          </c:tx>
          <c:spPr>
            <a:ln w="34925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[Microsoft PowerPoint programbeli  diagram]Munka1'!$B$1:$M$1</c:f>
              <c:numCache>
                <c:formatCode>yyyy/\ mmm</c:formatCode>
                <c:ptCount val="12"/>
                <c:pt idx="0">
                  <c:v>38017</c:v>
                </c:pt>
                <c:pt idx="1">
                  <c:v>38383</c:v>
                </c:pt>
                <c:pt idx="2">
                  <c:v>38748</c:v>
                </c:pt>
                <c:pt idx="3">
                  <c:v>39113</c:v>
                </c:pt>
                <c:pt idx="4">
                  <c:v>39478</c:v>
                </c:pt>
                <c:pt idx="5">
                  <c:v>39844</c:v>
                </c:pt>
                <c:pt idx="6">
                  <c:v>40209</c:v>
                </c:pt>
                <c:pt idx="7">
                  <c:v>40574</c:v>
                </c:pt>
                <c:pt idx="8">
                  <c:v>40939</c:v>
                </c:pt>
                <c:pt idx="9">
                  <c:v>41305</c:v>
                </c:pt>
                <c:pt idx="10">
                  <c:v>41670</c:v>
                </c:pt>
                <c:pt idx="11">
                  <c:v>42035</c:v>
                </c:pt>
              </c:numCache>
            </c:numRef>
          </c:cat>
          <c:val>
            <c:numRef>
              <c:f>'[Microsoft PowerPoint programbeli  diagram]Munka1'!$B$3:$M$3</c:f>
              <c:numCache>
                <c:formatCode>#\ ##0.0</c:formatCode>
                <c:ptCount val="12"/>
                <c:pt idx="0">
                  <c:v>2919.17</c:v>
                </c:pt>
                <c:pt idx="1">
                  <c:v>2977.23</c:v>
                </c:pt>
                <c:pt idx="2">
                  <c:v>3835.25</c:v>
                </c:pt>
                <c:pt idx="3">
                  <c:v>4214.5600000000004</c:v>
                </c:pt>
                <c:pt idx="4">
                  <c:v>4557.42</c:v>
                </c:pt>
                <c:pt idx="5">
                  <c:v>7649.48</c:v>
                </c:pt>
                <c:pt idx="6">
                  <c:v>8890.1056420130517</c:v>
                </c:pt>
                <c:pt idx="7">
                  <c:v>8672.7883293452142</c:v>
                </c:pt>
                <c:pt idx="8">
                  <c:v>9587.33</c:v>
                </c:pt>
                <c:pt idx="9">
                  <c:v>8463.7429265683822</c:v>
                </c:pt>
                <c:pt idx="10">
                  <c:v>9340.5311004387695</c:v>
                </c:pt>
                <c:pt idx="11">
                  <c:v>8862.99207035725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Microsoft PowerPoint programbeli  diagram]Munka1'!$A$4</c:f>
              <c:strCache>
                <c:ptCount val="1"/>
                <c:pt idx="0">
                  <c:v>MINDÖSSZESEN</c:v>
                </c:pt>
              </c:strCache>
            </c:strRef>
          </c:tx>
          <c:spPr>
            <a:ln w="5715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[Microsoft PowerPoint programbeli  diagram]Munka1'!$B$1:$M$1</c:f>
              <c:numCache>
                <c:formatCode>yyyy/\ mmm</c:formatCode>
                <c:ptCount val="12"/>
                <c:pt idx="0">
                  <c:v>38017</c:v>
                </c:pt>
                <c:pt idx="1">
                  <c:v>38383</c:v>
                </c:pt>
                <c:pt idx="2">
                  <c:v>38748</c:v>
                </c:pt>
                <c:pt idx="3">
                  <c:v>39113</c:v>
                </c:pt>
                <c:pt idx="4">
                  <c:v>39478</c:v>
                </c:pt>
                <c:pt idx="5">
                  <c:v>39844</c:v>
                </c:pt>
                <c:pt idx="6">
                  <c:v>40209</c:v>
                </c:pt>
                <c:pt idx="7">
                  <c:v>40574</c:v>
                </c:pt>
                <c:pt idx="8">
                  <c:v>40939</c:v>
                </c:pt>
                <c:pt idx="9">
                  <c:v>41305</c:v>
                </c:pt>
                <c:pt idx="10">
                  <c:v>41670</c:v>
                </c:pt>
                <c:pt idx="11">
                  <c:v>42035</c:v>
                </c:pt>
              </c:numCache>
            </c:numRef>
          </c:cat>
          <c:val>
            <c:numRef>
              <c:f>'[Microsoft PowerPoint programbeli  diagram]Munka1'!$B$4:$M$4</c:f>
              <c:numCache>
                <c:formatCode>#\ ##0.0</c:formatCode>
                <c:ptCount val="12"/>
                <c:pt idx="0">
                  <c:v>11015.01</c:v>
                </c:pt>
                <c:pt idx="1">
                  <c:v>11760.69</c:v>
                </c:pt>
                <c:pt idx="2">
                  <c:v>13146.36</c:v>
                </c:pt>
                <c:pt idx="3">
                  <c:v>14950.84</c:v>
                </c:pt>
                <c:pt idx="4">
                  <c:v>15853.63</c:v>
                </c:pt>
                <c:pt idx="5">
                  <c:v>18973.88</c:v>
                </c:pt>
                <c:pt idx="6">
                  <c:v>19393.680677300967</c:v>
                </c:pt>
                <c:pt idx="7">
                  <c:v>19987.628879097792</c:v>
                </c:pt>
                <c:pt idx="8">
                  <c:v>20526.66</c:v>
                </c:pt>
                <c:pt idx="9">
                  <c:v>21187.800579432631</c:v>
                </c:pt>
                <c:pt idx="10">
                  <c:v>22844.159705692251</c:v>
                </c:pt>
                <c:pt idx="11">
                  <c:v>24735.3063324201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5973232"/>
        <c:axId val="555973776"/>
      </c:lineChart>
      <c:dateAx>
        <c:axId val="555973232"/>
        <c:scaling>
          <c:orientation val="minMax"/>
        </c:scaling>
        <c:delete val="0"/>
        <c:axPos val="b"/>
        <c:numFmt formatCode="yyyy/\ mmm" sourceLinked="1"/>
        <c:majorTickMark val="out"/>
        <c:minorTickMark val="none"/>
        <c:tickLblPos val="nextTo"/>
        <c:crossAx val="555973776"/>
        <c:crosses val="autoZero"/>
        <c:auto val="1"/>
        <c:lblOffset val="100"/>
        <c:baseTimeUnit val="years"/>
      </c:dateAx>
      <c:valAx>
        <c:axId val="555973776"/>
        <c:scaling>
          <c:orientation val="minMax"/>
        </c:scaling>
        <c:delete val="0"/>
        <c:axPos val="l"/>
        <c:majorGridlines/>
        <c:numFmt formatCode="#\ ##0.0" sourceLinked="1"/>
        <c:majorTickMark val="out"/>
        <c:minorTickMark val="none"/>
        <c:tickLblPos val="nextTo"/>
        <c:crossAx val="555973232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400"/>
      </a:pPr>
      <a:endParaRPr lang="hu-HU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8283919959973859E-2"/>
          <c:y val="3.5961283159298411E-2"/>
          <c:w val="0.90309591254464705"/>
          <c:h val="0.70368780184132329"/>
        </c:manualLayout>
      </c:layout>
      <c:areaChart>
        <c:grouping val="standard"/>
        <c:varyColors val="0"/>
        <c:ser>
          <c:idx val="2"/>
          <c:order val="0"/>
          <c:tx>
            <c:strRef>
              <c:f>gdp!$A$13</c:f>
              <c:strCache>
                <c:ptCount val="1"/>
                <c:pt idx="0">
                  <c:v>CEE max (ex Hun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c:spPr>
          <c:cat>
            <c:numRef>
              <c:f>gdp!$B$5:$BR$5</c:f>
              <c:numCache>
                <c:formatCode>m/d/yyyy</c:formatCode>
                <c:ptCount val="44"/>
                <c:pt idx="0">
                  <c:v>38807</c:v>
                </c:pt>
                <c:pt idx="1">
                  <c:v>38898</c:v>
                </c:pt>
                <c:pt idx="2">
                  <c:v>38990</c:v>
                </c:pt>
                <c:pt idx="3">
                  <c:v>39082</c:v>
                </c:pt>
                <c:pt idx="4">
                  <c:v>39172</c:v>
                </c:pt>
                <c:pt idx="5">
                  <c:v>39263</c:v>
                </c:pt>
                <c:pt idx="6">
                  <c:v>39355</c:v>
                </c:pt>
                <c:pt idx="7">
                  <c:v>39447</c:v>
                </c:pt>
                <c:pt idx="8">
                  <c:v>39538</c:v>
                </c:pt>
                <c:pt idx="9">
                  <c:v>39629</c:v>
                </c:pt>
                <c:pt idx="10">
                  <c:v>39721</c:v>
                </c:pt>
                <c:pt idx="11">
                  <c:v>39813</c:v>
                </c:pt>
                <c:pt idx="12">
                  <c:v>39903</c:v>
                </c:pt>
                <c:pt idx="13">
                  <c:v>39994</c:v>
                </c:pt>
                <c:pt idx="14">
                  <c:v>40086</c:v>
                </c:pt>
                <c:pt idx="15">
                  <c:v>40178</c:v>
                </c:pt>
                <c:pt idx="16">
                  <c:v>40268</c:v>
                </c:pt>
                <c:pt idx="17">
                  <c:v>40359</c:v>
                </c:pt>
                <c:pt idx="18">
                  <c:v>40451</c:v>
                </c:pt>
                <c:pt idx="19">
                  <c:v>40543</c:v>
                </c:pt>
                <c:pt idx="20">
                  <c:v>40633</c:v>
                </c:pt>
                <c:pt idx="21">
                  <c:v>40724</c:v>
                </c:pt>
                <c:pt idx="22">
                  <c:v>40816</c:v>
                </c:pt>
                <c:pt idx="23">
                  <c:v>40908</c:v>
                </c:pt>
                <c:pt idx="24">
                  <c:v>40999</c:v>
                </c:pt>
                <c:pt idx="25">
                  <c:v>41090</c:v>
                </c:pt>
                <c:pt idx="26">
                  <c:v>41182</c:v>
                </c:pt>
                <c:pt idx="27">
                  <c:v>41274</c:v>
                </c:pt>
                <c:pt idx="28">
                  <c:v>41364</c:v>
                </c:pt>
                <c:pt idx="29">
                  <c:v>41455</c:v>
                </c:pt>
                <c:pt idx="30">
                  <c:v>41547</c:v>
                </c:pt>
                <c:pt idx="31">
                  <c:v>41639</c:v>
                </c:pt>
                <c:pt idx="32">
                  <c:v>41729</c:v>
                </c:pt>
                <c:pt idx="33">
                  <c:v>41820</c:v>
                </c:pt>
                <c:pt idx="34">
                  <c:v>41912</c:v>
                </c:pt>
                <c:pt idx="35">
                  <c:v>42004</c:v>
                </c:pt>
                <c:pt idx="36">
                  <c:v>42094</c:v>
                </c:pt>
                <c:pt idx="37">
                  <c:v>42185</c:v>
                </c:pt>
                <c:pt idx="38">
                  <c:v>42277</c:v>
                </c:pt>
                <c:pt idx="39">
                  <c:v>42369</c:v>
                </c:pt>
                <c:pt idx="40">
                  <c:v>42460</c:v>
                </c:pt>
                <c:pt idx="41">
                  <c:v>42551</c:v>
                </c:pt>
                <c:pt idx="42">
                  <c:v>42643</c:v>
                </c:pt>
                <c:pt idx="43">
                  <c:v>42735</c:v>
                </c:pt>
              </c:numCache>
            </c:numRef>
          </c:cat>
          <c:val>
            <c:numRef>
              <c:f>gdp!$B$13:$BR$13</c:f>
              <c:numCache>
                <c:formatCode>#,##0.0</c:formatCode>
                <c:ptCount val="44"/>
                <c:pt idx="0">
                  <c:v>7.782418619925302</c:v>
                </c:pt>
                <c:pt idx="1">
                  <c:v>8.1667899071138361</c:v>
                </c:pt>
                <c:pt idx="2">
                  <c:v>8.2662882157170436</c:v>
                </c:pt>
                <c:pt idx="3">
                  <c:v>9.5336015496945379</c:v>
                </c:pt>
                <c:pt idx="4">
                  <c:v>9.3019642874481825</c:v>
                </c:pt>
                <c:pt idx="5">
                  <c:v>9.5381897951625216</c:v>
                </c:pt>
                <c:pt idx="6">
                  <c:v>10.03504716453525</c:v>
                </c:pt>
                <c:pt idx="7">
                  <c:v>13.691026827012021</c:v>
                </c:pt>
                <c:pt idx="8">
                  <c:v>9.6014774927126734</c:v>
                </c:pt>
                <c:pt idx="9">
                  <c:v>10.711841805133959</c:v>
                </c:pt>
                <c:pt idx="10">
                  <c:v>10.30280633871703</c:v>
                </c:pt>
                <c:pt idx="11">
                  <c:v>4.4614293793417747</c:v>
                </c:pt>
                <c:pt idx="12">
                  <c:v>2.3226624317396638</c:v>
                </c:pt>
                <c:pt idx="13">
                  <c:v>1.9217317980121829</c:v>
                </c:pt>
                <c:pt idx="14">
                  <c:v>1.8864138621045967</c:v>
                </c:pt>
                <c:pt idx="15">
                  <c:v>3.7647263340448101</c:v>
                </c:pt>
                <c:pt idx="16">
                  <c:v>5.736466420048969</c:v>
                </c:pt>
                <c:pt idx="17">
                  <c:v>5.2515286984224918</c:v>
                </c:pt>
                <c:pt idx="18">
                  <c:v>4.676738690074278</c:v>
                </c:pt>
                <c:pt idx="19">
                  <c:v>3.8364885240408597</c:v>
                </c:pt>
                <c:pt idx="20">
                  <c:v>4.7047265726886334</c:v>
                </c:pt>
                <c:pt idx="21">
                  <c:v>5.0386572304986554</c:v>
                </c:pt>
                <c:pt idx="22">
                  <c:v>4.5408339221154392</c:v>
                </c:pt>
                <c:pt idx="23">
                  <c:v>4.977924266404421</c:v>
                </c:pt>
                <c:pt idx="24">
                  <c:v>3.8053051464498111</c:v>
                </c:pt>
                <c:pt idx="25">
                  <c:v>2.2881561816720852</c:v>
                </c:pt>
                <c:pt idx="26">
                  <c:v>1.5222510099777153</c:v>
                </c:pt>
                <c:pt idx="27">
                  <c:v>0.74410007307743609</c:v>
                </c:pt>
                <c:pt idx="28">
                  <c:v>2.0039434514220966</c:v>
                </c:pt>
                <c:pt idx="29">
                  <c:v>1.6785175063471547</c:v>
                </c:pt>
                <c:pt idx="30">
                  <c:v>4.0359990594069917</c:v>
                </c:pt>
                <c:pt idx="31">
                  <c:v>5.0435012651422362</c:v>
                </c:pt>
                <c:pt idx="32">
                  <c:v>4.0129539788423818</c:v>
                </c:pt>
                <c:pt idx="33">
                  <c:v>3.3231475787069087</c:v>
                </c:pt>
                <c:pt idx="34">
                  <c:v>3.2762186960971551</c:v>
                </c:pt>
                <c:pt idx="35">
                  <c:v>3.1731487499304434</c:v>
                </c:pt>
                <c:pt idx="36">
                  <c:v>3.1798615624478321</c:v>
                </c:pt>
                <c:pt idx="37">
                  <c:v>3.1865743749652218</c:v>
                </c:pt>
                <c:pt idx="38">
                  <c:v>3.1932871874826114</c:v>
                </c:pt>
                <c:pt idx="39">
                  <c:v>3.2</c:v>
                </c:pt>
                <c:pt idx="40">
                  <c:v>3.2500000000000004</c:v>
                </c:pt>
                <c:pt idx="41">
                  <c:v>3.3</c:v>
                </c:pt>
                <c:pt idx="42">
                  <c:v>3.3499999999999996</c:v>
                </c:pt>
                <c:pt idx="43">
                  <c:v>3.4</c:v>
                </c:pt>
              </c:numCache>
            </c:numRef>
          </c:val>
        </c:ser>
        <c:ser>
          <c:idx val="1"/>
          <c:order val="1"/>
          <c:tx>
            <c:strRef>
              <c:f>gdp!$A$12</c:f>
              <c:strCache>
                <c:ptCount val="1"/>
                <c:pt idx="0">
                  <c:v>CEE min (ex Hun)</c:v>
                </c:pt>
              </c:strCache>
            </c:strRef>
          </c:tx>
          <c:spPr>
            <a:solidFill>
              <a:schemeClr val="bg1"/>
            </a:solidFill>
            <a:ln>
              <a:noFill/>
              <a:prstDash val="dashDot"/>
            </a:ln>
          </c:spPr>
          <c:cat>
            <c:numRef>
              <c:f>gdp!$B$5:$BR$5</c:f>
              <c:numCache>
                <c:formatCode>m/d/yyyy</c:formatCode>
                <c:ptCount val="44"/>
                <c:pt idx="0">
                  <c:v>38807</c:v>
                </c:pt>
                <c:pt idx="1">
                  <c:v>38898</c:v>
                </c:pt>
                <c:pt idx="2">
                  <c:v>38990</c:v>
                </c:pt>
                <c:pt idx="3">
                  <c:v>39082</c:v>
                </c:pt>
                <c:pt idx="4">
                  <c:v>39172</c:v>
                </c:pt>
                <c:pt idx="5">
                  <c:v>39263</c:v>
                </c:pt>
                <c:pt idx="6">
                  <c:v>39355</c:v>
                </c:pt>
                <c:pt idx="7">
                  <c:v>39447</c:v>
                </c:pt>
                <c:pt idx="8">
                  <c:v>39538</c:v>
                </c:pt>
                <c:pt idx="9">
                  <c:v>39629</c:v>
                </c:pt>
                <c:pt idx="10">
                  <c:v>39721</c:v>
                </c:pt>
                <c:pt idx="11">
                  <c:v>39813</c:v>
                </c:pt>
                <c:pt idx="12">
                  <c:v>39903</c:v>
                </c:pt>
                <c:pt idx="13">
                  <c:v>39994</c:v>
                </c:pt>
                <c:pt idx="14">
                  <c:v>40086</c:v>
                </c:pt>
                <c:pt idx="15">
                  <c:v>40178</c:v>
                </c:pt>
                <c:pt idx="16">
                  <c:v>40268</c:v>
                </c:pt>
                <c:pt idx="17">
                  <c:v>40359</c:v>
                </c:pt>
                <c:pt idx="18">
                  <c:v>40451</c:v>
                </c:pt>
                <c:pt idx="19">
                  <c:v>40543</c:v>
                </c:pt>
                <c:pt idx="20">
                  <c:v>40633</c:v>
                </c:pt>
                <c:pt idx="21">
                  <c:v>40724</c:v>
                </c:pt>
                <c:pt idx="22">
                  <c:v>40816</c:v>
                </c:pt>
                <c:pt idx="23">
                  <c:v>40908</c:v>
                </c:pt>
                <c:pt idx="24">
                  <c:v>40999</c:v>
                </c:pt>
                <c:pt idx="25">
                  <c:v>41090</c:v>
                </c:pt>
                <c:pt idx="26">
                  <c:v>41182</c:v>
                </c:pt>
                <c:pt idx="27">
                  <c:v>41274</c:v>
                </c:pt>
                <c:pt idx="28">
                  <c:v>41364</c:v>
                </c:pt>
                <c:pt idx="29">
                  <c:v>41455</c:v>
                </c:pt>
                <c:pt idx="30">
                  <c:v>41547</c:v>
                </c:pt>
                <c:pt idx="31">
                  <c:v>41639</c:v>
                </c:pt>
                <c:pt idx="32">
                  <c:v>41729</c:v>
                </c:pt>
                <c:pt idx="33">
                  <c:v>41820</c:v>
                </c:pt>
                <c:pt idx="34">
                  <c:v>41912</c:v>
                </c:pt>
                <c:pt idx="35">
                  <c:v>42004</c:v>
                </c:pt>
                <c:pt idx="36">
                  <c:v>42094</c:v>
                </c:pt>
                <c:pt idx="37">
                  <c:v>42185</c:v>
                </c:pt>
                <c:pt idx="38">
                  <c:v>42277</c:v>
                </c:pt>
                <c:pt idx="39">
                  <c:v>42369</c:v>
                </c:pt>
                <c:pt idx="40">
                  <c:v>42460</c:v>
                </c:pt>
                <c:pt idx="41">
                  <c:v>42551</c:v>
                </c:pt>
                <c:pt idx="42">
                  <c:v>42643</c:v>
                </c:pt>
                <c:pt idx="43">
                  <c:v>42735</c:v>
                </c:pt>
              </c:numCache>
            </c:numRef>
          </c:cat>
          <c:val>
            <c:numRef>
              <c:f>gdp!$B$12:$BR$12</c:f>
              <c:numCache>
                <c:formatCode>#,##0.0</c:formatCode>
                <c:ptCount val="44"/>
                <c:pt idx="0">
                  <c:v>5.0350319423542622</c:v>
                </c:pt>
                <c:pt idx="1">
                  <c:v>6.0202268689353522</c:v>
                </c:pt>
                <c:pt idx="2">
                  <c:v>6.3922176336478564</c:v>
                </c:pt>
                <c:pt idx="3">
                  <c:v>7.038331111729268</c:v>
                </c:pt>
                <c:pt idx="4">
                  <c:v>6.2186714052350434</c:v>
                </c:pt>
                <c:pt idx="5">
                  <c:v>5.2557042781226526</c:v>
                </c:pt>
                <c:pt idx="6">
                  <c:v>5.3524157310997245</c:v>
                </c:pt>
                <c:pt idx="7">
                  <c:v>5.2522589731666347</c:v>
                </c:pt>
                <c:pt idx="8">
                  <c:v>3.9442269124247975</c:v>
                </c:pt>
                <c:pt idx="9">
                  <c:v>3.9260381696341051</c:v>
                </c:pt>
                <c:pt idx="10">
                  <c:v>2.6177184035976797</c:v>
                </c:pt>
                <c:pt idx="11">
                  <c:v>-0.24442261910437857</c:v>
                </c:pt>
                <c:pt idx="12">
                  <c:v>-5.700016241676142</c:v>
                </c:pt>
                <c:pt idx="13">
                  <c:v>-8.2589780975625189</c:v>
                </c:pt>
                <c:pt idx="14">
                  <c:v>-8.1154690536156977</c:v>
                </c:pt>
                <c:pt idx="15">
                  <c:v>-7.7034701195775046</c:v>
                </c:pt>
                <c:pt idx="16">
                  <c:v>-1.5587140239938568</c:v>
                </c:pt>
                <c:pt idx="17">
                  <c:v>-0.23882840200909472</c:v>
                </c:pt>
                <c:pt idx="18">
                  <c:v>-1.5802816538908582</c:v>
                </c:pt>
                <c:pt idx="19">
                  <c:v>-0.31407170300002951</c:v>
                </c:pt>
                <c:pt idx="20">
                  <c:v>0.90078328981724187</c:v>
                </c:pt>
                <c:pt idx="21">
                  <c:v>0.43810661748791002</c:v>
                </c:pt>
                <c:pt idx="22">
                  <c:v>1.3989804289230134</c:v>
                </c:pt>
                <c:pt idx="23">
                  <c:v>0.40094777320769381</c:v>
                </c:pt>
                <c:pt idx="24">
                  <c:v>0.19940084035490191</c:v>
                </c:pt>
                <c:pt idx="25">
                  <c:v>-0.57544716377671001</c:v>
                </c:pt>
                <c:pt idx="26">
                  <c:v>-1.0958904109588996</c:v>
                </c:pt>
                <c:pt idx="27">
                  <c:v>-1.4464946528062739</c:v>
                </c:pt>
                <c:pt idx="28">
                  <c:v>-2.1667558204697124</c:v>
                </c:pt>
                <c:pt idx="29">
                  <c:v>-1.3062469622163619</c:v>
                </c:pt>
                <c:pt idx="30">
                  <c:v>-0.45889543739676686</c:v>
                </c:pt>
                <c:pt idx="31">
                  <c:v>1.1206498542283505</c:v>
                </c:pt>
                <c:pt idx="32">
                  <c:v>1.549564543667592</c:v>
                </c:pt>
                <c:pt idx="33">
                  <c:v>1.7574037441587143</c:v>
                </c:pt>
                <c:pt idx="34">
                  <c:v>1.5249458936097637</c:v>
                </c:pt>
                <c:pt idx="35">
                  <c:v>1.2661809436231186</c:v>
                </c:pt>
                <c:pt idx="36">
                  <c:v>1.3727324081059922</c:v>
                </c:pt>
                <c:pt idx="37">
                  <c:v>1.4792838725888657</c:v>
                </c:pt>
                <c:pt idx="38">
                  <c:v>1.5858353370717393</c:v>
                </c:pt>
                <c:pt idx="39">
                  <c:v>1.6923868015546129</c:v>
                </c:pt>
                <c:pt idx="40">
                  <c:v>1.768247470359019</c:v>
                </c:pt>
                <c:pt idx="41">
                  <c:v>1.8441081391634251</c:v>
                </c:pt>
                <c:pt idx="42">
                  <c:v>1.9199688079678312</c:v>
                </c:pt>
                <c:pt idx="43">
                  <c:v>1.99582947677223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5975408"/>
        <c:axId val="606175920"/>
      </c:areaChart>
      <c:lineChart>
        <c:grouping val="standard"/>
        <c:varyColors val="0"/>
        <c:ser>
          <c:idx val="4"/>
          <c:order val="3"/>
          <c:tx>
            <c:v>KKE átlag</c:v>
          </c:tx>
          <c:spPr>
            <a:ln w="76200">
              <a:solidFill>
                <a:srgbClr val="70AD47">
                  <a:lumMod val="60000"/>
                  <a:lumOff val="40000"/>
                </a:srgbClr>
              </a:solidFill>
            </a:ln>
          </c:spPr>
          <c:marker>
            <c:symbol val="none"/>
          </c:marker>
          <c:val>
            <c:numRef>
              <c:f>gdp!$B$11:$BR$11</c:f>
              <c:numCache>
                <c:formatCode>#,##0.0</c:formatCode>
                <c:ptCount val="44"/>
                <c:pt idx="0">
                  <c:v>6.5295849351323954</c:v>
                </c:pt>
                <c:pt idx="1">
                  <c:v>7.0704573282852845</c:v>
                </c:pt>
                <c:pt idx="2">
                  <c:v>7.369729042284777</c:v>
                </c:pt>
                <c:pt idx="3">
                  <c:v>7.7365859805513448</c:v>
                </c:pt>
                <c:pt idx="4">
                  <c:v>7.4589655839832982</c:v>
                </c:pt>
                <c:pt idx="5">
                  <c:v>7.3025083133159043</c:v>
                </c:pt>
                <c:pt idx="6">
                  <c:v>6.9665229915154727</c:v>
                </c:pt>
                <c:pt idx="7">
                  <c:v>8.1278351297056197</c:v>
                </c:pt>
                <c:pt idx="8">
                  <c:v>6.8795011475376935</c:v>
                </c:pt>
                <c:pt idx="9">
                  <c:v>6.4847578220459354</c:v>
                </c:pt>
                <c:pt idx="10">
                  <c:v>5.7299338251668352</c:v>
                </c:pt>
                <c:pt idx="11">
                  <c:v>2.095415970189145</c:v>
                </c:pt>
                <c:pt idx="12">
                  <c:v>-3.2883953536529149</c:v>
                </c:pt>
                <c:pt idx="13">
                  <c:v>-4.3814807101759028</c:v>
                </c:pt>
                <c:pt idx="14">
                  <c:v>-4.3491217562281168</c:v>
                </c:pt>
                <c:pt idx="15">
                  <c:v>-3.6903010658248192</c:v>
                </c:pt>
                <c:pt idx="16">
                  <c:v>1.3063145057885839</c:v>
                </c:pt>
                <c:pt idx="17">
                  <c:v>2.2574601692922491</c:v>
                </c:pt>
                <c:pt idx="18">
                  <c:v>2.1262886821059723</c:v>
                </c:pt>
                <c:pt idx="19">
                  <c:v>2.7376414564219571</c:v>
                </c:pt>
                <c:pt idx="20">
                  <c:v>3.0088393870240182</c:v>
                </c:pt>
                <c:pt idx="21">
                  <c:v>2.5669414126720818</c:v>
                </c:pt>
                <c:pt idx="22">
                  <c:v>2.5070136406430081</c:v>
                </c:pt>
                <c:pt idx="23">
                  <c:v>2.0627562043040593</c:v>
                </c:pt>
                <c:pt idx="24">
                  <c:v>1.5126272430353627</c:v>
                </c:pt>
                <c:pt idx="25">
                  <c:v>1.2369648364958641</c:v>
                </c:pt>
                <c:pt idx="26">
                  <c:v>0.35283029940112787</c:v>
                </c:pt>
                <c:pt idx="27">
                  <c:v>2.7690903789139298E-2</c:v>
                </c:pt>
                <c:pt idx="28">
                  <c:v>0.30612764480860699</c:v>
                </c:pt>
                <c:pt idx="29">
                  <c:v>0.60911702803355228</c:v>
                </c:pt>
                <c:pt idx="30">
                  <c:v>1.6399594889442604</c:v>
                </c:pt>
                <c:pt idx="31">
                  <c:v>2.5949069736969044</c:v>
                </c:pt>
                <c:pt idx="32">
                  <c:v>2.7188949661718365</c:v>
                </c:pt>
                <c:pt idx="33">
                  <c:v>2.3200817476994162</c:v>
                </c:pt>
                <c:pt idx="34">
                  <c:v>2.5339614903287044</c:v>
                </c:pt>
                <c:pt idx="35">
                  <c:v>2.1789209279651005</c:v>
                </c:pt>
                <c:pt idx="36">
                  <c:v>2.2827847354614299</c:v>
                </c:pt>
                <c:pt idx="37">
                  <c:v>2.3866485429577593</c:v>
                </c:pt>
                <c:pt idx="38">
                  <c:v>2.4905123504540887</c:v>
                </c:pt>
                <c:pt idx="39">
                  <c:v>2.5943761579504185</c:v>
                </c:pt>
                <c:pt idx="40">
                  <c:v>2.6472715519392684</c:v>
                </c:pt>
                <c:pt idx="41">
                  <c:v>2.7001669459281192</c:v>
                </c:pt>
                <c:pt idx="42">
                  <c:v>2.7530623399169696</c:v>
                </c:pt>
                <c:pt idx="43">
                  <c:v>2.80595773390581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5975408"/>
        <c:axId val="606175920"/>
      </c:lineChart>
      <c:lineChart>
        <c:grouping val="standard"/>
        <c:varyColors val="0"/>
        <c:ser>
          <c:idx val="3"/>
          <c:order val="2"/>
          <c:tx>
            <c:v>Magyarország</c:v>
          </c:tx>
          <c:spPr>
            <a:ln w="88900">
              <a:solidFill>
                <a:srgbClr val="FF0000"/>
              </a:solidFill>
            </a:ln>
          </c:spPr>
          <c:marker>
            <c:symbol val="none"/>
          </c:marker>
          <c:val>
            <c:numRef>
              <c:f>gdp!$B$14:$BR$14</c:f>
              <c:numCache>
                <c:formatCode>#,##0.0</c:formatCode>
                <c:ptCount val="44"/>
                <c:pt idx="0">
                  <c:v>4.7750200450277003</c:v>
                </c:pt>
                <c:pt idx="1">
                  <c:v>3.8640343469719785</c:v>
                </c:pt>
                <c:pt idx="2">
                  <c:v>3.8413292933932697</c:v>
                </c:pt>
                <c:pt idx="3">
                  <c:v>3.5736277365568725</c:v>
                </c:pt>
                <c:pt idx="4">
                  <c:v>1.7929561510458658</c:v>
                </c:pt>
                <c:pt idx="5">
                  <c:v>0.35217294558649304</c:v>
                </c:pt>
                <c:pt idx="6">
                  <c:v>1.1484328145550116E-2</c:v>
                </c:pt>
                <c:pt idx="7">
                  <c:v>-4.3007851041043654E-2</c:v>
                </c:pt>
                <c:pt idx="8">
                  <c:v>1.7966284546871547</c:v>
                </c:pt>
                <c:pt idx="9">
                  <c:v>2.331194166684436</c:v>
                </c:pt>
                <c:pt idx="10">
                  <c:v>1.2631310338961477</c:v>
                </c:pt>
                <c:pt idx="11">
                  <c:v>-2.3744642796881932</c:v>
                </c:pt>
                <c:pt idx="12">
                  <c:v>-6.5936220902821034</c:v>
                </c:pt>
                <c:pt idx="13">
                  <c:v>-7.5380653549016134</c:v>
                </c:pt>
                <c:pt idx="14">
                  <c:v>-7.3326333473330401</c:v>
                </c:pt>
                <c:pt idx="15">
                  <c:v>-4.3321018860587142</c:v>
                </c:pt>
                <c:pt idx="16">
                  <c:v>-0.63474904854645686</c:v>
                </c:pt>
                <c:pt idx="17">
                  <c:v>0.68817262452003369</c:v>
                </c:pt>
                <c:pt idx="18">
                  <c:v>1.529634111520517</c:v>
                </c:pt>
                <c:pt idx="19">
                  <c:v>1.53200637733788</c:v>
                </c:pt>
                <c:pt idx="20">
                  <c:v>2.4378840802528279</c:v>
                </c:pt>
                <c:pt idx="21">
                  <c:v>1.6614522489134753</c:v>
                </c:pt>
                <c:pt idx="22">
                  <c:v>1.504356831654885</c:v>
                </c:pt>
                <c:pt idx="23">
                  <c:v>1.6378930698706773</c:v>
                </c:pt>
                <c:pt idx="24">
                  <c:v>-0.9966208803264931</c:v>
                </c:pt>
                <c:pt idx="25">
                  <c:v>-1.3507623353923637</c:v>
                </c:pt>
                <c:pt idx="26">
                  <c:v>-1.4306069854784553</c:v>
                </c:pt>
                <c:pt idx="27">
                  <c:v>-2.3323398239693871</c:v>
                </c:pt>
                <c:pt idx="28">
                  <c:v>-0.21365342931485287</c:v>
                </c:pt>
                <c:pt idx="29">
                  <c:v>1.1112945912533423</c:v>
                </c:pt>
                <c:pt idx="30">
                  <c:v>2.1790633240085233</c:v>
                </c:pt>
                <c:pt idx="31">
                  <c:v>3.4568056140602321</c:v>
                </c:pt>
                <c:pt idx="32">
                  <c:v>3.6656494178582744</c:v>
                </c:pt>
                <c:pt idx="33">
                  <c:v>4.0352588577507342</c:v>
                </c:pt>
                <c:pt idx="34">
                  <c:v>3.3783518254103528</c:v>
                </c:pt>
                <c:pt idx="35">
                  <c:v>3.366425836408693</c:v>
                </c:pt>
                <c:pt idx="36">
                  <c:v>3.1748193773065196</c:v>
                </c:pt>
                <c:pt idx="37">
                  <c:v>2.9832129182043463</c:v>
                </c:pt>
                <c:pt idx="38">
                  <c:v>2.7916064591021734</c:v>
                </c:pt>
                <c:pt idx="39">
                  <c:v>2.6</c:v>
                </c:pt>
                <c:pt idx="40">
                  <c:v>2.4750000000000001</c:v>
                </c:pt>
                <c:pt idx="41">
                  <c:v>2.35</c:v>
                </c:pt>
                <c:pt idx="42">
                  <c:v>2.2250000000000001</c:v>
                </c:pt>
                <c:pt idx="43">
                  <c:v>2.1</c:v>
                </c:pt>
              </c:numCache>
            </c:numRef>
          </c:val>
          <c:smooth val="0"/>
        </c:ser>
        <c:ser>
          <c:idx val="0"/>
          <c:order val="4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5:$BR$15</c:f>
              <c:numCache>
                <c:formatCode>General</c:formatCode>
                <c:ptCount val="4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  <c:pt idx="30">
                  <c:v>12</c:v>
                </c:pt>
                <c:pt idx="31">
                  <c:v>12</c:v>
                </c:pt>
                <c:pt idx="32">
                  <c:v>12</c:v>
                </c:pt>
                <c:pt idx="33">
                  <c:v>12</c:v>
                </c:pt>
                <c:pt idx="34">
                  <c:v>12</c:v>
                </c:pt>
                <c:pt idx="35">
                  <c:v>12</c:v>
                </c:pt>
                <c:pt idx="36">
                  <c:v>12</c:v>
                </c:pt>
                <c:pt idx="37">
                  <c:v>12</c:v>
                </c:pt>
                <c:pt idx="38">
                  <c:v>12</c:v>
                </c:pt>
                <c:pt idx="39">
                  <c:v>12</c:v>
                </c:pt>
                <c:pt idx="40">
                  <c:v>12</c:v>
                </c:pt>
                <c:pt idx="41">
                  <c:v>12</c:v>
                </c:pt>
                <c:pt idx="42">
                  <c:v>12</c:v>
                </c:pt>
                <c:pt idx="43">
                  <c:v>12</c:v>
                </c:pt>
              </c:numCache>
            </c:numRef>
          </c:val>
          <c:smooth val="0"/>
        </c:ser>
        <c:ser>
          <c:idx val="5"/>
          <c:order val="5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6:$BR$16</c:f>
              <c:numCache>
                <c:formatCode>General</c:formatCode>
                <c:ptCount val="44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  <c:pt idx="30">
                  <c:v>9</c:v>
                </c:pt>
                <c:pt idx="31">
                  <c:v>9</c:v>
                </c:pt>
                <c:pt idx="32">
                  <c:v>9</c:v>
                </c:pt>
                <c:pt idx="33">
                  <c:v>9</c:v>
                </c:pt>
                <c:pt idx="34">
                  <c:v>9</c:v>
                </c:pt>
                <c:pt idx="35">
                  <c:v>9</c:v>
                </c:pt>
                <c:pt idx="36">
                  <c:v>9</c:v>
                </c:pt>
                <c:pt idx="37">
                  <c:v>9</c:v>
                </c:pt>
                <c:pt idx="38">
                  <c:v>9</c:v>
                </c:pt>
                <c:pt idx="39">
                  <c:v>9</c:v>
                </c:pt>
                <c:pt idx="40">
                  <c:v>9</c:v>
                </c:pt>
                <c:pt idx="41">
                  <c:v>9</c:v>
                </c:pt>
                <c:pt idx="42">
                  <c:v>9</c:v>
                </c:pt>
                <c:pt idx="43">
                  <c:v>9</c:v>
                </c:pt>
              </c:numCache>
            </c:numRef>
          </c:val>
          <c:smooth val="0"/>
        </c:ser>
        <c:ser>
          <c:idx val="6"/>
          <c:order val="6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7:$BR$17</c:f>
              <c:numCache>
                <c:formatCode>General</c:formatCode>
                <c:ptCount val="4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  <c:pt idx="30">
                  <c:v>6</c:v>
                </c:pt>
                <c:pt idx="31">
                  <c:v>6</c:v>
                </c:pt>
                <c:pt idx="32">
                  <c:v>6</c:v>
                </c:pt>
                <c:pt idx="33">
                  <c:v>6</c:v>
                </c:pt>
                <c:pt idx="34">
                  <c:v>6</c:v>
                </c:pt>
                <c:pt idx="35">
                  <c:v>6</c:v>
                </c:pt>
                <c:pt idx="36">
                  <c:v>6</c:v>
                </c:pt>
                <c:pt idx="37">
                  <c:v>6</c:v>
                </c:pt>
                <c:pt idx="38">
                  <c:v>6</c:v>
                </c:pt>
                <c:pt idx="39">
                  <c:v>6</c:v>
                </c:pt>
                <c:pt idx="40">
                  <c:v>6</c:v>
                </c:pt>
                <c:pt idx="41">
                  <c:v>6</c:v>
                </c:pt>
                <c:pt idx="42">
                  <c:v>6</c:v>
                </c:pt>
                <c:pt idx="43">
                  <c:v>6</c:v>
                </c:pt>
              </c:numCache>
            </c:numRef>
          </c:val>
          <c:smooth val="0"/>
        </c:ser>
        <c:ser>
          <c:idx val="7"/>
          <c:order val="7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8:$BR$18</c:f>
              <c:numCache>
                <c:formatCode>General</c:formatCode>
                <c:ptCount val="4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</c:numCache>
            </c:numRef>
          </c:val>
          <c:smooth val="0"/>
        </c:ser>
        <c:ser>
          <c:idx val="8"/>
          <c:order val="8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19:$BR$19</c:f>
              <c:numCache>
                <c:formatCode>General</c:formatCode>
                <c:ptCount val="4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</c:numCache>
            </c:numRef>
          </c:val>
          <c:smooth val="0"/>
        </c:ser>
        <c:ser>
          <c:idx val="9"/>
          <c:order val="9"/>
          <c:spPr>
            <a:ln w="12700">
              <a:solidFill>
                <a:schemeClr val="bg1">
                  <a:lumMod val="75000"/>
                </a:schemeClr>
              </a:solidFill>
              <a:prstDash val="sysDash"/>
            </a:ln>
          </c:spPr>
          <c:marker>
            <c:symbol val="none"/>
          </c:marker>
          <c:val>
            <c:numRef>
              <c:f>gdp!$B$20:$BR$20</c:f>
              <c:numCache>
                <c:formatCode>General</c:formatCode>
                <c:ptCount val="44"/>
                <c:pt idx="0">
                  <c:v>-3</c:v>
                </c:pt>
                <c:pt idx="1">
                  <c:v>-3</c:v>
                </c:pt>
                <c:pt idx="2">
                  <c:v>-3</c:v>
                </c:pt>
                <c:pt idx="3">
                  <c:v>-3</c:v>
                </c:pt>
                <c:pt idx="4">
                  <c:v>-3</c:v>
                </c:pt>
                <c:pt idx="5">
                  <c:v>-3</c:v>
                </c:pt>
                <c:pt idx="6">
                  <c:v>-3</c:v>
                </c:pt>
                <c:pt idx="7">
                  <c:v>-3</c:v>
                </c:pt>
                <c:pt idx="8">
                  <c:v>-3</c:v>
                </c:pt>
                <c:pt idx="9">
                  <c:v>-3</c:v>
                </c:pt>
                <c:pt idx="10">
                  <c:v>-3</c:v>
                </c:pt>
                <c:pt idx="11">
                  <c:v>-3</c:v>
                </c:pt>
                <c:pt idx="12">
                  <c:v>-3</c:v>
                </c:pt>
                <c:pt idx="13">
                  <c:v>-3</c:v>
                </c:pt>
                <c:pt idx="14">
                  <c:v>-3</c:v>
                </c:pt>
                <c:pt idx="15">
                  <c:v>-3</c:v>
                </c:pt>
                <c:pt idx="16">
                  <c:v>-3</c:v>
                </c:pt>
                <c:pt idx="17">
                  <c:v>-3</c:v>
                </c:pt>
                <c:pt idx="18">
                  <c:v>-3</c:v>
                </c:pt>
                <c:pt idx="19">
                  <c:v>-3</c:v>
                </c:pt>
                <c:pt idx="20">
                  <c:v>-3</c:v>
                </c:pt>
                <c:pt idx="21">
                  <c:v>-3</c:v>
                </c:pt>
                <c:pt idx="22">
                  <c:v>-3</c:v>
                </c:pt>
                <c:pt idx="23">
                  <c:v>-3</c:v>
                </c:pt>
                <c:pt idx="24">
                  <c:v>-3</c:v>
                </c:pt>
                <c:pt idx="25">
                  <c:v>-3</c:v>
                </c:pt>
                <c:pt idx="26">
                  <c:v>-3</c:v>
                </c:pt>
                <c:pt idx="27">
                  <c:v>-3</c:v>
                </c:pt>
                <c:pt idx="28">
                  <c:v>-3</c:v>
                </c:pt>
                <c:pt idx="29">
                  <c:v>-3</c:v>
                </c:pt>
                <c:pt idx="30">
                  <c:v>-3</c:v>
                </c:pt>
                <c:pt idx="31">
                  <c:v>-3</c:v>
                </c:pt>
                <c:pt idx="32">
                  <c:v>-3</c:v>
                </c:pt>
                <c:pt idx="33">
                  <c:v>-3</c:v>
                </c:pt>
                <c:pt idx="34">
                  <c:v>-3</c:v>
                </c:pt>
                <c:pt idx="35">
                  <c:v>-3</c:v>
                </c:pt>
                <c:pt idx="36">
                  <c:v>-3</c:v>
                </c:pt>
                <c:pt idx="37">
                  <c:v>-3</c:v>
                </c:pt>
                <c:pt idx="38">
                  <c:v>-3</c:v>
                </c:pt>
                <c:pt idx="39">
                  <c:v>-3</c:v>
                </c:pt>
                <c:pt idx="40">
                  <c:v>-3</c:v>
                </c:pt>
                <c:pt idx="41">
                  <c:v>-3</c:v>
                </c:pt>
                <c:pt idx="42">
                  <c:v>-3</c:v>
                </c:pt>
                <c:pt idx="43">
                  <c:v>-3</c:v>
                </c:pt>
              </c:numCache>
            </c:numRef>
          </c:val>
          <c:smooth val="0"/>
        </c:ser>
        <c:ser>
          <c:idx val="10"/>
          <c:order val="10"/>
          <c:spPr>
            <a:ln w="12700">
              <a:prstDash val="sysDash"/>
            </a:ln>
          </c:spPr>
          <c:marker>
            <c:symbol val="none"/>
          </c:marker>
          <c:val>
            <c:numRef>
              <c:f>gdp!$B$21:$BR$21</c:f>
              <c:numCache>
                <c:formatCode>General</c:formatCode>
                <c:ptCount val="44"/>
                <c:pt idx="0">
                  <c:v>-6</c:v>
                </c:pt>
                <c:pt idx="1">
                  <c:v>-6</c:v>
                </c:pt>
                <c:pt idx="2">
                  <c:v>-6</c:v>
                </c:pt>
                <c:pt idx="3">
                  <c:v>-6</c:v>
                </c:pt>
                <c:pt idx="4">
                  <c:v>-6</c:v>
                </c:pt>
                <c:pt idx="5">
                  <c:v>-6</c:v>
                </c:pt>
                <c:pt idx="6">
                  <c:v>-6</c:v>
                </c:pt>
                <c:pt idx="7">
                  <c:v>-6</c:v>
                </c:pt>
                <c:pt idx="8">
                  <c:v>-6</c:v>
                </c:pt>
                <c:pt idx="9">
                  <c:v>-6</c:v>
                </c:pt>
                <c:pt idx="10">
                  <c:v>-6</c:v>
                </c:pt>
                <c:pt idx="11">
                  <c:v>-6</c:v>
                </c:pt>
                <c:pt idx="12">
                  <c:v>-6</c:v>
                </c:pt>
                <c:pt idx="13">
                  <c:v>-6</c:v>
                </c:pt>
                <c:pt idx="14">
                  <c:v>-6</c:v>
                </c:pt>
                <c:pt idx="15">
                  <c:v>-6</c:v>
                </c:pt>
                <c:pt idx="16">
                  <c:v>-6</c:v>
                </c:pt>
                <c:pt idx="17">
                  <c:v>-6</c:v>
                </c:pt>
                <c:pt idx="18">
                  <c:v>-6</c:v>
                </c:pt>
                <c:pt idx="19">
                  <c:v>-6</c:v>
                </c:pt>
                <c:pt idx="20">
                  <c:v>-6</c:v>
                </c:pt>
                <c:pt idx="21">
                  <c:v>-6</c:v>
                </c:pt>
                <c:pt idx="22">
                  <c:v>-6</c:v>
                </c:pt>
                <c:pt idx="23">
                  <c:v>-6</c:v>
                </c:pt>
                <c:pt idx="24">
                  <c:v>-6</c:v>
                </c:pt>
                <c:pt idx="25">
                  <c:v>-6</c:v>
                </c:pt>
                <c:pt idx="26">
                  <c:v>-6</c:v>
                </c:pt>
                <c:pt idx="27">
                  <c:v>-6</c:v>
                </c:pt>
                <c:pt idx="28">
                  <c:v>-6</c:v>
                </c:pt>
                <c:pt idx="29">
                  <c:v>-6</c:v>
                </c:pt>
                <c:pt idx="30">
                  <c:v>-6</c:v>
                </c:pt>
                <c:pt idx="31">
                  <c:v>-6</c:v>
                </c:pt>
                <c:pt idx="32">
                  <c:v>-6</c:v>
                </c:pt>
                <c:pt idx="33">
                  <c:v>-6</c:v>
                </c:pt>
                <c:pt idx="34">
                  <c:v>-6</c:v>
                </c:pt>
                <c:pt idx="35">
                  <c:v>-6</c:v>
                </c:pt>
                <c:pt idx="36">
                  <c:v>-6</c:v>
                </c:pt>
                <c:pt idx="37">
                  <c:v>-6</c:v>
                </c:pt>
                <c:pt idx="38">
                  <c:v>-6</c:v>
                </c:pt>
                <c:pt idx="39">
                  <c:v>-6</c:v>
                </c:pt>
                <c:pt idx="40">
                  <c:v>-6</c:v>
                </c:pt>
                <c:pt idx="41">
                  <c:v>-6</c:v>
                </c:pt>
                <c:pt idx="42">
                  <c:v>-6</c:v>
                </c:pt>
                <c:pt idx="43">
                  <c:v>-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6178640"/>
        <c:axId val="606189520"/>
      </c:lineChart>
      <c:dateAx>
        <c:axId val="555975408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low"/>
        <c:txPr>
          <a:bodyPr rot="-540000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606175920"/>
        <c:crossesAt val="-30"/>
        <c:auto val="1"/>
        <c:lblOffset val="100"/>
        <c:baseTimeUnit val="months"/>
        <c:majorUnit val="12"/>
        <c:majorTimeUnit val="months"/>
        <c:minorUnit val="9"/>
        <c:minorTimeUnit val="days"/>
      </c:dateAx>
      <c:valAx>
        <c:axId val="606175920"/>
        <c:scaling>
          <c:orientation val="minMax"/>
          <c:max val="12"/>
          <c:min val="-9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555975408"/>
        <c:crosses val="autoZero"/>
        <c:crossBetween val="midCat"/>
        <c:majorUnit val="3"/>
      </c:valAx>
      <c:catAx>
        <c:axId val="606178640"/>
        <c:scaling>
          <c:orientation val="minMax"/>
        </c:scaling>
        <c:delete val="1"/>
        <c:axPos val="b"/>
        <c:majorTickMark val="out"/>
        <c:minorTickMark val="none"/>
        <c:tickLblPos val="nextTo"/>
        <c:crossAx val="606189520"/>
        <c:crosses val="autoZero"/>
        <c:auto val="1"/>
        <c:lblAlgn val="ctr"/>
        <c:lblOffset val="100"/>
        <c:noMultiLvlLbl val="0"/>
      </c:catAx>
      <c:valAx>
        <c:axId val="606189520"/>
        <c:scaling>
          <c:orientation val="minMax"/>
          <c:max val="12"/>
          <c:min val="-9"/>
        </c:scaling>
        <c:delete val="0"/>
        <c:axPos val="r"/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2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  <c:crossAx val="606178640"/>
        <c:crosses val="max"/>
        <c:crossBetween val="midCat"/>
        <c:majorUnit val="3"/>
      </c:valAx>
    </c:plotArea>
    <c:legend>
      <c:legendPos val="r"/>
      <c:legendEntry>
        <c:idx val="0"/>
        <c:delete val="1"/>
      </c:legendEntry>
      <c:legendEntry>
        <c:idx val="1"/>
        <c:delete val="1"/>
      </c:legendEntry>
      <c:legendEntry>
        <c:idx val="3"/>
        <c:txPr>
          <a:bodyPr/>
          <a:lstStyle/>
          <a:p>
            <a:pPr>
              <a:defRPr sz="2205" b="1" i="0" u="none" strike="noStrike" baseline="0">
                <a:solidFill>
                  <a:srgbClr val="FF0000"/>
                </a:solidFill>
                <a:latin typeface="Calibri"/>
                <a:ea typeface="Calibri"/>
                <a:cs typeface="Calibri"/>
              </a:defRPr>
            </a:pPr>
            <a:endParaRPr lang="hu-HU"/>
          </a:p>
        </c:txPr>
      </c:legendEntry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egendEntry>
        <c:idx val="10"/>
        <c:delete val="1"/>
      </c:legendEntry>
      <c:layout>
        <c:manualLayout>
          <c:xMode val="edge"/>
          <c:yMode val="edge"/>
          <c:x val="0.50952407236701369"/>
          <c:y val="6.290679142290935E-2"/>
          <c:w val="0.23491492527267843"/>
          <c:h val="0.13958589214602446"/>
        </c:manualLayout>
      </c:layout>
      <c:overlay val="0"/>
      <c:txPr>
        <a:bodyPr/>
        <a:lstStyle/>
        <a:p>
          <a:pPr>
            <a:defRPr sz="2205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ysClr val="window" lastClr="FFFFFF"/>
    </a:solidFill>
    <a:ln>
      <a:noFill/>
    </a:ln>
  </c:spPr>
  <c:txPr>
    <a:bodyPr/>
    <a:lstStyle/>
    <a:p>
      <a:pPr>
        <a:defRPr sz="2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hu-HU"/>
    </a:p>
  </c:tx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F85B2C-C168-45D2-BABE-1E4991AB3045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44775EDD-4D2E-4F25-9248-7A2EA902A229}">
      <dgm:prSet phldrT="[Text]" custT="1"/>
      <dgm:spPr>
        <a:solidFill>
          <a:schemeClr val="accent5">
            <a:lumMod val="50000"/>
          </a:schemeClr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threePt" dir="t"/>
        </a:scene3d>
        <a:sp3d extrusionH="50800"/>
      </dgm:spPr>
      <dgm:t>
        <a:bodyPr/>
        <a:lstStyle/>
        <a:p>
          <a:pPr algn="ctr"/>
          <a:r>
            <a:rPr lang="hu-HU" sz="2000" b="1" dirty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/>
              </a:solidFill>
              <a:latin typeface="Arial Narrow" pitchFamily="34" charset="0"/>
            </a:rPr>
            <a:t>2012 várakozás: felgyorsuló tőkekivonás, befagyó hitelezés</a:t>
          </a:r>
          <a:endParaRPr lang="hu-HU" sz="2000" b="1" dirty="0">
            <a:ln>
              <a:solidFill>
                <a:schemeClr val="bg1">
                  <a:lumMod val="75000"/>
                </a:schemeClr>
              </a:solidFill>
            </a:ln>
            <a:solidFill>
              <a:schemeClr val="bg1"/>
            </a:solidFill>
            <a:latin typeface="Arial Narrow" pitchFamily="34" charset="0"/>
          </a:endParaRPr>
        </a:p>
      </dgm:t>
    </dgm:pt>
    <dgm:pt modelId="{D9721911-BFD7-4DBF-9825-ADDB956FE5BD}" type="parTrans" cxnId="{34DA8B5F-7B52-4D3B-9758-76813D05A1E7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6D9DE2FD-DF35-4DED-8306-131C2C8DD522}" type="sibTrans" cxnId="{34DA8B5F-7B52-4D3B-9758-76813D05A1E7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B231F5ED-93D7-42B2-9C83-E016F6FC641E}">
      <dgm:prSet phldrT="[Text]" custT="1"/>
      <dgm:spPr>
        <a:solidFill>
          <a:schemeClr val="tx1"/>
        </a:solidFill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hu-HU" sz="2000" b="1" spc="0" dirty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/>
              </a:solidFill>
              <a:latin typeface="Arial Narrow" pitchFamily="34" charset="0"/>
            </a:rPr>
            <a:t>2012 várakozás: növekvő bizalomhiány</a:t>
          </a:r>
        </a:p>
      </dgm:t>
    </dgm:pt>
    <dgm:pt modelId="{C79D4027-23CF-45D8-99A3-1C2287D2D899}" type="parTrans" cxnId="{62E040D2-ABA8-47C8-A425-2ADA9CC3DBE1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D5436CFA-6F5C-42BE-BCDA-BFA32CC37AE3}" type="sibTrans" cxnId="{62E040D2-ABA8-47C8-A425-2ADA9CC3DBE1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02E89F56-E808-4B6E-96E6-6FAE8DCFE11A}">
      <dgm:prSet phldrT="[Text]" custT="1"/>
      <dgm:spPr>
        <a:solidFill>
          <a:schemeClr val="accent1">
            <a:lumMod val="50000"/>
          </a:schemeClr>
        </a:solidFill>
        <a:effectLst>
          <a:outerShdw blurRad="50800" dist="38100" dir="8100000" algn="tr" rotWithShape="0">
            <a:prstClr val="black">
              <a:alpha val="40000"/>
            </a:prstClr>
          </a:outerShdw>
        </a:effectLst>
        <a:scene3d>
          <a:camera prst="orthographicFront"/>
          <a:lightRig rig="threePt" dir="t"/>
        </a:scene3d>
        <a:sp3d extrusionH="50800"/>
      </dgm:spPr>
      <dgm:t>
        <a:bodyPr/>
        <a:lstStyle/>
        <a:p>
          <a:pPr algn="ctr"/>
          <a:r>
            <a:rPr lang="hu-HU" sz="2000" b="1" dirty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/>
              </a:solidFill>
              <a:latin typeface="Arial Narrow" pitchFamily="34" charset="0"/>
            </a:rPr>
            <a:t>2012 várakozás: gyengülő árfolyam</a:t>
          </a:r>
          <a:endParaRPr lang="hu-HU" sz="2000" b="1" dirty="0">
            <a:ln>
              <a:solidFill>
                <a:schemeClr val="bg1">
                  <a:lumMod val="75000"/>
                </a:schemeClr>
              </a:solidFill>
            </a:ln>
            <a:solidFill>
              <a:schemeClr val="bg1"/>
            </a:solidFill>
            <a:latin typeface="Arial Narrow" pitchFamily="34" charset="0"/>
          </a:endParaRPr>
        </a:p>
      </dgm:t>
    </dgm:pt>
    <dgm:pt modelId="{D62B8D39-C862-468A-8D1E-7BB67D1120A8}" type="parTrans" cxnId="{62B6201E-E1A1-4EC4-BED3-BAD25557743A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30E5C90A-8C2B-486D-824B-2050922223F3}" type="sibTrans" cxnId="{62B6201E-E1A1-4EC4-BED3-BAD25557743A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DBA0EB80-1B6A-4D1D-BE70-AC0078DE99F9}">
      <dgm:prSet phldrT="[Text]" custT="1"/>
      <dgm:spPr>
        <a:solidFill>
          <a:srgbClr val="002060"/>
        </a:solidFill>
        <a:effectLst>
          <a:outerShdw blurRad="63500" sx="102000" sy="102000" algn="ctr" rotWithShape="0">
            <a:prstClr val="black">
              <a:alpha val="40000"/>
            </a:prstClr>
          </a:outerShdw>
        </a:effectLst>
        <a:scene3d>
          <a:camera prst="orthographicFront"/>
          <a:lightRig rig="threePt" dir="t"/>
        </a:scene3d>
        <a:sp3d extrusionH="50800"/>
      </dgm:spPr>
      <dgm:t>
        <a:bodyPr/>
        <a:lstStyle/>
        <a:p>
          <a:pPr algn="ctr"/>
          <a:r>
            <a:rPr lang="hu-HU" sz="2000" b="1" dirty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/>
              </a:solidFill>
              <a:latin typeface="Arial Narrow" pitchFamily="34" charset="0"/>
            </a:rPr>
            <a:t>2012 várakozás: romló beruházási és növekedési kilátások</a:t>
          </a:r>
          <a:endParaRPr lang="hu-HU" sz="2000" b="1" dirty="0">
            <a:ln>
              <a:solidFill>
                <a:schemeClr val="bg1">
                  <a:lumMod val="75000"/>
                </a:schemeClr>
              </a:solidFill>
            </a:ln>
            <a:solidFill>
              <a:schemeClr val="bg1"/>
            </a:solidFill>
            <a:latin typeface="Arial Narrow" pitchFamily="34" charset="0"/>
          </a:endParaRPr>
        </a:p>
      </dgm:t>
    </dgm:pt>
    <dgm:pt modelId="{AAF76A1D-67FA-440B-AD23-5AE708A8C574}" type="parTrans" cxnId="{E1AD298D-6FD1-4DE7-8455-1CEB559AF62B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63539B93-E16F-4A20-8A03-441CC51581E6}" type="sibTrans" cxnId="{E1AD298D-6FD1-4DE7-8455-1CEB559AF62B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09FE1E63-5D88-43F4-9E37-FD70E24049EA}">
      <dgm:prSet phldrT="[Text]" custT="1"/>
      <dgm:spPr>
        <a:solidFill>
          <a:schemeClr val="accent5">
            <a:lumMod val="5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threePt" dir="t"/>
        </a:scene3d>
        <a:sp3d extrusionH="50800"/>
      </dgm:spPr>
      <dgm:t>
        <a:bodyPr/>
        <a:lstStyle/>
        <a:p>
          <a:pPr algn="ctr"/>
          <a:r>
            <a:rPr lang="hu-HU" sz="2000" b="1" dirty="0" smtClean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/>
              </a:solidFill>
              <a:latin typeface="Arial Narrow" pitchFamily="34" charset="0"/>
            </a:rPr>
            <a:t>2012 várakozás: növekvő finanszírozási költség</a:t>
          </a:r>
          <a:endParaRPr lang="hu-HU" sz="2000" b="1" dirty="0">
            <a:ln>
              <a:solidFill>
                <a:schemeClr val="bg1">
                  <a:lumMod val="75000"/>
                </a:schemeClr>
              </a:solidFill>
            </a:ln>
            <a:solidFill>
              <a:schemeClr val="bg1"/>
            </a:solidFill>
            <a:latin typeface="Arial Narrow" pitchFamily="34" charset="0"/>
          </a:endParaRPr>
        </a:p>
      </dgm:t>
    </dgm:pt>
    <dgm:pt modelId="{A41F8B5C-74BB-40C5-A302-56151EFB2152}" type="parTrans" cxnId="{A61730D6-7B22-426E-A256-27BB72D621D9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E1B62056-AD73-4B0D-B6DD-0AAE7013D7D4}" type="sibTrans" cxnId="{A61730D6-7B22-426E-A256-27BB72D621D9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051A8F2C-A647-4A25-AD92-53C9A6A23181}">
      <dgm:prSet phldrT="[Text]" custScaleX="201802" custScaleY="87323" custRadScaleRad="54376" custRadScaleInc="1895"/>
      <dgm:spPr>
        <a:solidFill>
          <a:schemeClr val="accent1">
            <a:hueOff val="0"/>
            <a:satOff val="0"/>
            <a:lumOff val="0"/>
            <a:alpha val="87000"/>
          </a:schemeClr>
        </a:solidFill>
        <a:scene3d>
          <a:camera prst="orthographicFront"/>
          <a:lightRig rig="threePt" dir="t"/>
        </a:scene3d>
        <a:sp3d extrusionH="50800"/>
      </dgm:spPr>
      <dgm:t>
        <a:bodyPr/>
        <a:lstStyle/>
        <a:p>
          <a:pPr algn="ctr"/>
          <a:endParaRPr lang="hu-HU" dirty="0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07C24CF5-ECCB-45A4-9A84-9BFC5D90D29A}" type="parTrans" cxnId="{2DD221F2-6D3B-4716-8D8C-1DC53E33A9FB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E56B74ED-96D3-49BB-BD00-1AFE346455F4}" type="sibTrans" cxnId="{2DD221F2-6D3B-4716-8D8C-1DC53E33A9FB}">
      <dgm:prSet/>
      <dgm:spPr/>
      <dgm:t>
        <a:bodyPr/>
        <a:lstStyle/>
        <a:p>
          <a:pPr algn="ctr"/>
          <a:endParaRPr lang="hu-HU">
            <a:ln>
              <a:solidFill>
                <a:schemeClr val="bg1">
                  <a:lumMod val="75000"/>
                </a:schemeClr>
              </a:solidFill>
            </a:ln>
          </a:endParaRPr>
        </a:p>
      </dgm:t>
    </dgm:pt>
    <dgm:pt modelId="{44724FAE-79C4-425B-BBA7-2F31D819FBDE}" type="pres">
      <dgm:prSet presAssocID="{86F85B2C-C168-45D2-BABE-1E4991AB3045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4C0F4573-BF0C-414E-9B51-87BFB0DBC83F}" type="pres">
      <dgm:prSet presAssocID="{86F85B2C-C168-45D2-BABE-1E4991AB3045}" presName="radial" presStyleCnt="0">
        <dgm:presLayoutVars>
          <dgm:animLvl val="ctr"/>
        </dgm:presLayoutVars>
      </dgm:prSet>
      <dgm:spPr>
        <a:scene3d>
          <a:camera prst="orthographicFront"/>
          <a:lightRig rig="threePt" dir="t"/>
        </a:scene3d>
        <a:sp3d extrusionH="50800"/>
      </dgm:spPr>
    </dgm:pt>
    <dgm:pt modelId="{5F44DACB-A167-4E42-BB08-70DAB4EC05EA}" type="pres">
      <dgm:prSet presAssocID="{44775EDD-4D2E-4F25-9248-7A2EA902A229}" presName="centerShape" presStyleLbl="vennNode1" presStyleIdx="0" presStyleCnt="5" custScaleX="101916" custScaleY="45429" custLinFactNeighborX="42" custLinFactNeighborY="-17097"/>
      <dgm:spPr/>
      <dgm:t>
        <a:bodyPr/>
        <a:lstStyle/>
        <a:p>
          <a:endParaRPr lang="hu-HU"/>
        </a:p>
      </dgm:t>
    </dgm:pt>
    <dgm:pt modelId="{20914D72-823D-4D81-AE6E-6247CA32EFBE}" type="pres">
      <dgm:prSet presAssocID="{B231F5ED-93D7-42B2-9C83-E016F6FC641E}" presName="node" presStyleLbl="vennNode1" presStyleIdx="1" presStyleCnt="5" custScaleX="205814" custScaleY="77767" custRadScaleRad="109981" custRadScaleInc="2110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CEE8144-56E6-46D7-837D-45793EBA5675}" type="pres">
      <dgm:prSet presAssocID="{02E89F56-E808-4B6E-96E6-6FAE8DCFE11A}" presName="node" presStyleLbl="vennNode1" presStyleIdx="2" presStyleCnt="5" custScaleX="200932" custScaleY="85915" custRadScaleRad="173677" custRadScaleInc="-15936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91CAB07-F3D6-4D1A-A078-D7B7FFA574FE}" type="pres">
      <dgm:prSet presAssocID="{DBA0EB80-1B6A-4D1D-BE70-AC0078DE99F9}" presName="node" presStyleLbl="vennNode1" presStyleIdx="3" presStyleCnt="5" custScaleX="224338" custScaleY="76054" custRadScaleRad="36947" custRadScaleInc="-5851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1783746-6FD3-4E20-8BF1-F947282A41BA}" type="pres">
      <dgm:prSet presAssocID="{09FE1E63-5D88-43F4-9E37-FD70E24049EA}" presName="node" presStyleLbl="vennNode1" presStyleIdx="4" presStyleCnt="5" custScaleX="195848" custScaleY="86546" custRadScaleRad="165089" custRadScaleInc="1477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A61730D6-7B22-426E-A256-27BB72D621D9}" srcId="{44775EDD-4D2E-4F25-9248-7A2EA902A229}" destId="{09FE1E63-5D88-43F4-9E37-FD70E24049EA}" srcOrd="3" destOrd="0" parTransId="{A41F8B5C-74BB-40C5-A302-56151EFB2152}" sibTransId="{E1B62056-AD73-4B0D-B6DD-0AAE7013D7D4}"/>
    <dgm:cxn modelId="{900C521C-3C19-4BB5-B201-5EDEAFE5CFFB}" type="presOf" srcId="{86F85B2C-C168-45D2-BABE-1E4991AB3045}" destId="{44724FAE-79C4-425B-BBA7-2F31D819FBDE}" srcOrd="0" destOrd="0" presId="urn:microsoft.com/office/officeart/2005/8/layout/radial3"/>
    <dgm:cxn modelId="{2DD221F2-6D3B-4716-8D8C-1DC53E33A9FB}" srcId="{86F85B2C-C168-45D2-BABE-1E4991AB3045}" destId="{051A8F2C-A647-4A25-AD92-53C9A6A23181}" srcOrd="1" destOrd="0" parTransId="{07C24CF5-ECCB-45A4-9A84-9BFC5D90D29A}" sibTransId="{E56B74ED-96D3-49BB-BD00-1AFE346455F4}"/>
    <dgm:cxn modelId="{2D6145FD-975D-4589-AF38-E751C251BE50}" type="presOf" srcId="{02E89F56-E808-4B6E-96E6-6FAE8DCFE11A}" destId="{3CEE8144-56E6-46D7-837D-45793EBA5675}" srcOrd="0" destOrd="0" presId="urn:microsoft.com/office/officeart/2005/8/layout/radial3"/>
    <dgm:cxn modelId="{9573E4D5-D705-418B-8509-5C8243CD997A}" type="presOf" srcId="{44775EDD-4D2E-4F25-9248-7A2EA902A229}" destId="{5F44DACB-A167-4E42-BB08-70DAB4EC05EA}" srcOrd="0" destOrd="0" presId="urn:microsoft.com/office/officeart/2005/8/layout/radial3"/>
    <dgm:cxn modelId="{34DA8B5F-7B52-4D3B-9758-76813D05A1E7}" srcId="{86F85B2C-C168-45D2-BABE-1E4991AB3045}" destId="{44775EDD-4D2E-4F25-9248-7A2EA902A229}" srcOrd="0" destOrd="0" parTransId="{D9721911-BFD7-4DBF-9825-ADDB956FE5BD}" sibTransId="{6D9DE2FD-DF35-4DED-8306-131C2C8DD522}"/>
    <dgm:cxn modelId="{62E040D2-ABA8-47C8-A425-2ADA9CC3DBE1}" srcId="{44775EDD-4D2E-4F25-9248-7A2EA902A229}" destId="{B231F5ED-93D7-42B2-9C83-E016F6FC641E}" srcOrd="0" destOrd="0" parTransId="{C79D4027-23CF-45D8-99A3-1C2287D2D899}" sibTransId="{D5436CFA-6F5C-42BE-BCDA-BFA32CC37AE3}"/>
    <dgm:cxn modelId="{E1AD298D-6FD1-4DE7-8455-1CEB559AF62B}" srcId="{44775EDD-4D2E-4F25-9248-7A2EA902A229}" destId="{DBA0EB80-1B6A-4D1D-BE70-AC0078DE99F9}" srcOrd="2" destOrd="0" parTransId="{AAF76A1D-67FA-440B-AD23-5AE708A8C574}" sibTransId="{63539B93-E16F-4A20-8A03-441CC51581E6}"/>
    <dgm:cxn modelId="{799267BA-4040-4874-89D8-EEB39D099887}" type="presOf" srcId="{B231F5ED-93D7-42B2-9C83-E016F6FC641E}" destId="{20914D72-823D-4D81-AE6E-6247CA32EFBE}" srcOrd="0" destOrd="0" presId="urn:microsoft.com/office/officeart/2005/8/layout/radial3"/>
    <dgm:cxn modelId="{5772B7A3-BF64-4079-A8AF-BECF8F9B2B10}" type="presOf" srcId="{DBA0EB80-1B6A-4D1D-BE70-AC0078DE99F9}" destId="{B91CAB07-F3D6-4D1A-A078-D7B7FFA574FE}" srcOrd="0" destOrd="0" presId="urn:microsoft.com/office/officeart/2005/8/layout/radial3"/>
    <dgm:cxn modelId="{742EAF8E-E0F8-4B13-9033-2887399DA601}" type="presOf" srcId="{09FE1E63-5D88-43F4-9E37-FD70E24049EA}" destId="{81783746-6FD3-4E20-8BF1-F947282A41BA}" srcOrd="0" destOrd="0" presId="urn:microsoft.com/office/officeart/2005/8/layout/radial3"/>
    <dgm:cxn modelId="{62B6201E-E1A1-4EC4-BED3-BAD25557743A}" srcId="{44775EDD-4D2E-4F25-9248-7A2EA902A229}" destId="{02E89F56-E808-4B6E-96E6-6FAE8DCFE11A}" srcOrd="1" destOrd="0" parTransId="{D62B8D39-C862-468A-8D1E-7BB67D1120A8}" sibTransId="{30E5C90A-8C2B-486D-824B-2050922223F3}"/>
    <dgm:cxn modelId="{3175231C-132A-40D2-936E-8BC96323D47D}" type="presParOf" srcId="{44724FAE-79C4-425B-BBA7-2F31D819FBDE}" destId="{4C0F4573-BF0C-414E-9B51-87BFB0DBC83F}" srcOrd="0" destOrd="0" presId="urn:microsoft.com/office/officeart/2005/8/layout/radial3"/>
    <dgm:cxn modelId="{73FC4990-7AC2-435C-8532-F023A5F9DA15}" type="presParOf" srcId="{4C0F4573-BF0C-414E-9B51-87BFB0DBC83F}" destId="{5F44DACB-A167-4E42-BB08-70DAB4EC05EA}" srcOrd="0" destOrd="0" presId="urn:microsoft.com/office/officeart/2005/8/layout/radial3"/>
    <dgm:cxn modelId="{C4D9EDFD-CEE5-498C-9C46-DC8062960933}" type="presParOf" srcId="{4C0F4573-BF0C-414E-9B51-87BFB0DBC83F}" destId="{20914D72-823D-4D81-AE6E-6247CA32EFBE}" srcOrd="1" destOrd="0" presId="urn:microsoft.com/office/officeart/2005/8/layout/radial3"/>
    <dgm:cxn modelId="{6E164FDE-3FF9-4407-AAB7-27ADD7A3E8FA}" type="presParOf" srcId="{4C0F4573-BF0C-414E-9B51-87BFB0DBC83F}" destId="{3CEE8144-56E6-46D7-837D-45793EBA5675}" srcOrd="2" destOrd="0" presId="urn:microsoft.com/office/officeart/2005/8/layout/radial3"/>
    <dgm:cxn modelId="{5E9A20BE-AE16-4882-BA2E-796E943CB369}" type="presParOf" srcId="{4C0F4573-BF0C-414E-9B51-87BFB0DBC83F}" destId="{B91CAB07-F3D6-4D1A-A078-D7B7FFA574FE}" srcOrd="3" destOrd="0" presId="urn:microsoft.com/office/officeart/2005/8/layout/radial3"/>
    <dgm:cxn modelId="{C3E247B4-DEDD-4177-B5E7-A054209FCF21}" type="presParOf" srcId="{4C0F4573-BF0C-414E-9B51-87BFB0DBC83F}" destId="{81783746-6FD3-4E20-8BF1-F947282A41BA}" srcOrd="4" destOrd="0" presId="urn:microsoft.com/office/officeart/2005/8/layout/radial3"/>
  </dgm:cxnLst>
  <dgm:bg>
    <a:gradFill>
      <a:gsLst>
        <a:gs pos="0">
          <a:schemeClr val="bg1">
            <a:lumMod val="65000"/>
          </a:schemeClr>
        </a:gs>
        <a:gs pos="74000">
          <a:srgbClr val="A5A5A5">
            <a:lumMod val="45000"/>
            <a:lumOff val="55000"/>
          </a:srgbClr>
        </a:gs>
        <a:gs pos="83000">
          <a:srgbClr val="A5A5A5">
            <a:lumMod val="45000"/>
            <a:lumOff val="55000"/>
          </a:srgbClr>
        </a:gs>
        <a:gs pos="100000">
          <a:srgbClr val="A5A5A5">
            <a:lumMod val="30000"/>
            <a:lumOff val="70000"/>
          </a:srgbClr>
        </a:gs>
      </a:gsLst>
      <a:lin ang="5400000" scaled="1"/>
    </a:gra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543</cdr:x>
      <cdr:y>0.04942</cdr:y>
    </cdr:from>
    <cdr:to>
      <cdr:x>0.57055</cdr:x>
      <cdr:y>0.10633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2564841" y="300708"/>
          <a:ext cx="2748183" cy="3462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hu-HU" sz="2400">
              <a:solidFill>
                <a:schemeClr val="accent6">
                  <a:lumMod val="75000"/>
                </a:schemeClr>
              </a:solidFill>
            </a:rPr>
            <a:t>KKE* Max.</a:t>
          </a:r>
        </a:p>
      </cdr:txBody>
    </cdr:sp>
  </cdr:relSizeAnchor>
  <cdr:relSizeAnchor xmlns:cdr="http://schemas.openxmlformats.org/drawingml/2006/chartDrawing">
    <cdr:from>
      <cdr:x>0.36523</cdr:x>
      <cdr:y>0.62841</cdr:y>
    </cdr:from>
    <cdr:to>
      <cdr:x>0.63366</cdr:x>
      <cdr:y>0.68557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4289385" y="3230242"/>
          <a:ext cx="3152529" cy="2938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hu-HU" sz="2400" dirty="0">
              <a:solidFill>
                <a:schemeClr val="accent6">
                  <a:lumMod val="75000"/>
                </a:schemeClr>
              </a:solidFill>
            </a:rPr>
            <a:t>KKE* Min.</a:t>
          </a:r>
          <a:r>
            <a:rPr lang="hu-HU" sz="2400" baseline="0" dirty="0">
              <a:solidFill>
                <a:schemeClr val="accent6">
                  <a:lumMod val="75000"/>
                </a:schemeClr>
              </a:solidFill>
            </a:rPr>
            <a:t> </a:t>
          </a:r>
          <a:endParaRPr lang="hu-HU" sz="2400" dirty="0">
            <a:solidFill>
              <a:schemeClr val="accent6">
                <a:lumMod val="75000"/>
              </a:schemeClr>
            </a:solidFill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3703</cdr:x>
      <cdr:y>0.23357</cdr:y>
    </cdr:from>
    <cdr:to>
      <cdr:x>0.51492</cdr:x>
      <cdr:y>0.45999</cdr:y>
    </cdr:to>
    <cdr:cxnSp macro="">
      <cdr:nvCxnSpPr>
        <cdr:cNvPr id="3" name="Egyenes összekötő nyíllal 2"/>
        <cdr:cNvCxnSpPr/>
      </cdr:nvCxnSpPr>
      <cdr:spPr>
        <a:xfrm xmlns:a="http://schemas.openxmlformats.org/drawingml/2006/main" flipV="1">
          <a:off x="1331430" y="1084714"/>
          <a:ext cx="1560916" cy="1051495"/>
        </a:xfrm>
        <a:prstGeom xmlns:a="http://schemas.openxmlformats.org/drawingml/2006/main" prst="straightConnector1">
          <a:avLst/>
        </a:prstGeom>
        <a:ln xmlns:a="http://schemas.openxmlformats.org/drawingml/2006/main" w="123825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9801</cdr:x>
      <cdr:y>0.11075</cdr:y>
    </cdr:from>
    <cdr:to>
      <cdr:x>0.93363</cdr:x>
      <cdr:y>0.24939</cdr:y>
    </cdr:to>
    <cdr:cxnSp macro="">
      <cdr:nvCxnSpPr>
        <cdr:cNvPr id="8" name="Egyenes összekötő nyíllal 7"/>
        <cdr:cNvCxnSpPr/>
      </cdr:nvCxnSpPr>
      <cdr:spPr>
        <a:xfrm xmlns:a="http://schemas.openxmlformats.org/drawingml/2006/main">
          <a:off x="3359021" y="514341"/>
          <a:ext cx="1885187" cy="643813"/>
        </a:xfrm>
        <a:prstGeom xmlns:a="http://schemas.openxmlformats.org/drawingml/2006/main" prst="straightConnector1">
          <a:avLst/>
        </a:prstGeom>
        <a:ln xmlns:a="http://schemas.openxmlformats.org/drawingml/2006/main" w="123825">
          <a:solidFill>
            <a:srgbClr val="92D05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1251</cdr:x>
      <cdr:y>0.65044</cdr:y>
    </cdr:from>
    <cdr:to>
      <cdr:x>0.27402</cdr:x>
      <cdr:y>0.85346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636973" y="292963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7007</cdr:x>
      <cdr:y>0</cdr:y>
    </cdr:from>
    <cdr:to>
      <cdr:x>0.96938</cdr:x>
      <cdr:y>0.76548</cdr:y>
    </cdr:to>
    <cdr:sp macro="" textlink="">
      <cdr:nvSpPr>
        <cdr:cNvPr id="2" name="Lekerekített téglalap 1"/>
        <cdr:cNvSpPr/>
      </cdr:nvSpPr>
      <cdr:spPr>
        <a:xfrm xmlns:a="http://schemas.openxmlformats.org/drawingml/2006/main">
          <a:off x="3309198" y="0"/>
          <a:ext cx="2317953" cy="3738062"/>
        </a:xfrm>
        <a:prstGeom xmlns:a="http://schemas.openxmlformats.org/drawingml/2006/main" prst="roundRect">
          <a:avLst/>
        </a:prstGeom>
        <a:solidFill xmlns:a="http://schemas.openxmlformats.org/drawingml/2006/main">
          <a:srgbClr val="92D050">
            <a:alpha val="46000"/>
          </a:srgb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hu-H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u-HU" dirty="0" smtClean="0">
              <a:solidFill>
                <a:schemeClr val="tx1"/>
              </a:solidFill>
            </a:rPr>
            <a:t>Előrejelzés</a:t>
          </a:r>
          <a:endParaRPr lang="hu-HU" dirty="0">
            <a:solidFill>
              <a:schemeClr val="tx1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0891</cdr:x>
      <cdr:y>0.00182</cdr:y>
    </cdr:from>
    <cdr:to>
      <cdr:x>0.88559</cdr:x>
      <cdr:y>0.91276</cdr:y>
    </cdr:to>
    <cdr:sp macro="" textlink="">
      <cdr:nvSpPr>
        <cdr:cNvPr id="2" name="Lekerekített téglalap 1"/>
        <cdr:cNvSpPr/>
      </cdr:nvSpPr>
      <cdr:spPr>
        <a:xfrm xmlns:a="http://schemas.openxmlformats.org/drawingml/2006/main">
          <a:off x="4105692" y="8896"/>
          <a:ext cx="1023253" cy="4444871"/>
        </a:xfrm>
        <a:prstGeom xmlns:a="http://schemas.openxmlformats.org/drawingml/2006/main" prst="roundRect">
          <a:avLst/>
        </a:prstGeom>
        <a:solidFill xmlns:a="http://schemas.openxmlformats.org/drawingml/2006/main">
          <a:srgbClr val="92D050">
            <a:alpha val="46000"/>
          </a:srgbClr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hu-HU" dirty="0" smtClean="0">
              <a:solidFill>
                <a:schemeClr val="tx1"/>
              </a:solidFill>
            </a:rPr>
            <a:t>Előrejelzés</a:t>
          </a:r>
          <a:endParaRPr lang="hu-HU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41194</cdr:x>
      <cdr:y>0.23347</cdr:y>
    </cdr:from>
    <cdr:to>
      <cdr:x>0.69796</cdr:x>
      <cdr:y>0.31495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2385745" y="1139200"/>
          <a:ext cx="1656522" cy="3975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dirty="0" smtClean="0"/>
            <a:t>Államadósság állomány</a:t>
          </a:r>
          <a:endParaRPr lang="hu-HU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8232</cdr:x>
      <cdr:y>0.18483</cdr:y>
    </cdr:from>
    <cdr:to>
      <cdr:x>0.20398</cdr:x>
      <cdr:y>0.21122</cdr:y>
    </cdr:to>
    <cdr:sp macro="" textlink="">
      <cdr:nvSpPr>
        <cdr:cNvPr id="2" name="Ellipszis 1"/>
        <cdr:cNvSpPr/>
      </cdr:nvSpPr>
      <cdr:spPr>
        <a:xfrm xmlns:a="http://schemas.openxmlformats.org/drawingml/2006/main">
          <a:off x="1026594" y="883241"/>
          <a:ext cx="121920" cy="126128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38100">
          <a:solidFill>
            <a:srgbClr val="C00000"/>
          </a:solidFill>
          <a:prstDash val="sysDot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hu-HU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72673</cdr:x>
      <cdr:y>0.11256</cdr:y>
    </cdr:from>
    <cdr:to>
      <cdr:x>0.96436</cdr:x>
      <cdr:y>0.21044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3495676" y="328614"/>
          <a:ext cx="1143000" cy="2857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hu-HU" sz="1100"/>
        </a:p>
      </cdr:txBody>
    </cdr:sp>
  </cdr:relSizeAnchor>
  <cdr:relSizeAnchor xmlns:cdr="http://schemas.openxmlformats.org/drawingml/2006/chartDrawing">
    <cdr:from>
      <cdr:x>0.79604</cdr:x>
      <cdr:y>0.03862</cdr:y>
    </cdr:from>
    <cdr:to>
      <cdr:x>1</cdr:x>
      <cdr:y>0.11366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4655253" y="199034"/>
          <a:ext cx="1192761" cy="3866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100" dirty="0"/>
            <a:t>Milliárd Ft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7543</cdr:x>
      <cdr:y>0.04942</cdr:y>
    </cdr:from>
    <cdr:to>
      <cdr:x>0.57055</cdr:x>
      <cdr:y>0.10633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2564841" y="300708"/>
          <a:ext cx="2748183" cy="3462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hu-HU" sz="2400">
              <a:solidFill>
                <a:schemeClr val="accent6">
                  <a:lumMod val="75000"/>
                </a:schemeClr>
              </a:solidFill>
            </a:rPr>
            <a:t>KKE* Max.</a:t>
          </a:r>
        </a:p>
      </cdr:txBody>
    </cdr:sp>
  </cdr:relSizeAnchor>
  <cdr:relSizeAnchor xmlns:cdr="http://schemas.openxmlformats.org/drawingml/2006/chartDrawing">
    <cdr:from>
      <cdr:x>0.36523</cdr:x>
      <cdr:y>0.62841</cdr:y>
    </cdr:from>
    <cdr:to>
      <cdr:x>0.63366</cdr:x>
      <cdr:y>0.68557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4289385" y="3230242"/>
          <a:ext cx="3152529" cy="2938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hu-HU" sz="2400" dirty="0">
              <a:solidFill>
                <a:schemeClr val="accent6">
                  <a:lumMod val="75000"/>
                </a:schemeClr>
              </a:solidFill>
            </a:rPr>
            <a:t>KKE* Min.</a:t>
          </a:r>
          <a:r>
            <a:rPr lang="hu-HU" sz="2400" baseline="0" dirty="0">
              <a:solidFill>
                <a:schemeClr val="accent6">
                  <a:lumMod val="75000"/>
                </a:schemeClr>
              </a:solidFill>
            </a:rPr>
            <a:t> </a:t>
          </a:r>
          <a:endParaRPr lang="hu-HU" sz="2400" dirty="0">
            <a:solidFill>
              <a:schemeClr val="accent6">
                <a:lumMod val="75000"/>
              </a:schemeClr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7663</cdr:x>
      <cdr:y>0.02548</cdr:y>
    </cdr:from>
    <cdr:to>
      <cdr:x>0.57175</cdr:x>
      <cdr:y>0.08239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2576047" y="155031"/>
          <a:ext cx="2748183" cy="3462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hu-HU" sz="2400">
              <a:solidFill>
                <a:schemeClr val="accent6">
                  <a:lumMod val="75000"/>
                </a:schemeClr>
              </a:solidFill>
            </a:rPr>
            <a:t>KKE* Max.</a:t>
          </a:r>
        </a:p>
      </cdr:txBody>
    </cdr:sp>
  </cdr:relSizeAnchor>
  <cdr:relSizeAnchor xmlns:cdr="http://schemas.openxmlformats.org/drawingml/2006/chartDrawing">
    <cdr:from>
      <cdr:x>0.41745</cdr:x>
      <cdr:y>0.621</cdr:y>
    </cdr:from>
    <cdr:to>
      <cdr:x>0.68588</cdr:x>
      <cdr:y>0.67816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3887339" y="3778650"/>
          <a:ext cx="2499644" cy="3478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hu-HU" sz="2400">
              <a:solidFill>
                <a:schemeClr val="accent6">
                  <a:lumMod val="75000"/>
                </a:schemeClr>
              </a:solidFill>
            </a:rPr>
            <a:t>KKE* Min.</a:t>
          </a:r>
          <a:r>
            <a:rPr lang="hu-HU" sz="2400" baseline="0">
              <a:solidFill>
                <a:schemeClr val="accent6">
                  <a:lumMod val="75000"/>
                </a:schemeClr>
              </a:solidFill>
            </a:rPr>
            <a:t> </a:t>
          </a:r>
          <a:endParaRPr lang="hu-HU" sz="2400">
            <a:solidFill>
              <a:schemeClr val="accent6">
                <a:lumMod val="75000"/>
              </a:schemeClr>
            </a:solidFill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6098</cdr:x>
      <cdr:y>0.96421</cdr:y>
    </cdr:from>
    <cdr:to>
      <cdr:x>0.16422</cdr:x>
      <cdr:y>1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540060" y="5544616"/>
          <a:ext cx="914400" cy="2057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03705</cdr:x>
      <cdr:y>0.94992</cdr:y>
    </cdr:from>
    <cdr:to>
      <cdr:x>0.18911</cdr:x>
      <cdr:y>0.98404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420364" y="5904743"/>
          <a:ext cx="1725142" cy="212092"/>
        </a:xfrm>
        <a:prstGeom xmlns:a="http://schemas.openxmlformats.org/drawingml/2006/main" prst="rect">
          <a:avLst/>
        </a:prstGeom>
        <a:ln xmlns:a="http://schemas.openxmlformats.org/drawingml/2006/main"/>
      </cdr:spPr>
      <cdr:style>
        <a:lnRef xmlns:a="http://schemas.openxmlformats.org/drawingml/2006/main" idx="1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2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200" b="1" dirty="0" smtClean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r>
            <a:rPr lang="hu-H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59,3 %-os többség</a:t>
          </a:r>
          <a:endParaRPr lang="hu-HU" sz="12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9604</cdr:x>
      <cdr:y>0.94937</cdr:y>
    </cdr:from>
    <cdr:to>
      <cdr:x>0.34508</cdr:x>
      <cdr:y>0.98349</cdr:y>
    </cdr:to>
    <cdr:sp macro="" textlink="">
      <cdr:nvSpPr>
        <cdr:cNvPr id="4" name="Szövegdoboz 3"/>
        <cdr:cNvSpPr txBox="1"/>
      </cdr:nvSpPr>
      <cdr:spPr>
        <a:xfrm xmlns:a="http://schemas.openxmlformats.org/drawingml/2006/main">
          <a:off x="2224086" y="5901343"/>
          <a:ext cx="1690834" cy="21209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2"/>
        </a:lnRef>
        <a:fillRef xmlns:a="http://schemas.openxmlformats.org/drawingml/2006/main" idx="2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2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72 %-os többség</a:t>
          </a:r>
          <a:endParaRPr lang="hu-HU" sz="12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4745</cdr:x>
      <cdr:y>0.95064</cdr:y>
    </cdr:from>
    <cdr:to>
      <cdr:x>0.5056</cdr:x>
      <cdr:y>0.98155</cdr:y>
    </cdr:to>
    <cdr:sp macro="" textlink="">
      <cdr:nvSpPr>
        <cdr:cNvPr id="5" name="Szövegdoboz 4"/>
        <cdr:cNvSpPr txBox="1"/>
      </cdr:nvSpPr>
      <cdr:spPr>
        <a:xfrm xmlns:a="http://schemas.openxmlformats.org/drawingml/2006/main">
          <a:off x="3941890" y="5909261"/>
          <a:ext cx="1794230" cy="192138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  <a:ln xmlns:a="http://schemas.openxmlformats.org/drawingml/2006/main" w="28575"/>
      </cdr:spPr>
      <cdr:style>
        <a:lnRef xmlns:a="http://schemas.openxmlformats.org/drawingml/2006/main" idx="1">
          <a:schemeClr val="accent6"/>
        </a:lnRef>
        <a:fillRef xmlns:a="http://schemas.openxmlformats.org/drawingml/2006/main" idx="2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hu-H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54 %-os többség</a:t>
          </a:r>
          <a:endParaRPr lang="hu-HU" sz="12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1626</cdr:x>
      <cdr:y>0.84098</cdr:y>
    </cdr:from>
    <cdr:to>
      <cdr:x>0.65202</cdr:x>
      <cdr:y>1</cdr:y>
    </cdr:to>
    <cdr:sp macro="" textlink="">
      <cdr:nvSpPr>
        <cdr:cNvPr id="6" name="Szövegdoboz 5"/>
        <cdr:cNvSpPr txBox="1"/>
      </cdr:nvSpPr>
      <cdr:spPr>
        <a:xfrm xmlns:a="http://schemas.openxmlformats.org/drawingml/2006/main">
          <a:off x="4572508" y="4835996"/>
          <a:ext cx="1202432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51058</cdr:x>
      <cdr:y>0.95092</cdr:y>
    </cdr:from>
    <cdr:to>
      <cdr:x>0.66828</cdr:x>
      <cdr:y>0.9856</cdr:y>
    </cdr:to>
    <cdr:sp macro="" textlink="">
      <cdr:nvSpPr>
        <cdr:cNvPr id="7" name="Szövegdoboz 6"/>
        <cdr:cNvSpPr txBox="1"/>
      </cdr:nvSpPr>
      <cdr:spPr>
        <a:xfrm xmlns:a="http://schemas.openxmlformats.org/drawingml/2006/main">
          <a:off x="5792591" y="5910971"/>
          <a:ext cx="1789124" cy="215573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2"/>
        </a:lnRef>
        <a:fillRef xmlns:a="http://schemas.openxmlformats.org/drawingml/2006/main" idx="2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hu-HU" sz="12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51 %-os többség</a:t>
          </a:r>
          <a:endParaRPr lang="hu-HU" sz="12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73</cdr:x>
      <cdr:y>0.84098</cdr:y>
    </cdr:from>
    <cdr:to>
      <cdr:x>0.83088</cdr:x>
      <cdr:y>1</cdr:y>
    </cdr:to>
    <cdr:sp macro="" textlink="">
      <cdr:nvSpPr>
        <cdr:cNvPr id="8" name="Szövegdoboz 7"/>
        <cdr:cNvSpPr txBox="1"/>
      </cdr:nvSpPr>
      <cdr:spPr>
        <a:xfrm xmlns:a="http://schemas.openxmlformats.org/drawingml/2006/main">
          <a:off x="5960780" y="4835996"/>
          <a:ext cx="1398336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72764</cdr:x>
      <cdr:y>0.84098</cdr:y>
    </cdr:from>
    <cdr:to>
      <cdr:x>0.83088</cdr:x>
      <cdr:y>1</cdr:y>
    </cdr:to>
    <cdr:sp macro="" textlink="">
      <cdr:nvSpPr>
        <cdr:cNvPr id="9" name="Szövegdoboz 8"/>
        <cdr:cNvSpPr txBox="1"/>
      </cdr:nvSpPr>
      <cdr:spPr>
        <a:xfrm xmlns:a="http://schemas.openxmlformats.org/drawingml/2006/main">
          <a:off x="6444716" y="553268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67279</cdr:x>
      <cdr:y>0.95181</cdr:y>
    </cdr:from>
    <cdr:to>
      <cdr:x>0.82398</cdr:x>
      <cdr:y>0.98214</cdr:y>
    </cdr:to>
    <cdr:sp macro="" textlink="">
      <cdr:nvSpPr>
        <cdr:cNvPr id="10" name="Szövegdoboz 9"/>
        <cdr:cNvSpPr txBox="1"/>
      </cdr:nvSpPr>
      <cdr:spPr>
        <a:xfrm xmlns:a="http://schemas.openxmlformats.org/drawingml/2006/main">
          <a:off x="7632836" y="5916522"/>
          <a:ext cx="1715268" cy="18853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2"/>
        </a:lnRef>
        <a:fillRef xmlns:a="http://schemas.openxmlformats.org/drawingml/2006/main" idx="2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hu-HU" sz="12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hu-HU" sz="12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53 %-os többség</a:t>
          </a:r>
          <a:endParaRPr lang="hu-HU" sz="1200" b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3776</cdr:x>
      <cdr:y>0.85279</cdr:y>
    </cdr:from>
    <cdr:to>
      <cdr:x>0.35258</cdr:x>
      <cdr:y>0.90287</cdr:y>
    </cdr:to>
    <cdr:sp macro="" textlink="">
      <cdr:nvSpPr>
        <cdr:cNvPr id="12" name="Lefelé nyíl 11"/>
        <cdr:cNvSpPr/>
      </cdr:nvSpPr>
      <cdr:spPr>
        <a:xfrm xmlns:a="http://schemas.openxmlformats.org/drawingml/2006/main">
          <a:off x="3885834" y="5301032"/>
          <a:ext cx="170502" cy="311301"/>
        </a:xfrm>
        <a:prstGeom xmlns:a="http://schemas.openxmlformats.org/drawingml/2006/main" prst="down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024</cdr:x>
      <cdr:y>0.85547</cdr:y>
    </cdr:from>
    <cdr:to>
      <cdr:x>0.51709</cdr:x>
      <cdr:y>0.90757</cdr:y>
    </cdr:to>
    <cdr:sp macro="" textlink="">
      <cdr:nvSpPr>
        <cdr:cNvPr id="13" name="Lefelé nyíl 12"/>
        <cdr:cNvSpPr/>
      </cdr:nvSpPr>
      <cdr:spPr>
        <a:xfrm xmlns:a="http://schemas.openxmlformats.org/drawingml/2006/main">
          <a:off x="5722661" y="5210131"/>
          <a:ext cx="167328" cy="317307"/>
        </a:xfrm>
        <a:prstGeom xmlns:a="http://schemas.openxmlformats.org/drawingml/2006/main" prst="down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96666</cdr:x>
      <cdr:y>0.85602</cdr:y>
    </cdr:from>
    <cdr:to>
      <cdr:x>0.98197</cdr:x>
      <cdr:y>0.90443</cdr:y>
    </cdr:to>
    <cdr:sp macro="" textlink="">
      <cdr:nvSpPr>
        <cdr:cNvPr id="14" name="Lefelé nyíl 13"/>
        <cdr:cNvSpPr/>
      </cdr:nvSpPr>
      <cdr:spPr>
        <a:xfrm xmlns:a="http://schemas.openxmlformats.org/drawingml/2006/main">
          <a:off x="10966862" y="5321074"/>
          <a:ext cx="173694" cy="300920"/>
        </a:xfrm>
        <a:prstGeom xmlns:a="http://schemas.openxmlformats.org/drawingml/2006/main" prst="down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defPPr>
            <a:defRPr lang="hu-H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endParaRPr lang="hu-HU"/>
        </a:p>
      </cdr:txBody>
    </cdr:sp>
  </cdr:relSizeAnchor>
  <cdr:relSizeAnchor xmlns:cdr="http://schemas.openxmlformats.org/drawingml/2006/chartDrawing">
    <cdr:from>
      <cdr:x>0.93842</cdr:x>
      <cdr:y>0.01382</cdr:y>
    </cdr:from>
    <cdr:to>
      <cdr:x>0.94127</cdr:x>
      <cdr:y>0.91066</cdr:y>
    </cdr:to>
    <cdr:cxnSp macro="">
      <cdr:nvCxnSpPr>
        <cdr:cNvPr id="18" name="Egyenes összekötő 17"/>
        <cdr:cNvCxnSpPr/>
      </cdr:nvCxnSpPr>
      <cdr:spPr>
        <a:xfrm xmlns:a="http://schemas.openxmlformats.org/drawingml/2006/main" flipH="1">
          <a:off x="10689134" y="84184"/>
          <a:ext cx="32544" cy="5462087"/>
        </a:xfrm>
        <a:prstGeom xmlns:a="http://schemas.openxmlformats.org/drawingml/2006/main" prst="line">
          <a:avLst/>
        </a:prstGeom>
        <a:ln xmlns:a="http://schemas.openxmlformats.org/drawingml/2006/main" w="12700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2058</cdr:x>
      <cdr:y>0</cdr:y>
    </cdr:from>
    <cdr:to>
      <cdr:x>1</cdr:x>
      <cdr:y>0.15134</cdr:y>
    </cdr:to>
    <cdr:sp macro="" textlink="">
      <cdr:nvSpPr>
        <cdr:cNvPr id="20" name="Szövegdoboz 19"/>
        <cdr:cNvSpPr txBox="1"/>
      </cdr:nvSpPr>
      <cdr:spPr>
        <a:xfrm xmlns:a="http://schemas.openxmlformats.org/drawingml/2006/main">
          <a:off x="10591168" y="-429111"/>
          <a:ext cx="913718" cy="94074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97754</cdr:x>
      <cdr:y>0.01243</cdr:y>
    </cdr:from>
    <cdr:to>
      <cdr:x>0.99885</cdr:x>
      <cdr:y>0.09317</cdr:y>
    </cdr:to>
    <cdr:sp macro="" textlink="">
      <cdr:nvSpPr>
        <cdr:cNvPr id="21" name="Folyamatábra: Kigyűjtés 20"/>
        <cdr:cNvSpPr/>
      </cdr:nvSpPr>
      <cdr:spPr>
        <a:xfrm xmlns:a="http://schemas.openxmlformats.org/drawingml/2006/main" rot="5587163">
          <a:off x="11254043" y="203129"/>
          <a:ext cx="500305" cy="248084"/>
        </a:xfrm>
        <a:prstGeom xmlns:a="http://schemas.openxmlformats.org/drawingml/2006/main" prst="flowChartExtract">
          <a:avLst/>
        </a:prstGeom>
        <a:solidFill xmlns:a="http://schemas.openxmlformats.org/drawingml/2006/main">
          <a:srgbClr val="00B050"/>
        </a:solidFill>
        <a:ln xmlns:a="http://schemas.openxmlformats.org/drawingml/2006/main" w="9525">
          <a:solidFill>
            <a:schemeClr val="accent6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hu-HU"/>
        </a:p>
      </cdr:txBody>
    </cdr:sp>
  </cdr:relSizeAnchor>
  <cdr:relSizeAnchor xmlns:cdr="http://schemas.openxmlformats.org/drawingml/2006/chartDrawing">
    <cdr:from>
      <cdr:x>0.14267</cdr:x>
      <cdr:y>0.58541</cdr:y>
    </cdr:from>
    <cdr:to>
      <cdr:x>0.34385</cdr:x>
      <cdr:y>0.76241</cdr:y>
    </cdr:to>
    <cdr:sp macro="" textlink="">
      <cdr:nvSpPr>
        <cdr:cNvPr id="15" name="Ellipszis 14"/>
        <cdr:cNvSpPr/>
      </cdr:nvSpPr>
      <cdr:spPr>
        <a:xfrm xmlns:a="http://schemas.openxmlformats.org/drawingml/2006/main">
          <a:off x="1639358" y="3583286"/>
          <a:ext cx="2311671" cy="1083418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hu-HU" dirty="0" smtClean="0"/>
            <a:t>V</a:t>
          </a:r>
          <a:endParaRPr lang="hu-HU" dirty="0"/>
        </a:p>
      </cdr:txBody>
    </cdr:sp>
  </cdr:relSizeAnchor>
  <cdr:relSizeAnchor xmlns:cdr="http://schemas.openxmlformats.org/drawingml/2006/chartDrawing">
    <cdr:from>
      <cdr:x>0.26232</cdr:x>
      <cdr:y>0.17814</cdr:y>
    </cdr:from>
    <cdr:to>
      <cdr:x>0.36902</cdr:x>
      <cdr:y>0.32947</cdr:y>
    </cdr:to>
    <cdr:sp macro="" textlink="">
      <cdr:nvSpPr>
        <cdr:cNvPr id="17" name="Szövegdoboz 16"/>
        <cdr:cNvSpPr txBox="1"/>
      </cdr:nvSpPr>
      <cdr:spPr>
        <a:xfrm xmlns:a="http://schemas.openxmlformats.org/drawingml/2006/main">
          <a:off x="3143251" y="1076376"/>
          <a:ext cx="1278467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14962</cdr:x>
      <cdr:y>0.59064</cdr:y>
    </cdr:from>
    <cdr:to>
      <cdr:x>0.34315</cdr:x>
      <cdr:y>0.75154</cdr:y>
    </cdr:to>
    <cdr:sp macro="" textlink="">
      <cdr:nvSpPr>
        <cdr:cNvPr id="19" name="Szövegdoboz 18"/>
        <cdr:cNvSpPr txBox="1"/>
      </cdr:nvSpPr>
      <cdr:spPr>
        <a:xfrm xmlns:a="http://schemas.openxmlformats.org/drawingml/2006/main">
          <a:off x="1719262" y="3615301"/>
          <a:ext cx="2223688" cy="9848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hu-HU" sz="1400" b="1" dirty="0" smtClean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rPr>
            <a:t>Adósság-arány </a:t>
          </a:r>
        </a:p>
        <a:p xmlns:a="http://schemas.openxmlformats.org/drawingml/2006/main">
          <a:pPr algn="ctr"/>
          <a:r>
            <a:rPr lang="hu-HU" sz="1400" b="1" i="1" dirty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rPr>
            <a:t>j</a:t>
          </a:r>
          <a:r>
            <a:rPr lang="hu-HU" sz="1400" b="1" i="1" dirty="0" smtClean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rPr>
            <a:t>avulás</a:t>
          </a:r>
          <a:r>
            <a:rPr lang="hu-HU" sz="1400" b="1" dirty="0" smtClean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rPr>
            <a:t> mintegy </a:t>
          </a:r>
        </a:p>
        <a:p xmlns:a="http://schemas.openxmlformats.org/drawingml/2006/main">
          <a:pPr algn="ctr"/>
          <a:r>
            <a:rPr lang="hu-HU" sz="1400" b="1" dirty="0" smtClean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rPr>
            <a:t>1000 Mrd nemzeti vagyon </a:t>
          </a:r>
        </a:p>
        <a:p xmlns:a="http://schemas.openxmlformats.org/drawingml/2006/main">
          <a:pPr algn="ctr"/>
          <a:r>
            <a:rPr lang="hu-HU" sz="1400" b="1" dirty="0" smtClean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rPr>
            <a:t>értékestése árán!</a:t>
          </a:r>
          <a:endParaRPr lang="hu-HU" sz="1400" b="1" dirty="0">
            <a:solidFill>
              <a:srgbClr val="000076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93659</cdr:x>
      <cdr:y>0.96475</cdr:y>
    </cdr:from>
    <cdr:to>
      <cdr:x>0.93659</cdr:x>
      <cdr:y>1</cdr:y>
    </cdr:to>
    <cdr:cxnSp macro="">
      <cdr:nvCxnSpPr>
        <cdr:cNvPr id="23" name="Egyenes összekötő 22"/>
        <cdr:cNvCxnSpPr/>
      </cdr:nvCxnSpPr>
      <cdr:spPr>
        <a:xfrm xmlns:a="http://schemas.openxmlformats.org/drawingml/2006/main">
          <a:off x="11130491" y="5996383"/>
          <a:ext cx="0" cy="219075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FF9933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6323</cdr:x>
      <cdr:y>0.01452</cdr:y>
    </cdr:from>
    <cdr:to>
      <cdr:x>0.66742</cdr:x>
      <cdr:y>0.85637</cdr:y>
    </cdr:to>
    <cdr:cxnSp macro="">
      <cdr:nvCxnSpPr>
        <cdr:cNvPr id="27" name="Egyenes összekötő 26"/>
        <cdr:cNvCxnSpPr/>
      </cdr:nvCxnSpPr>
      <cdr:spPr>
        <a:xfrm xmlns:a="http://schemas.openxmlformats.org/drawingml/2006/main" flipH="1" flipV="1">
          <a:off x="7554614" y="88420"/>
          <a:ext cx="47760" cy="5127206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2029</cdr:x>
      <cdr:y>0.14612</cdr:y>
    </cdr:from>
    <cdr:to>
      <cdr:x>1</cdr:x>
      <cdr:y>0.29551</cdr:y>
    </cdr:to>
    <cdr:sp macro="" textlink="">
      <cdr:nvSpPr>
        <cdr:cNvPr id="37" name="Szövegdoboz 36"/>
        <cdr:cNvSpPr txBox="1"/>
      </cdr:nvSpPr>
      <cdr:spPr>
        <a:xfrm xmlns:a="http://schemas.openxmlformats.org/drawingml/2006/main">
          <a:off x="9620520" y="894427"/>
          <a:ext cx="2107675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92203</cdr:x>
      <cdr:y>0.13143</cdr:y>
    </cdr:from>
    <cdr:to>
      <cdr:x>1</cdr:x>
      <cdr:y>0.28081</cdr:y>
    </cdr:to>
    <cdr:sp macro="" textlink="">
      <cdr:nvSpPr>
        <cdr:cNvPr id="38" name="Szövegdoboz 37"/>
        <cdr:cNvSpPr txBox="1"/>
      </cdr:nvSpPr>
      <cdr:spPr>
        <a:xfrm xmlns:a="http://schemas.openxmlformats.org/drawingml/2006/main">
          <a:off x="11060466" y="804469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99249</cdr:x>
      <cdr:y>0.90734</cdr:y>
    </cdr:from>
    <cdr:to>
      <cdr:x>1</cdr:x>
      <cdr:y>1</cdr:y>
    </cdr:to>
    <cdr:sp macro="" textlink="">
      <cdr:nvSpPr>
        <cdr:cNvPr id="24" name="Szövegdoboz 23"/>
        <cdr:cNvSpPr txBox="1"/>
      </cdr:nvSpPr>
      <cdr:spPr>
        <a:xfrm xmlns:a="http://schemas.openxmlformats.org/drawingml/2006/main">
          <a:off x="11259875" y="5640099"/>
          <a:ext cx="85240" cy="5759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8882</cdr:x>
      <cdr:y>0.28505</cdr:y>
    </cdr:from>
    <cdr:to>
      <cdr:x>0.32406</cdr:x>
      <cdr:y>0.42418</cdr:y>
    </cdr:to>
    <cdr:sp macro="" textlink="">
      <cdr:nvSpPr>
        <cdr:cNvPr id="4" name="Jobbra nyíl 3"/>
        <cdr:cNvSpPr/>
      </cdr:nvSpPr>
      <cdr:spPr>
        <a:xfrm xmlns:a="http://schemas.openxmlformats.org/drawingml/2006/main" rot="2996043">
          <a:off x="2424618" y="1980522"/>
          <a:ext cx="841223" cy="327196"/>
        </a:xfrm>
        <a:prstGeom xmlns:a="http://schemas.openxmlformats.org/drawingml/2006/main" prst="rightArrow">
          <a:avLst/>
        </a:prstGeom>
        <a:solidFill xmlns:a="http://schemas.openxmlformats.org/drawingml/2006/main">
          <a:srgbClr val="FF0000"/>
        </a:solidFill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5576</cdr:x>
      <cdr:y>0.55039</cdr:y>
    </cdr:from>
    <cdr:to>
      <cdr:x>0.84637</cdr:x>
      <cdr:y>0.60451</cdr:y>
    </cdr:to>
    <cdr:sp macro="" textlink="">
      <cdr:nvSpPr>
        <cdr:cNvPr id="3" name="Jobbra nyíl 2"/>
        <cdr:cNvSpPr/>
      </cdr:nvSpPr>
      <cdr:spPr>
        <a:xfrm xmlns:a="http://schemas.openxmlformats.org/drawingml/2006/main">
          <a:off x="8770471" y="2870224"/>
          <a:ext cx="1051510" cy="282233"/>
        </a:xfrm>
        <a:prstGeom xmlns:a="http://schemas.openxmlformats.org/drawingml/2006/main" prst="rightArrow">
          <a:avLst/>
        </a:prstGeom>
        <a:solidFill xmlns:a="http://schemas.openxmlformats.org/drawingml/2006/main">
          <a:srgbClr val="FF0000"/>
        </a:solidFill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F5D25-CB5B-45A7-8C7B-DBE84E24A5CF}" type="datetimeFigureOut">
              <a:rPr lang="hu-HU" smtClean="0"/>
              <a:t>2016.02.10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768" y="4751221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377319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0443" y="9377319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AF1ED-7B7F-4450-8E50-9187237B0C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80965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252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95AE37C-B76F-4A04-90B0-FA4E4B2BBFEB}" type="slidenum">
              <a:rPr lang="hu-HU" altLang="en-US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hu-HU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4401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Jegyzetek hely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hu-HU" altLang="hu-HU" dirty="0" smtClean="0"/>
              <a:t>2002 és 2010 között a gazdasági</a:t>
            </a:r>
            <a:r>
              <a:rPr lang="hu-HU" altLang="hu-HU" baseline="0" dirty="0" smtClean="0"/>
              <a:t> </a:t>
            </a:r>
            <a:r>
              <a:rPr lang="hu-HU" altLang="hu-HU" dirty="0" smtClean="0"/>
              <a:t>növekedési eredmények a nagymértékű külső forrásbevonásnak</a:t>
            </a:r>
            <a:r>
              <a:rPr lang="hu-HU" altLang="hu-HU" baseline="0" dirty="0" smtClean="0"/>
              <a:t> tulajdoníthatók. </a:t>
            </a:r>
          </a:p>
          <a:p>
            <a:r>
              <a:rPr lang="hu-HU" altLang="hu-HU" baseline="0" dirty="0" smtClean="0"/>
              <a:t>A külső tényezők között jelentős helyet foglalnak el a külső finanszírozási feltételek. </a:t>
            </a:r>
          </a:p>
          <a:p>
            <a:r>
              <a:rPr lang="hu-HU" altLang="hu-HU" baseline="0" dirty="0" smtClean="0"/>
              <a:t>Ezekre a kormányzati ráhatás csak részleges, mint a forint leértékelődése, ahol közel kétezer milliárdos az utóbbi években a finanszírozási veszteség, a csődkockázati felár, kamatok stb. Ugyanakkor nyilvánvaló, hogy erős kapcsolat van, s közvetlen a kormányzat felelőssége a teljesíthetetlen lakossági várakozások gerjesztése és kényszerű teljesítése által növekvő államadósság kérdésében. Nyilvánvaló kapcsolat van a lakossági-vállalkozói várakozások, az aktuális kormány támogatottsága adta mozgástér és az adósságnövekedés, a kormányzás küldetésfelfogása között: működnie kell a stabilitás és növekedés felelősség kettősének.</a:t>
            </a:r>
          </a:p>
          <a:p>
            <a:endParaRPr lang="hu-HU" altLang="hu-HU" baseline="0" dirty="0" smtClean="0"/>
          </a:p>
          <a:p>
            <a:r>
              <a:rPr lang="hu-HU" altLang="hu-HU" baseline="0" dirty="0" smtClean="0"/>
              <a:t>Ami 2015-re tartozik:</a:t>
            </a:r>
          </a:p>
          <a:p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jelentős, egyébként más szempontból</a:t>
            </a:r>
            <a:r>
              <a:rPr lang="hu-H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gen pozitív </a:t>
            </a:r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intkibocsátás mellett további két tényező van a jelentős első félévi adósság-arány</a:t>
            </a:r>
            <a:r>
              <a:rPr lang="hu-H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övekedésben, amit az év végére le kell a mérőnapig dolgoznunk.</a:t>
            </a:r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z egyik, hogy év vége óta nagyot erősödött az euró ellenében az USA-dollár. Ez az ÁKK EURUSD </a:t>
            </a:r>
            <a:r>
              <a:rPr lang="hu-H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ap-jain</a:t>
            </a:r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eresztül a növeli az államadósságot, az első félévben konkrétan 390 milliárd forint értékben nőtt emiatt az államadósság.</a:t>
            </a:r>
          </a:p>
          <a:p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másik tényező egy új dolog. A Budapest Bank megvásárlása a statisztikában teljes egészében államadósságot növelő tétel lett. Ez 195 milliárd forint, ami a GDP 0,6%-a,</a:t>
            </a:r>
            <a:r>
              <a:rPr lang="hu-H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ennyivel nőtt a magyar állam kezében lévő vagyon is</a:t>
            </a:r>
            <a:endParaRPr lang="hu-H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 ÁKK eddig azt jelentette be, hogy az adósságnövekedés ellensúlyozására 1,2 milliárd euró értékben visszavesz jövőre és azután lejáró adósságelemeket.</a:t>
            </a:r>
          </a:p>
          <a:p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z azonban nem zárható ki, hogy kevés lesz,</a:t>
            </a:r>
            <a:r>
              <a:rPr lang="hu-H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m zárható ki, hogy</a:t>
            </a:r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felett még további 400 milliárd forint értékben kellene valamit csinálni. </a:t>
            </a:r>
          </a:p>
          <a:p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 erősebb forint vagy a gyengébb dollár meg tudna oldani ebből a 400 milliárd forintból valamennyit, de ez bizonytalan és a külső körülményektől függ.</a:t>
            </a:r>
          </a:p>
          <a:p>
            <a:r>
              <a:rPr lang="hu-H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 első félévi eredmények alapján nyilván, hogy még dolgozniuk kell ahhoz, hogy csökkenjen az államadósság az év végén. Nem lesz könnyű, de ma még megoldható.</a:t>
            </a:r>
          </a:p>
          <a:p>
            <a:endParaRPr lang="hu-HU" altLang="hu-HU" dirty="0" smtClean="0"/>
          </a:p>
        </p:txBody>
      </p:sp>
      <p:sp>
        <p:nvSpPr>
          <p:cNvPr id="37892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8EFD43C-E08A-44FF-AE79-2897A5ACB294}" type="slidenum">
              <a:rPr lang="hu-HU" altLang="hu-HU" sz="1200" smtClean="0">
                <a:solidFill>
                  <a:prstClr val="black"/>
                </a:solidFill>
              </a:rPr>
              <a:pPr/>
              <a:t>14</a:t>
            </a:fld>
            <a:endParaRPr lang="hu-HU" altLang="hu-HU" sz="120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8021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lvl="2"/>
            <a:endParaRPr lang="en-US" altLang="hu-HU" smtClean="0"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46084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07F8F3B9-6083-4891-9E52-1205771C09C8}" type="slidenum">
              <a:rPr lang="hu-HU" altLang="hu-HU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6</a:t>
            </a:fld>
            <a:endParaRPr lang="hu-HU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693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7107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lvl="2"/>
            <a:endParaRPr lang="en-US" altLang="hu-HU" smtClean="0"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47108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E1A842B2-E193-42E5-A219-A9000EC59D20}" type="slidenum">
              <a:rPr lang="hu-HU" altLang="hu-HU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7</a:t>
            </a:fld>
            <a:endParaRPr lang="hu-HU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4465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49156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BB4DE52-13AB-4724-B040-CF0F0BC365ED}" type="slidenum">
              <a:rPr lang="hu-HU" altLang="hu-HU" sz="1200">
                <a:latin typeface="Times New Roman" panose="02020603050405020304" pitchFamily="18" charset="0"/>
              </a:rPr>
              <a:pPr/>
              <a:t>18</a:t>
            </a:fld>
            <a:endParaRPr lang="hu-HU" altLang="hu-H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1980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1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532749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- Állami működési funkciókra fordított társadalmi forrásoknál szembetűnő az aránynövekedés (látni kell ugyanakkor, hogy közben az államháztartási kiadások együttes összegének</a:t>
            </a:r>
            <a:r>
              <a:rPr lang="hu-HU" baseline="0" dirty="0" smtClean="0"/>
              <a:t> GDP-hez viszonyított aránya meg csökken, 2016-ra csaknem 3 százalékponttal)</a:t>
            </a:r>
            <a:endParaRPr lang="hu-HU" dirty="0" smtClean="0"/>
          </a:p>
          <a:p>
            <a:pPr marL="171450" indent="-171450">
              <a:buFontTx/>
              <a:buChar char="-"/>
            </a:pPr>
            <a:r>
              <a:rPr lang="hu-HU" dirty="0" smtClean="0"/>
              <a:t>A jóléti funkcióknál egyértelmű a csökkenés</a:t>
            </a:r>
          </a:p>
          <a:p>
            <a:pPr marL="171450" indent="-171450">
              <a:buFontTx/>
              <a:buChar char="-"/>
            </a:pPr>
            <a:r>
              <a:rPr lang="hu-HU" dirty="0" smtClean="0"/>
              <a:t>A</a:t>
            </a:r>
            <a:r>
              <a:rPr lang="hu-HU" baseline="0" dirty="0" smtClean="0"/>
              <a:t> gazdasági funkcióknál még nem látszik a részesedés bővülése, ez majd a jelenlegi tervezési időszak további éveiben az EU források célirányos felhasználásával következik be</a:t>
            </a:r>
          </a:p>
          <a:p>
            <a:pPr marL="171450" indent="-171450">
              <a:buFontTx/>
              <a:buChar char="-"/>
            </a:pPr>
            <a:r>
              <a:rPr lang="hu-HU" baseline="0" dirty="0" smtClean="0"/>
              <a:t>Érzékelhető már az államadósság-kezelésre fordított (kamat-) kiadás arányának visszaszorulása, amely révén felszabaduló forrás is átcsoportosulhat a gazdasági funkciókra</a:t>
            </a:r>
            <a:endParaRPr lang="hu-HU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2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14967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2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219527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2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562618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2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703568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4930" name="Jegyzetek hely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hu-HU" dirty="0" smtClean="0">
                <a:latin typeface="Arial" charset="0"/>
                <a:cs typeface="Arial" charset="0"/>
              </a:rPr>
              <a:t>A régió egészét</a:t>
            </a:r>
            <a:r>
              <a:rPr lang="hu-HU" baseline="0" dirty="0" smtClean="0">
                <a:latin typeface="Arial" charset="0"/>
                <a:cs typeface="Arial" charset="0"/>
              </a:rPr>
              <a:t> lényegében egy egységnek tekintik, s ma már Dél Európával </a:t>
            </a:r>
            <a:r>
              <a:rPr lang="hu-HU" baseline="0" smtClean="0">
                <a:latin typeface="Arial" charset="0"/>
                <a:cs typeface="Arial" charset="0"/>
              </a:rPr>
              <a:t>azonos jellemzőkkel</a:t>
            </a:r>
            <a:r>
              <a:rPr lang="hu-HU" baseline="0" dirty="0" smtClean="0">
                <a:latin typeface="Arial" charset="0"/>
                <a:cs typeface="Arial" charset="0"/>
              </a:rPr>
              <a:t>. A mutatók ezen a  viszonylag szűk tartományon belüli eltéréseiben – pozitív és negatív értelemben – bizalmi reflexek és érdekek fejeződnek ki.</a:t>
            </a:r>
          </a:p>
          <a:p>
            <a:endParaRPr lang="hu-HU" dirty="0" smtClean="0">
              <a:latin typeface="Arial" charset="0"/>
              <a:cs typeface="Arial" charset="0"/>
            </a:endParaRPr>
          </a:p>
        </p:txBody>
      </p:sp>
      <p:sp>
        <p:nvSpPr>
          <p:cNvPr id="124931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41F0603-5EB7-49F6-BC34-1720F1DEFCB6}" type="slidenum">
              <a:rPr lang="hu-HU" smtClean="0">
                <a:solidFill>
                  <a:srgbClr val="000000"/>
                </a:solidFill>
              </a:rPr>
              <a:pPr/>
              <a:t>26</a:t>
            </a:fld>
            <a:endParaRPr lang="hu-H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642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229275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2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067068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3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8657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Jegyzetek hely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61444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1363" indent="-284163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1413" indent="-227013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8613" indent="-227013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5813" indent="-227013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013" indent="-227013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213" indent="-227013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7413" indent="-227013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4613" indent="-227013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CF81539-4217-4230-8EAB-B51DEE286658}" type="slidenum">
              <a:rPr lang="hu-HU" altLang="en-US" smtClean="0"/>
              <a:pPr>
                <a:spcBef>
                  <a:spcPct val="0"/>
                </a:spcBef>
              </a:pPr>
              <a:t>31</a:t>
            </a:fld>
            <a:endParaRPr lang="hu-HU" altLang="en-US" smtClean="0"/>
          </a:p>
        </p:txBody>
      </p:sp>
    </p:spTree>
    <p:extLst>
      <p:ext uri="{BB962C8B-B14F-4D97-AF65-F5344CB8AC3E}">
        <p14:creationId xmlns:p14="http://schemas.microsoft.com/office/powerpoint/2010/main" val="40316822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Diakép helye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36563" y="1233488"/>
            <a:ext cx="5924550" cy="3332162"/>
          </a:xfrm>
          <a:ln/>
        </p:spPr>
      </p:sp>
      <p:sp>
        <p:nvSpPr>
          <p:cNvPr id="44035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lvl="2"/>
            <a:endParaRPr lang="en-US" altLang="en-US" dirty="0" smtClean="0">
              <a:cs typeface="Arial" charset="0"/>
              <a:sym typeface="Symbol" pitchFamily="18" charset="2"/>
            </a:endParaRPr>
          </a:p>
        </p:txBody>
      </p:sp>
      <p:sp>
        <p:nvSpPr>
          <p:cNvPr id="44036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10C33E0F-819C-47F7-98B9-F60AF0DC6BD7}" type="slidenum">
              <a:rPr lang="hu-HU" altLang="en-US" smtClean="0">
                <a:latin typeface="Times New Roman" pitchFamily="18" charset="0"/>
              </a:rPr>
              <a:pPr>
                <a:spcBef>
                  <a:spcPct val="0"/>
                </a:spcBef>
              </a:pPr>
              <a:t>32</a:t>
            </a:fld>
            <a:endParaRPr lang="hu-HU" altLang="en-US" smtClean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3240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3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915358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3491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63492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255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255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E17F8D0-0DD6-4F84-9F2E-F95ADC37A6B5}" type="slidenum">
              <a:rPr lang="hu-HU" altLang="en-US"/>
              <a:pPr eaLnBrk="1" hangingPunct="1">
                <a:spcBef>
                  <a:spcPct val="0"/>
                </a:spcBef>
              </a:pPr>
              <a:t>34</a:t>
            </a:fld>
            <a:endParaRPr lang="hu-HU" altLang="en-US"/>
          </a:p>
        </p:txBody>
      </p:sp>
    </p:spTree>
    <p:extLst>
      <p:ext uri="{BB962C8B-B14F-4D97-AF65-F5344CB8AC3E}">
        <p14:creationId xmlns:p14="http://schemas.microsoft.com/office/powerpoint/2010/main" val="1966312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lvl="2"/>
            <a:endParaRPr lang="en-US" altLang="hu-HU" smtClean="0"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40964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31490DF8-EC0D-437A-BCD8-5CB6876ECEA2}" type="slidenum">
              <a:rPr lang="hu-HU" altLang="hu-HU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3</a:t>
            </a:fld>
            <a:endParaRPr lang="hu-HU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870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Csak egy kis intézményi reklám, a körök</a:t>
            </a:r>
            <a:r>
              <a:rPr lang="hu-HU" baseline="0" dirty="0" smtClean="0"/>
              <a:t> a diagramokon az adott országban a költségvetési tanács/független fiskális intézmény működésének megkezdését jelzik.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34681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43267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A visegrádi csoport váltja a Dél-Európait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2832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751809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Csak egy kis intézményi reklám, a körök</a:t>
            </a:r>
            <a:r>
              <a:rPr lang="hu-HU" baseline="0" dirty="0" smtClean="0"/>
              <a:t> a diagramokon az adott országban a költségvetési tanács/független fiskális intézmény működésének megkezdését jelzik.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232693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Csak egy kis intézményi reklám, a körök</a:t>
            </a:r>
            <a:r>
              <a:rPr lang="hu-HU" baseline="0" dirty="0" smtClean="0"/>
              <a:t> a diagramokon az adott országban a költségvetési tanács/független fiskális intézmény működésének megkezdését jelzik.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AF1ED-7B7F-4450-8E50-9187237B0C21}" type="slidenum">
              <a:rPr lang="hu-HU" smtClean="0"/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10974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C43E4-F0EE-41CF-8385-6B5ADDE0AAB0}" type="datetime1">
              <a:rPr lang="hu-HU" smtClean="0"/>
              <a:t>2016.02.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12019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9D7BFB-083F-4568-B3FC-E5A14740896E}" type="datetime1">
              <a:rPr lang="hu-HU" smtClean="0"/>
              <a:t>2016.02.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294655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2ED58-96A3-46E4-B253-9D919D718E32}" type="datetime1">
              <a:rPr lang="hu-HU" smtClean="0"/>
              <a:t>2016.02.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76703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812800" y="2924175"/>
            <a:ext cx="10557933" cy="1143000"/>
          </a:xfrm>
          <a:prstGeom prst="rect">
            <a:avLst/>
          </a:prstGeom>
          <a:noFill/>
          <a:extLst/>
        </p:spPr>
        <p:txBody>
          <a:bodyPr/>
          <a:lstStyle>
            <a:lvl1pPr>
              <a:defRPr sz="4600" b="1">
                <a:solidFill>
                  <a:srgbClr val="993300"/>
                </a:solidFill>
              </a:defRPr>
            </a:lvl1pPr>
          </a:lstStyle>
          <a:p>
            <a:pPr lvl="0"/>
            <a:r>
              <a:rPr lang="hu-HU" noProof="0" smtClean="0"/>
              <a:t>Mintacím szerkesztés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4368800" y="6453188"/>
            <a:ext cx="3657600" cy="2524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711200" y="6400800"/>
            <a:ext cx="3464984" cy="533400"/>
          </a:xfrm>
        </p:spPr>
        <p:txBody>
          <a:bodyPr/>
          <a:lstStyle>
            <a:lvl1pPr>
              <a:defRPr>
                <a:solidFill>
                  <a:srgbClr val="000064"/>
                </a:solidFill>
              </a:defRPr>
            </a:lvl1pPr>
          </a:lstStyle>
          <a:p>
            <a:pPr>
              <a:defRPr/>
            </a:pPr>
            <a:fld id="{926BA1C4-A83D-4F18-8731-6A0A032763A8}" type="datetime1">
              <a:rPr lang="hu-HU" smtClean="0"/>
              <a:t>2016.02.10.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20326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41CA7-94CA-42BB-8A8B-99BCE68AC8AB}" type="datetime1">
              <a:rPr lang="hu-HU" smtClean="0"/>
              <a:t>2016.02.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72037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942AF-4F27-40AD-A7CE-1D9ED5911C55}" type="datetime1">
              <a:rPr lang="hu-HU" smtClean="0"/>
              <a:t>2016.02.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45339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35E323-AD64-49BE-8E2E-D348EFB97ED2}" type="datetime1">
              <a:rPr lang="hu-HU" smtClean="0"/>
              <a:t>2016.02.1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76007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CC85B-72B0-47CF-B4F4-7CBD9B7E8CE0}" type="datetime1">
              <a:rPr lang="hu-HU" smtClean="0"/>
              <a:t>2016.02.10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448266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F41BEE-CCDB-466E-AD03-092250F9EB9F}" type="datetime1">
              <a:rPr lang="hu-HU" smtClean="0"/>
              <a:t>2016.02.10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623867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36C9-7F21-404C-AC79-FF1AF3FE4E5F}" type="datetime1">
              <a:rPr lang="hu-HU" smtClean="0"/>
              <a:t>2016.02.10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46495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3A3EA-1A0E-4FC8-B251-24D081536026}" type="datetime1">
              <a:rPr lang="hu-HU" smtClean="0"/>
              <a:t>2016.02.1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09416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61EA55-8F62-47BC-8FC2-B963C49AE9EE}" type="datetime1">
              <a:rPr lang="hu-HU" smtClean="0"/>
              <a:t>2016.02.1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78576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4CB78F-2D71-4050-B032-AF326886E83B}" type="datetime1">
              <a:rPr lang="hu-HU" smtClean="0"/>
              <a:t>2016.02.1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1CBA4C-5495-469B-96C4-162BC84B9C29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09584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chart" Target="../charts/chart1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chart" Target="../charts/chart1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chart" Target="../charts/chart2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chart" Target="../charts/chart21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5.xml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notesSlide" Target="../notesSlides/notesSlide2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59000">
              <a:schemeClr val="bg1">
                <a:lumMod val="75000"/>
              </a:schemeClr>
            </a:gs>
            <a:gs pos="74000">
              <a:srgbClr val="A5A5A5">
                <a:lumMod val="45000"/>
                <a:lumOff val="55000"/>
              </a:srgbClr>
            </a:gs>
            <a:gs pos="83000">
              <a:srgbClr val="A5A5A5">
                <a:lumMod val="45000"/>
                <a:lumOff val="55000"/>
              </a:srgbClr>
            </a:gs>
            <a:gs pos="100000">
              <a:srgbClr val="A5A5A5">
                <a:lumMod val="30000"/>
                <a:lumOff val="7000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ctrTitle"/>
          </p:nvPr>
        </p:nvSpPr>
        <p:spPr>
          <a:xfrm>
            <a:off x="-78658" y="1684867"/>
            <a:ext cx="12192000" cy="4927600"/>
          </a:xfrm>
        </p:spPr>
        <p:txBody>
          <a:bodyPr>
            <a:norm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hu-HU" sz="36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RAKOZÁSOK 2015 KÉSŐ ŐSZÉN</a:t>
            </a:r>
            <a:br>
              <a:rPr lang="hu-HU" sz="36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. NOVEMBER  </a:t>
            </a:r>
            <a: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altLang="en-US" sz="2000" dirty="0">
              <a:solidFill>
                <a:srgbClr val="002060"/>
              </a:solidFill>
            </a:endParaRPr>
          </a:p>
        </p:txBody>
      </p:sp>
      <p:sp>
        <p:nvSpPr>
          <p:cNvPr id="28675" name="Szövegdoboz 1"/>
          <p:cNvSpPr txBox="1">
            <a:spLocks noChangeArrowheads="1"/>
          </p:cNvSpPr>
          <p:nvPr/>
        </p:nvSpPr>
        <p:spPr bwMode="auto">
          <a:xfrm>
            <a:off x="895369" y="503592"/>
            <a:ext cx="61341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>
                <a:solidFill>
                  <a:srgbClr val="002060"/>
                </a:solidFill>
                <a:latin typeface="Arial" panose="020B0604020202020204" pitchFamily="34" charset="0"/>
              </a:rPr>
              <a:t>KOVÁCS </a:t>
            </a:r>
            <a:r>
              <a:rPr lang="hu-HU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ÁRPÁD egyetemi tanár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SZEGEDI TUDOMÁNYEGYETEM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KÖLTSÉGVETÉSI TANÁCS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MAGYAR KÖZGAZDASÁGI TÁRSASÁG </a:t>
            </a:r>
            <a:endParaRPr lang="hu-HU" altLang="en-US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837562"/>
      </p:ext>
    </p:extLst>
  </p:cSld>
  <p:clrMapOvr>
    <a:masterClrMapping/>
  </p:clrMapOvr>
  <p:transition spd="med" advTm="19800"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ktum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oShap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173895" y="1329266"/>
            <a:ext cx="11916913" cy="5240864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98831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200" b="1" spc="-6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200" b="1" spc="-6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i növekedés idén magas, de 2016-ban a kormány és a piaci </a:t>
            </a:r>
            <a:r>
              <a:rPr lang="hu-HU" sz="2200" b="1" spc="-6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rejelzők is a hazai növekedés </a:t>
            </a:r>
            <a:r>
              <a:rPr lang="hu-HU" sz="2200" b="1" spc="-6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sulásával számolnak. A folyamatok ma lehetőséget kínálnak további szerkezeti reformokra. </a:t>
            </a:r>
            <a:endParaRPr lang="en-US" sz="2200" b="1" spc="-6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301" name="Szövegdoboz 6"/>
          <p:cNvSpPr txBox="1">
            <a:spLocks noChangeArrowheads="1"/>
          </p:cNvSpPr>
          <p:nvPr/>
        </p:nvSpPr>
        <p:spPr bwMode="auto">
          <a:xfrm>
            <a:off x="181833" y="6550025"/>
            <a:ext cx="52619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Forrás: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Focus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Economics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hu-HU" altLang="hu-H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Költségvetési Tanács Titkársága, üzleti elemzők</a:t>
            </a:r>
            <a:endParaRPr lang="en-US" altLang="hu-HU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5303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8333" y="983006"/>
            <a:ext cx="7504112" cy="3079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-növekedés, </a:t>
            </a:r>
            <a:r>
              <a:rPr lang="hu-HU" altLang="hu-HU" sz="14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sz="14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s</a:t>
            </a: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lmérés </a:t>
            </a:r>
            <a:r>
              <a:rPr lang="hu-HU" altLang="hu-H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</a:p>
        </p:txBody>
      </p:sp>
      <p:sp>
        <p:nvSpPr>
          <p:cNvPr id="15" name="Dia számának helye 14"/>
          <p:cNvSpPr>
            <a:spLocks noGrp="1"/>
          </p:cNvSpPr>
          <p:nvPr>
            <p:ph type="sldNum" sz="quarter" idx="12"/>
          </p:nvPr>
        </p:nvSpPr>
        <p:spPr>
          <a:xfrm>
            <a:off x="8729307" y="6517241"/>
            <a:ext cx="2743200" cy="365125"/>
          </a:xfrm>
        </p:spPr>
        <p:txBody>
          <a:bodyPr/>
          <a:lstStyle/>
          <a:p>
            <a:fld id="{334D2023-4384-4D50-92F6-E5B72C3E344B}" type="slidenum">
              <a:rPr lang="hu-HU" smtClean="0"/>
              <a:pPr/>
              <a:t>10</a:t>
            </a:fld>
            <a:endParaRPr lang="hu-HU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99283" y="963956"/>
            <a:ext cx="11782698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</p:cxnSp>
      <p:graphicFrame>
        <p:nvGraphicFramePr>
          <p:cNvPr id="24" name="Diagram 23"/>
          <p:cNvGraphicFramePr>
            <a:graphicFrameLocks noGrp="1"/>
          </p:cNvGraphicFramePr>
          <p:nvPr>
            <p:extLst/>
          </p:nvPr>
        </p:nvGraphicFramePr>
        <p:xfrm>
          <a:off x="266701" y="1409699"/>
          <a:ext cx="11753850" cy="5140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03500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églalap 20"/>
          <p:cNvSpPr/>
          <p:nvPr/>
        </p:nvSpPr>
        <p:spPr>
          <a:xfrm>
            <a:off x="73892" y="849745"/>
            <a:ext cx="11970329" cy="53922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11591694" y="6398346"/>
            <a:ext cx="417502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11</a:t>
            </a:fld>
            <a:endParaRPr lang="hu-HU" dirty="0"/>
          </a:p>
        </p:txBody>
      </p:sp>
      <p:sp>
        <p:nvSpPr>
          <p:cNvPr id="9" name="Szövegdoboz 8"/>
          <p:cNvSpPr txBox="1"/>
          <p:nvPr/>
        </p:nvSpPr>
        <p:spPr>
          <a:xfrm>
            <a:off x="73892" y="6351010"/>
            <a:ext cx="118529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hu-HU" altLang="hu-HU" sz="1200" dirty="0">
                <a:latin typeface="Arial" panose="020B0604020202020204" pitchFamily="34" charset="0"/>
                <a:cs typeface="Arial" panose="020B0604020202020204" pitchFamily="34" charset="0"/>
              </a:rPr>
              <a:t>Forrás: KT Titkárság</a:t>
            </a:r>
            <a:endParaRPr lang="hu-HU" sz="1200" dirty="0"/>
          </a:p>
          <a:p>
            <a:pPr>
              <a:spcBef>
                <a:spcPct val="0"/>
              </a:spcBef>
            </a:pPr>
            <a:endParaRPr lang="hu-HU" sz="1200" i="1" dirty="0">
              <a:solidFill>
                <a:srgbClr val="00245D"/>
              </a:solidFill>
            </a:endParaRPr>
          </a:p>
        </p:txBody>
      </p:sp>
      <p:sp>
        <p:nvSpPr>
          <p:cNvPr id="10" name="Text Box 30"/>
          <p:cNvSpPr txBox="1"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3975" y="69488"/>
            <a:ext cx="11698570" cy="75713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hu-HU" altLang="hu-HU" sz="2400" b="1" dirty="0" smtClean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én és tavaly jelentős pozitív egyszeri tételek húzták a növekedést, azonban 2016-ban a negatív tényezők dominálhatnak </a:t>
            </a:r>
            <a:endParaRPr lang="hu-HU" altLang="hu-HU" sz="2400" dirty="0">
              <a:solidFill>
                <a:srgbClr val="2540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147362" y="1007805"/>
            <a:ext cx="612068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2014:</a:t>
            </a:r>
            <a:endParaRPr lang="hu-HU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Uniós forrásbeáramlás gyorsu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Autógyárak termelésbe állna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Állami béremelé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2000" b="1" dirty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2015: </a:t>
            </a:r>
            <a:endParaRPr lang="hu-HU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Élénkülő európai gazdaság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Alacsonyabb olajárak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Devizahitelek forintosítása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1888768" y="1006514"/>
            <a:ext cx="3766559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Hatás: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+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1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.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0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%-pont</a:t>
            </a: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+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0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.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8</a:t>
            </a:r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%-pont</a:t>
            </a: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+0.3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%-pont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hu-HU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hu-HU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hu-HU" sz="2000" b="1" dirty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+0.5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%-pont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+0.3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%-pont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r>
              <a:rPr lang="en-US" sz="2000" b="1" dirty="0" smtClean="0">
                <a:solidFill>
                  <a:schemeClr val="accent6">
                    <a:lumMod val="75000"/>
                  </a:schemeClr>
                </a:solidFill>
              </a:rPr>
              <a:t>+0.3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%-pont</a:t>
            </a:r>
            <a:endParaRPr lang="en-US" sz="2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r"/>
            <a:endParaRPr lang="en-US" sz="1600" b="1" dirty="0" smtClean="0">
              <a:solidFill>
                <a:srgbClr val="006600"/>
              </a:solidFill>
            </a:endParaRPr>
          </a:p>
          <a:p>
            <a:pPr algn="r"/>
            <a:r>
              <a:rPr lang="hu-HU" sz="1600" b="1" dirty="0" smtClean="0">
                <a:solidFill>
                  <a:srgbClr val="006600"/>
                </a:solidFill>
              </a:rPr>
              <a:t>			  </a:t>
            </a:r>
            <a:endParaRPr lang="hu-HU" sz="1600" b="1" dirty="0">
              <a:solidFill>
                <a:srgbClr val="006600"/>
              </a:solidFill>
            </a:endParaRPr>
          </a:p>
          <a:p>
            <a:pPr algn="r"/>
            <a:endParaRPr lang="en-US" sz="1600" b="1" dirty="0" smtClean="0">
              <a:solidFill>
                <a:srgbClr val="006600"/>
              </a:solidFill>
            </a:endParaRPr>
          </a:p>
          <a:p>
            <a:pPr algn="r"/>
            <a:r>
              <a:rPr lang="en-US" sz="1600" b="1" dirty="0" smtClean="0">
                <a:solidFill>
                  <a:srgbClr val="006600"/>
                </a:solidFill>
              </a:rPr>
              <a:t> </a:t>
            </a:r>
            <a:endParaRPr lang="en-US" sz="1600" b="1" dirty="0">
              <a:solidFill>
                <a:srgbClr val="006600"/>
              </a:solidFill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6757496" y="985260"/>
            <a:ext cx="5028106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FF0000"/>
                </a:solidFill>
              </a:rPr>
              <a:t>2016:</a:t>
            </a:r>
          </a:p>
          <a:p>
            <a:endParaRPr lang="en-US" sz="2000" b="1" dirty="0" smtClean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rgbClr val="FF0000"/>
                </a:solidFill>
              </a:rPr>
              <a:t>Kína miatt lassul a német és ezen keresztül a hazai exp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2000" b="1" dirty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rgbClr val="FF0000"/>
                </a:solidFill>
              </a:rPr>
              <a:t>A Volkswagen csoport termeléskiesése negatívan hathat </a:t>
            </a:r>
            <a:endParaRPr lang="en-US" sz="2000" b="1" dirty="0" smtClean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 smtClean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rgbClr val="FF0000"/>
                </a:solidFill>
              </a:rPr>
              <a:t>Mintegy 2-3 milliárd euróval csökken az uniós forrásbeáramlá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b="1" dirty="0" smtClean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rgbClr val="FF0000"/>
                </a:solidFill>
              </a:rPr>
              <a:t>Az infláció 2%-ra emelkedik, így a reálbér-dinamika lassul</a:t>
            </a:r>
            <a:endParaRPr lang="en-US" sz="2000" b="1" dirty="0" smtClean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 smtClean="0">
              <a:solidFill>
                <a:srgbClr val="FF0000"/>
              </a:solidFill>
            </a:endParaRPr>
          </a:p>
          <a:p>
            <a:endParaRPr lang="en-US" sz="1600" b="1" dirty="0" smtClean="0">
              <a:solidFill>
                <a:srgbClr val="FF0000"/>
              </a:solidFill>
            </a:endParaRPr>
          </a:p>
          <a:p>
            <a:endParaRPr lang="hu-HU" sz="1600" b="1" dirty="0" smtClean="0">
              <a:solidFill>
                <a:srgbClr val="FF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srgbClr val="007770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Szövegdoboz 15"/>
          <p:cNvSpPr txBox="1"/>
          <p:nvPr/>
        </p:nvSpPr>
        <p:spPr>
          <a:xfrm>
            <a:off x="6548160" y="5595670"/>
            <a:ext cx="55791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solidFill>
                  <a:srgbClr val="FF0000"/>
                </a:solidFill>
              </a:rPr>
              <a:t>Hatás: </a:t>
            </a:r>
            <a:r>
              <a:rPr lang="hu-HU" sz="2000" b="1" dirty="0" smtClean="0">
                <a:solidFill>
                  <a:srgbClr val="FF0000"/>
                </a:solidFill>
              </a:rPr>
              <a:t>beavatkozás hiányában a </a:t>
            </a:r>
            <a:r>
              <a:rPr lang="hu-HU" sz="2000" b="1" dirty="0">
                <a:solidFill>
                  <a:srgbClr val="FF0000"/>
                </a:solidFill>
              </a:rPr>
              <a:t>növekedés 2%-ra, vagy akár az alá </a:t>
            </a:r>
            <a:r>
              <a:rPr lang="hu-HU" sz="2000" b="1" dirty="0" smtClean="0">
                <a:solidFill>
                  <a:srgbClr val="FF0000"/>
                </a:solidFill>
              </a:rPr>
              <a:t>csökkenne</a:t>
            </a:r>
            <a:endParaRPr lang="hu-HU" sz="2000" dirty="0"/>
          </a:p>
        </p:txBody>
      </p:sp>
      <p:sp>
        <p:nvSpPr>
          <p:cNvPr id="5" name="Balra-jobbra nyíl 4"/>
          <p:cNvSpPr/>
          <p:nvPr/>
        </p:nvSpPr>
        <p:spPr>
          <a:xfrm>
            <a:off x="5825319" y="2817091"/>
            <a:ext cx="885445" cy="452582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Szövegdoboz 16"/>
          <p:cNvSpPr txBox="1"/>
          <p:nvPr/>
        </p:nvSpPr>
        <p:spPr>
          <a:xfrm>
            <a:off x="689460" y="5595670"/>
            <a:ext cx="56807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>
                <a:solidFill>
                  <a:schemeClr val="accent6">
                    <a:lumMod val="75000"/>
                  </a:schemeClr>
                </a:solidFill>
              </a:rPr>
              <a:t>Hatás: a növekedés </a:t>
            </a:r>
            <a:r>
              <a:rPr lang="hu-HU" sz="2000" b="1" dirty="0" smtClean="0">
                <a:solidFill>
                  <a:schemeClr val="accent6">
                    <a:lumMod val="75000"/>
                  </a:schemeClr>
                </a:solidFill>
              </a:rPr>
              <a:t>3% fölé gyorsult</a:t>
            </a:r>
            <a:endParaRPr lang="hu-HU" sz="2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0" name="Jobbra nyíl 19"/>
          <p:cNvSpPr/>
          <p:nvPr/>
        </p:nvSpPr>
        <p:spPr>
          <a:xfrm>
            <a:off x="6071564" y="5595670"/>
            <a:ext cx="453002" cy="400110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3" name="Egyenes összekötő 22"/>
          <p:cNvCxnSpPr/>
          <p:nvPr/>
        </p:nvCxnSpPr>
        <p:spPr>
          <a:xfrm flipV="1">
            <a:off x="191268" y="1376218"/>
            <a:ext cx="11695932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Jobbra nyíl 23"/>
          <p:cNvSpPr/>
          <p:nvPr/>
        </p:nvSpPr>
        <p:spPr>
          <a:xfrm>
            <a:off x="216129" y="5595670"/>
            <a:ext cx="453002" cy="400110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25" name="Egyenes összekötő 24"/>
          <p:cNvCxnSpPr/>
          <p:nvPr/>
        </p:nvCxnSpPr>
        <p:spPr>
          <a:xfrm>
            <a:off x="92364" y="803565"/>
            <a:ext cx="11951857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62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ktum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11"/>
          <p:cNvSpPr>
            <a:spLocks noChangeArrowheads="1"/>
          </p:cNvSpPr>
          <p:nvPr/>
        </p:nvSpPr>
        <p:spPr bwMode="auto">
          <a:xfrm rot="10800000">
            <a:off x="125879" y="735013"/>
            <a:ext cx="11890412" cy="5632450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25878" y="98426"/>
            <a:ext cx="11971299" cy="576262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z="2400" b="1" dirty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Mivel a költségvetési szigorítás nem folytatódott, a fogyasztás </a:t>
            </a:r>
            <a:r>
              <a:rPr lang="hu-HU" sz="2400" b="1" dirty="0" smtClean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közel 3%-</a:t>
            </a:r>
            <a:r>
              <a:rPr lang="hu-HU" sz="2400" b="1" dirty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kal nőtt, és a dinamika kevéssel e szint </a:t>
            </a:r>
            <a:r>
              <a:rPr lang="hu-HU" sz="2400" b="1" dirty="0" smtClean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alatt </a:t>
            </a:r>
            <a:r>
              <a:rPr lang="hu-HU" sz="2400" b="1" dirty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stabilizálódhat</a:t>
            </a:r>
            <a:endParaRPr lang="en-US" sz="2400" b="1" dirty="0">
              <a:solidFill>
                <a:srgbClr val="00006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349" name="Szövegdoboz 6"/>
          <p:cNvSpPr txBox="1">
            <a:spLocks noChangeArrowheads="1"/>
          </p:cNvSpPr>
          <p:nvPr/>
        </p:nvSpPr>
        <p:spPr bwMode="auto">
          <a:xfrm>
            <a:off x="189379" y="6496052"/>
            <a:ext cx="287450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Forrás: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Focus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Economics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, KT Titkárság</a:t>
            </a:r>
            <a:endParaRPr lang="en-US" altLang="hu-HU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7351" name="Text Box 30"/>
          <p:cNvSpPr txBox="1">
            <a:spLocks noChangeArrowheads="1"/>
          </p:cNvSpPr>
          <p:nvPr/>
        </p:nvSpPr>
        <p:spPr bwMode="auto">
          <a:xfrm>
            <a:off x="181442" y="735014"/>
            <a:ext cx="7504112" cy="3079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gyasztás növekedése </a:t>
            </a:r>
            <a:r>
              <a:rPr lang="hu-HU" altLang="hu-H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év/</a:t>
            </a:r>
            <a:r>
              <a:rPr lang="hu-HU" altLang="hu-HU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v</a:t>
            </a:r>
            <a:r>
              <a:rPr lang="hu-HU" altLang="hu-H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%)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12</a:t>
            </a:fld>
            <a:endParaRPr lang="hu-HU"/>
          </a:p>
        </p:txBody>
      </p:sp>
      <p:cxnSp>
        <p:nvCxnSpPr>
          <p:cNvPr id="10" name="Egyenes összekötő 9"/>
          <p:cNvCxnSpPr/>
          <p:nvPr/>
        </p:nvCxnSpPr>
        <p:spPr>
          <a:xfrm>
            <a:off x="148044" y="692150"/>
            <a:ext cx="11782698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</p:cxnSp>
      <p:graphicFrame>
        <p:nvGraphicFramePr>
          <p:cNvPr id="12" name="Diagram 11"/>
          <p:cNvGraphicFramePr>
            <a:graphicFrameLocks noGrp="1"/>
          </p:cNvGraphicFramePr>
          <p:nvPr>
            <p:extLst/>
          </p:nvPr>
        </p:nvGraphicFramePr>
        <p:xfrm>
          <a:off x="273984" y="1042989"/>
          <a:ext cx="11656758" cy="5138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3499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11074" y="114616"/>
            <a:ext cx="11586884" cy="667609"/>
          </a:xfrm>
        </p:spPr>
        <p:txBody>
          <a:bodyPr>
            <a:normAutofit/>
          </a:bodyPr>
          <a:lstStyle/>
          <a:p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ttó államadósság a DGP százalékában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68" y="685407"/>
            <a:ext cx="10874478" cy="5790314"/>
          </a:xfrm>
          <a:prstGeom prst="rect">
            <a:avLst/>
          </a:prstGeom>
        </p:spPr>
      </p:pic>
      <p:sp>
        <p:nvSpPr>
          <p:cNvPr id="6" name="Szövegdoboz 5"/>
          <p:cNvSpPr txBox="1"/>
          <p:nvPr/>
        </p:nvSpPr>
        <p:spPr>
          <a:xfrm>
            <a:off x="311074" y="6475721"/>
            <a:ext cx="45511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i="1" dirty="0" smtClean="0"/>
              <a:t>Forrás: Századvég, </a:t>
            </a:r>
            <a:r>
              <a:rPr lang="hu-HU" sz="1600" i="1" dirty="0" err="1" smtClean="0"/>
              <a:t>Eurostat</a:t>
            </a:r>
            <a:endParaRPr lang="hu-HU" sz="1600" i="1" dirty="0"/>
          </a:p>
        </p:txBody>
      </p:sp>
    </p:spTree>
    <p:extLst>
      <p:ext uri="{BB962C8B-B14F-4D97-AF65-F5344CB8AC3E}">
        <p14:creationId xmlns:p14="http://schemas.microsoft.com/office/powerpoint/2010/main" val="127235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Cím 1"/>
          <p:cNvSpPr>
            <a:spLocks noGrp="1"/>
          </p:cNvSpPr>
          <p:nvPr>
            <p:ph type="title"/>
          </p:nvPr>
        </p:nvSpPr>
        <p:spPr>
          <a:xfrm>
            <a:off x="381000" y="2"/>
            <a:ext cx="11548533" cy="527050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hu-HU" alt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ormányzás, valamint az</a:t>
            </a:r>
            <a:r>
              <a:rPr lang="en-US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adósság</a:t>
            </a:r>
            <a:r>
              <a:rPr lang="en-US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kulása </a:t>
            </a:r>
            <a:r>
              <a:rPr lang="en-US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alt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 %-</a:t>
            </a:r>
            <a:r>
              <a:rPr lang="en-US" altLang="en-US" sz="2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ban</a:t>
            </a:r>
            <a:endParaRPr lang="hu-HU" alt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67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10069512" y="6482557"/>
            <a:ext cx="2122488" cy="36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5CB9911-4500-4D57-8BFB-40F0AA1FEF99}" type="slidenum">
              <a:rPr lang="hu-HU" altLang="hu-HU" sz="12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hu-HU" altLang="hu-HU" sz="1200" dirty="0">
              <a:solidFill>
                <a:srgbClr val="898989"/>
              </a:solidFill>
            </a:endParaRPr>
          </a:p>
        </p:txBody>
      </p:sp>
      <p:sp>
        <p:nvSpPr>
          <p:cNvPr id="36868" name="Szövegdoboz 6"/>
          <p:cNvSpPr txBox="1">
            <a:spLocks noChangeArrowheads="1"/>
          </p:cNvSpPr>
          <p:nvPr/>
        </p:nvSpPr>
        <p:spPr bwMode="auto">
          <a:xfrm>
            <a:off x="203309" y="6526213"/>
            <a:ext cx="31707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en-US" sz="1200" i="1" dirty="0">
                <a:solidFill>
                  <a:srgbClr val="00245D"/>
                </a:solidFill>
                <a:latin typeface="+mn-lt"/>
                <a:ea typeface="Osaka" pitchFamily="1" charset="-128"/>
              </a:rPr>
              <a:t>Forrás: </a:t>
            </a:r>
            <a:r>
              <a:rPr lang="hu-HU" altLang="en-US" sz="1200" i="1" dirty="0" err="1">
                <a:solidFill>
                  <a:srgbClr val="00245D"/>
                </a:solidFill>
                <a:latin typeface="+mn-lt"/>
                <a:ea typeface="Osaka" pitchFamily="1" charset="-128"/>
              </a:rPr>
              <a:t>Eurostat</a:t>
            </a:r>
            <a:r>
              <a:rPr lang="hu-HU" altLang="en-US" sz="1200" i="1" dirty="0">
                <a:solidFill>
                  <a:srgbClr val="00245D"/>
                </a:solidFill>
                <a:latin typeface="+mn-lt"/>
                <a:ea typeface="Osaka" pitchFamily="1" charset="-128"/>
              </a:rPr>
              <a:t>, ÁKK, * Konvergencia </a:t>
            </a:r>
            <a:r>
              <a:rPr lang="hu-HU" altLang="en-US" sz="1200" i="1" dirty="0" smtClean="0">
                <a:solidFill>
                  <a:srgbClr val="00245D"/>
                </a:solidFill>
                <a:latin typeface="+mn-lt"/>
                <a:ea typeface="Osaka" pitchFamily="1" charset="-128"/>
              </a:rPr>
              <a:t>Program</a:t>
            </a:r>
            <a:endParaRPr lang="hu-HU" altLang="en-US" sz="1200" i="1" dirty="0">
              <a:solidFill>
                <a:srgbClr val="00245D"/>
              </a:solidFill>
              <a:latin typeface="+mn-lt"/>
              <a:ea typeface="Osaka" pitchFamily="1" charset="-128"/>
            </a:endParaRPr>
          </a:p>
        </p:txBody>
      </p:sp>
      <p:graphicFrame>
        <p:nvGraphicFramePr>
          <p:cNvPr id="8" name="Diagram 7"/>
          <p:cNvGraphicFramePr>
            <a:graphicFrameLocks/>
          </p:cNvGraphicFramePr>
          <p:nvPr>
            <p:extLst/>
          </p:nvPr>
        </p:nvGraphicFramePr>
        <p:xfrm>
          <a:off x="118534" y="442868"/>
          <a:ext cx="11390623" cy="6090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0" name="Egyenes összekötő 9"/>
          <p:cNvCxnSpPr/>
          <p:nvPr/>
        </p:nvCxnSpPr>
        <p:spPr>
          <a:xfrm flipV="1">
            <a:off x="2309547" y="5101449"/>
            <a:ext cx="0" cy="77864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 flipV="1">
            <a:off x="5369719" y="863595"/>
            <a:ext cx="5290" cy="505541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>
            <a:stCxn id="16401" idx="2"/>
          </p:cNvCxnSpPr>
          <p:nvPr/>
        </p:nvCxnSpPr>
        <p:spPr>
          <a:xfrm flipH="1" flipV="1">
            <a:off x="9512824" y="586222"/>
            <a:ext cx="26580" cy="535008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874" name="Szövegdoboz 13"/>
          <p:cNvSpPr txBox="1">
            <a:spLocks noChangeArrowheads="1"/>
          </p:cNvSpPr>
          <p:nvPr/>
        </p:nvSpPr>
        <p:spPr bwMode="auto">
          <a:xfrm>
            <a:off x="440267" y="456625"/>
            <a:ext cx="1775088" cy="55399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500" dirty="0" smtClean="0">
                <a:solidFill>
                  <a:prstClr val="black"/>
                </a:solidFill>
              </a:rPr>
              <a:t>Rendszerváltási </a:t>
            </a:r>
            <a:endParaRPr lang="hu-HU" altLang="en-US" sz="1500" dirty="0">
              <a:solidFill>
                <a:prstClr val="black"/>
              </a:solidFill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500" dirty="0">
                <a:solidFill>
                  <a:prstClr val="black"/>
                </a:solidFill>
              </a:rPr>
              <a:t>sokk</a:t>
            </a:r>
          </a:p>
        </p:txBody>
      </p:sp>
      <p:sp>
        <p:nvSpPr>
          <p:cNvPr id="36875" name="Szövegdoboz 14"/>
          <p:cNvSpPr txBox="1">
            <a:spLocks noChangeArrowheads="1"/>
          </p:cNvSpPr>
          <p:nvPr/>
        </p:nvSpPr>
        <p:spPr bwMode="auto">
          <a:xfrm>
            <a:off x="2504282" y="456625"/>
            <a:ext cx="2792938" cy="584775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600" dirty="0">
                <a:solidFill>
                  <a:prstClr val="black"/>
                </a:solidFill>
              </a:rPr>
              <a:t>Költségvetési kiigazítás és felzárkózás</a:t>
            </a:r>
          </a:p>
        </p:txBody>
      </p:sp>
      <p:sp>
        <p:nvSpPr>
          <p:cNvPr id="36876" name="Szövegdoboz 15"/>
          <p:cNvSpPr txBox="1">
            <a:spLocks noChangeArrowheads="1"/>
          </p:cNvSpPr>
          <p:nvPr/>
        </p:nvSpPr>
        <p:spPr bwMode="auto">
          <a:xfrm>
            <a:off x="5440165" y="456625"/>
            <a:ext cx="430887" cy="2171757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vert270"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600" dirty="0" smtClean="0">
                <a:solidFill>
                  <a:prstClr val="black"/>
                </a:solidFill>
              </a:rPr>
              <a:t>Kisebb fiskális lazítás</a:t>
            </a:r>
            <a:endParaRPr lang="hu-HU" altLang="en-US" sz="1600" dirty="0">
              <a:solidFill>
                <a:prstClr val="black"/>
              </a:solidFill>
            </a:endParaRPr>
          </a:p>
        </p:txBody>
      </p:sp>
      <p:sp>
        <p:nvSpPr>
          <p:cNvPr id="36877" name="Szövegdoboz 16"/>
          <p:cNvSpPr txBox="1">
            <a:spLocks noChangeArrowheads="1"/>
          </p:cNvSpPr>
          <p:nvPr/>
        </p:nvSpPr>
        <p:spPr bwMode="auto">
          <a:xfrm>
            <a:off x="7772548" y="442868"/>
            <a:ext cx="1677995" cy="107721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600" dirty="0">
                <a:solidFill>
                  <a:prstClr val="black"/>
                </a:solidFill>
              </a:rPr>
              <a:t>A pénzügyi </a:t>
            </a:r>
            <a:r>
              <a:rPr lang="hu-HU" altLang="en-US" sz="1600" dirty="0" err="1" smtClean="0">
                <a:solidFill>
                  <a:prstClr val="black"/>
                </a:solidFill>
              </a:rPr>
              <a:t>vál-ság</a:t>
            </a:r>
            <a:r>
              <a:rPr lang="hu-HU" altLang="en-US" sz="1600" dirty="0" smtClean="0">
                <a:solidFill>
                  <a:prstClr val="black"/>
                </a:solidFill>
              </a:rPr>
              <a:t> hatásainak eredménytelen </a:t>
            </a:r>
            <a:r>
              <a:rPr lang="hu-HU" altLang="en-US" sz="1600" dirty="0">
                <a:solidFill>
                  <a:prstClr val="black"/>
                </a:solidFill>
              </a:rPr>
              <a:t>kezelése </a:t>
            </a:r>
          </a:p>
        </p:txBody>
      </p:sp>
      <p:sp>
        <p:nvSpPr>
          <p:cNvPr id="36878" name="Szövegdoboz 17"/>
          <p:cNvSpPr txBox="1">
            <a:spLocks noChangeArrowheads="1"/>
          </p:cNvSpPr>
          <p:nvPr/>
        </p:nvSpPr>
        <p:spPr bwMode="auto">
          <a:xfrm>
            <a:off x="9550932" y="456624"/>
            <a:ext cx="1238247" cy="584775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600" dirty="0">
                <a:solidFill>
                  <a:prstClr val="black"/>
                </a:solidFill>
              </a:rPr>
              <a:t>Fiskális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hu-HU" altLang="en-US" sz="1600" dirty="0">
                <a:solidFill>
                  <a:prstClr val="black"/>
                </a:solidFill>
              </a:rPr>
              <a:t>stabilizáció</a:t>
            </a:r>
          </a:p>
        </p:txBody>
      </p:sp>
      <p:sp>
        <p:nvSpPr>
          <p:cNvPr id="16390" name="Lefelé nyíl 16389"/>
          <p:cNvSpPr/>
          <p:nvPr/>
        </p:nvSpPr>
        <p:spPr>
          <a:xfrm>
            <a:off x="2230965" y="5752519"/>
            <a:ext cx="157163" cy="2889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16392" name="Lefelé nyíl 16391"/>
          <p:cNvSpPr/>
          <p:nvPr/>
        </p:nvSpPr>
        <p:spPr>
          <a:xfrm>
            <a:off x="7637302" y="5647382"/>
            <a:ext cx="182562" cy="28892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16401" name="Lefelé nyíl 16400"/>
          <p:cNvSpPr/>
          <p:nvPr/>
        </p:nvSpPr>
        <p:spPr>
          <a:xfrm>
            <a:off x="9448122" y="5658494"/>
            <a:ext cx="182563" cy="2778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>
              <a:solidFill>
                <a:prstClr val="white"/>
              </a:solidFill>
            </a:endParaRPr>
          </a:p>
        </p:txBody>
      </p:sp>
      <p:sp>
        <p:nvSpPr>
          <p:cNvPr id="36882" name="Dátum helye 1"/>
          <p:cNvSpPr>
            <a:spLocks noGrp="1"/>
          </p:cNvSpPr>
          <p:nvPr>
            <p:ph type="dt" sz="quarter" idx="10"/>
          </p:nvPr>
        </p:nvSpPr>
        <p:spPr>
          <a:xfrm>
            <a:off x="3725333" y="6620405"/>
            <a:ext cx="8095190" cy="2135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600" dirty="0" smtClean="0">
                <a:solidFill>
                  <a:prstClr val="black"/>
                </a:solidFill>
                <a:latin typeface="Calibri" panose="020F0502020204030204"/>
              </a:rPr>
              <a:t>A nyilak a választások időpontját, a színek az aktuális kormány vezető pártjának „színét” jelölik. </a:t>
            </a:r>
            <a:endParaRPr lang="hu-HU" altLang="hu-HU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églalap 2"/>
          <p:cNvSpPr/>
          <p:nvPr/>
        </p:nvSpPr>
        <p:spPr>
          <a:xfrm>
            <a:off x="11423918" y="1784508"/>
            <a:ext cx="138016" cy="4151799"/>
          </a:xfrm>
          <a:prstGeom prst="rect">
            <a:avLst/>
          </a:prstGeom>
          <a:solidFill>
            <a:srgbClr val="00B050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11811361" y="1784508"/>
            <a:ext cx="167790" cy="415179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10889568" y="456624"/>
            <a:ext cx="1302431" cy="58477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hu-HU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re-állítás</a:t>
            </a:r>
            <a:endParaRPr lang="hu-H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Egyenes összekötő 6"/>
          <p:cNvCxnSpPr/>
          <p:nvPr/>
        </p:nvCxnSpPr>
        <p:spPr>
          <a:xfrm>
            <a:off x="11201400" y="6401330"/>
            <a:ext cx="8467" cy="263789"/>
          </a:xfrm>
          <a:prstGeom prst="line">
            <a:avLst/>
          </a:prstGeom>
          <a:ln>
            <a:solidFill>
              <a:srgbClr val="FF99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Jobbra nyíl 8"/>
          <p:cNvSpPr/>
          <p:nvPr/>
        </p:nvSpPr>
        <p:spPr>
          <a:xfrm>
            <a:off x="11232890" y="6138611"/>
            <a:ext cx="946069" cy="393544"/>
          </a:xfrm>
          <a:prstGeom prst="rightArrow">
            <a:avLst>
              <a:gd name="adj1" fmla="val 50000"/>
              <a:gd name="adj2" fmla="val 18149"/>
            </a:avLst>
          </a:prstGeom>
          <a:solidFill>
            <a:srgbClr val="FFC000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200" b="1" dirty="0" smtClean="0">
                <a:solidFill>
                  <a:srgbClr val="FAFA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hu-HU" sz="1100" b="1" dirty="0" smtClean="0">
                <a:solidFill>
                  <a:srgbClr val="FAFAF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–66 % t. </a:t>
            </a:r>
            <a:endParaRPr lang="hu-HU" sz="1100" b="1" dirty="0">
              <a:solidFill>
                <a:srgbClr val="FAFAF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Ellipszis 13"/>
          <p:cNvSpPr/>
          <p:nvPr/>
        </p:nvSpPr>
        <p:spPr>
          <a:xfrm>
            <a:off x="5991619" y="4077124"/>
            <a:ext cx="2779847" cy="1089264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  <a:r>
              <a:rPr lang="hu-HU" sz="14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lás</a:t>
            </a:r>
            <a:r>
              <a:rPr lang="hu-H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ntegy </a:t>
            </a:r>
          </a:p>
          <a:p>
            <a:pPr algn="ctr"/>
            <a:r>
              <a:rPr lang="hu-H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 </a:t>
            </a:r>
            <a:r>
              <a:rPr lang="hu-H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d-nyi</a:t>
            </a:r>
            <a:r>
              <a:rPr lang="hu-H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gyon </a:t>
            </a:r>
            <a:r>
              <a:rPr lang="hu-HU" sz="14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esítése </a:t>
            </a:r>
            <a:r>
              <a:rPr lang="hu-H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nére!</a:t>
            </a:r>
            <a:endParaRPr lang="hu-H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zövegdoboz 18"/>
          <p:cNvSpPr txBox="1"/>
          <p:nvPr/>
        </p:nvSpPr>
        <p:spPr>
          <a:xfrm>
            <a:off x="11680104" y="5919005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b="1" dirty="0" smtClean="0">
                <a:solidFill>
                  <a:prstClr val="black"/>
                </a:solidFill>
              </a:rPr>
              <a:t>2016</a:t>
            </a:r>
            <a:endParaRPr lang="hu-HU" sz="1200" b="1" dirty="0">
              <a:solidFill>
                <a:prstClr val="black"/>
              </a:solidFill>
            </a:endParaRPr>
          </a:p>
        </p:txBody>
      </p:sp>
      <p:sp>
        <p:nvSpPr>
          <p:cNvPr id="20" name="Téglalap 19"/>
          <p:cNvSpPr/>
          <p:nvPr/>
        </p:nvSpPr>
        <p:spPr>
          <a:xfrm>
            <a:off x="9530039" y="6232525"/>
            <a:ext cx="1689095" cy="219074"/>
          </a:xfrm>
          <a:prstGeom prst="rect">
            <a:avLst/>
          </a:prstGeom>
          <a:solidFill>
            <a:srgbClr val="FFC000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 %-os többség</a:t>
            </a:r>
            <a:endParaRPr lang="hu-HU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4206352" y="4147340"/>
            <a:ext cx="1755110" cy="95410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  <a:r>
              <a:rPr lang="hu-H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ulás</a:t>
            </a:r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400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-tizációs</a:t>
            </a:r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rás bevonása nélkül!</a:t>
            </a:r>
            <a:endParaRPr lang="hu-H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10097953" y="4162150"/>
            <a:ext cx="1687794" cy="1384995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ósság-arány </a:t>
            </a:r>
          </a:p>
          <a:p>
            <a:pPr algn="ctr"/>
            <a:r>
              <a:rPr lang="hu-H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ulás </a:t>
            </a:r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 mint </a:t>
            </a:r>
          </a:p>
          <a:p>
            <a:pPr algn="ctr"/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 </a:t>
            </a:r>
            <a:r>
              <a:rPr lang="hu-HU" sz="1400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d-nyi</a:t>
            </a:r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gyon </a:t>
            </a:r>
            <a:r>
              <a:rPr lang="hu-HU" sz="1400" b="1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szavásárlása </a:t>
            </a:r>
            <a:r>
              <a:rPr lang="hu-H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lett!</a:t>
            </a:r>
            <a:endParaRPr lang="hu-H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Háromszög 22"/>
          <p:cNvSpPr/>
          <p:nvPr/>
        </p:nvSpPr>
        <p:spPr>
          <a:xfrm rot="5400000">
            <a:off x="11739667" y="573133"/>
            <a:ext cx="524995" cy="432835"/>
          </a:xfrm>
          <a:prstGeom prst="triangle">
            <a:avLst>
              <a:gd name="adj" fmla="val 52321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4" name="Ellipszis 23"/>
          <p:cNvSpPr/>
          <p:nvPr/>
        </p:nvSpPr>
        <p:spPr>
          <a:xfrm>
            <a:off x="8657943" y="3077297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25" name="Ellipszis 24"/>
          <p:cNvSpPr/>
          <p:nvPr/>
        </p:nvSpPr>
        <p:spPr>
          <a:xfrm>
            <a:off x="7781780" y="2773458"/>
            <a:ext cx="1708836" cy="1373882"/>
          </a:xfrm>
          <a:prstGeom prst="ellipse">
            <a:avLst/>
          </a:prstGeom>
          <a:solidFill>
            <a:srgbClr val="912F8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mozgó adósság-spirál, majd </a:t>
            </a:r>
            <a:r>
              <a:rPr lang="hu-HU" sz="1400" b="1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ődközeli</a:t>
            </a:r>
            <a:r>
              <a:rPr lang="hu-HU" sz="1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lyzet</a:t>
            </a:r>
            <a:endParaRPr lang="hu-HU" sz="1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Egyenes összekötő 14"/>
          <p:cNvCxnSpPr/>
          <p:nvPr/>
        </p:nvCxnSpPr>
        <p:spPr>
          <a:xfrm flipH="1" flipV="1">
            <a:off x="2309813" y="527054"/>
            <a:ext cx="5931" cy="355007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87" name="Téglalap 16386"/>
          <p:cNvSpPr/>
          <p:nvPr/>
        </p:nvSpPr>
        <p:spPr>
          <a:xfrm>
            <a:off x="11281769" y="5972975"/>
            <a:ext cx="503978" cy="223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rgbClr val="002060"/>
                </a:solidFill>
              </a:rPr>
              <a:t>2015</a:t>
            </a:r>
            <a:endParaRPr lang="hu-HU" sz="1200" b="1" dirty="0">
              <a:solidFill>
                <a:srgbClr val="002060"/>
              </a:solidFill>
            </a:endParaRPr>
          </a:p>
        </p:txBody>
      </p:sp>
      <p:sp>
        <p:nvSpPr>
          <p:cNvPr id="16388" name="Ellipszis 16387"/>
          <p:cNvSpPr/>
          <p:nvPr/>
        </p:nvSpPr>
        <p:spPr>
          <a:xfrm rot="16200000">
            <a:off x="8692461" y="2664190"/>
            <a:ext cx="2751666" cy="708352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ugdíjvagyon </a:t>
            </a:r>
          </a:p>
          <a:p>
            <a:pPr algn="ctr"/>
            <a:r>
              <a:rPr lang="hu-H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hatásában semleges értékesítése</a:t>
            </a:r>
            <a:endParaRPr lang="hu-H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5984645" y="469571"/>
            <a:ext cx="1636707" cy="147732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/>
              <a:t>Nagymértékű fiskális lazítás és sikertelen korrekciós kísérletek</a:t>
            </a:r>
            <a:endParaRPr lang="hu-HU" dirty="0"/>
          </a:p>
        </p:txBody>
      </p:sp>
      <p:cxnSp>
        <p:nvCxnSpPr>
          <p:cNvPr id="16" name="Egyenes összekötő 15"/>
          <p:cNvCxnSpPr/>
          <p:nvPr/>
        </p:nvCxnSpPr>
        <p:spPr>
          <a:xfrm>
            <a:off x="5936681" y="469571"/>
            <a:ext cx="1" cy="517781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73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0"/>
    </mc:Choice>
    <mc:Fallback xmlns="">
      <p:transition spd="slow" advClick="0" advTm="3000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>
            <a:graphicFrameLocks/>
          </p:cNvGraphicFramePr>
          <p:nvPr>
            <p:extLst/>
          </p:nvPr>
        </p:nvGraphicFramePr>
        <p:xfrm>
          <a:off x="1495312" y="774551"/>
          <a:ext cx="9111727" cy="5325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1011219" y="193638"/>
            <a:ext cx="100799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200" b="1" dirty="0" smtClean="0">
                <a:solidFill>
                  <a:schemeClr val="accent5">
                    <a:lumMod val="50000"/>
                  </a:schemeClr>
                </a:solidFill>
              </a:rPr>
              <a:t>Államadósság növekedése a GDP növekedési üteméhez viszonyítva 2000-2008 között</a:t>
            </a:r>
            <a:endParaRPr lang="hu-HU" sz="2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47426" y="6314739"/>
            <a:ext cx="4905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 smtClean="0"/>
              <a:t>Forrás: </a:t>
            </a:r>
            <a:r>
              <a:rPr lang="hu-HU" sz="1400" dirty="0" err="1" smtClean="0"/>
              <a:t>Eurostat</a:t>
            </a:r>
            <a:r>
              <a:rPr lang="hu-HU" sz="1400" dirty="0" smtClean="0"/>
              <a:t>, GKI</a:t>
            </a:r>
            <a:endParaRPr lang="hu-HU" sz="1400" dirty="0"/>
          </a:p>
        </p:txBody>
      </p:sp>
    </p:spTree>
    <p:extLst>
      <p:ext uri="{BB962C8B-B14F-4D97-AF65-F5344CB8AC3E}">
        <p14:creationId xmlns:p14="http://schemas.microsoft.com/office/powerpoint/2010/main" val="392300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96562" y="765174"/>
            <a:ext cx="11804822" cy="5688013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9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27222" y="836613"/>
            <a:ext cx="11450594" cy="54737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accent1">
                <a:lumMod val="60000"/>
                <a:lumOff val="40000"/>
              </a:schemeClr>
            </a:outerShdw>
          </a:effectLst>
        </p:spPr>
        <p:txBody>
          <a:bodyPr/>
          <a:lstStyle/>
          <a:p>
            <a:pPr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8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242458" y="93103"/>
            <a:ext cx="11858925" cy="644910"/>
          </a:xfrm>
        </p:spPr>
        <p:txBody>
          <a:bodyPr rtlCol="0">
            <a:noAutofit/>
          </a:bodyPr>
          <a:lstStyle/>
          <a:p>
            <a:pPr algn="l">
              <a:defRPr/>
            </a:pPr>
            <a:r>
              <a:rPr 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A </a:t>
            </a:r>
            <a:r>
              <a:rPr 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költségvetések szempontjából előnyös, </a:t>
            </a:r>
            <a:r>
              <a:rPr 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hogy az </a:t>
            </a:r>
            <a:r>
              <a:rPr 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állampapír hozamok alacsony szintre csökkentek, 2016-ban alacsonyan maradhatnak a hosszú hozamok</a:t>
            </a:r>
            <a:endParaRPr lang="hu-HU" sz="2400" b="1" dirty="0">
              <a:solidFill>
                <a:srgbClr val="000064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798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2459" y="6524623"/>
            <a:ext cx="5775325" cy="276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0" tIns="45625" rIns="91250" bIns="45625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stat</a:t>
            </a:r>
            <a:endParaRPr lang="hu-HU" altLang="hu-H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799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7427" y="858839"/>
            <a:ext cx="5005387" cy="3079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4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10 éves állampapírhozam alakulása </a:t>
            </a:r>
            <a:r>
              <a:rPr lang="hu-HU" altLang="hu-HU" sz="1400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ázispont)</a:t>
            </a:r>
          </a:p>
        </p:txBody>
      </p:sp>
      <p:graphicFrame>
        <p:nvGraphicFramePr>
          <p:cNvPr id="10" name="Diagram 9"/>
          <p:cNvGraphicFramePr>
            <a:graphicFrameLocks/>
          </p:cNvGraphicFramePr>
          <p:nvPr>
            <p:extLst/>
          </p:nvPr>
        </p:nvGraphicFramePr>
        <p:xfrm>
          <a:off x="527222" y="1166815"/>
          <a:ext cx="11379028" cy="5143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99758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81231" y="765173"/>
            <a:ext cx="11944865" cy="5688013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9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7178" y="836613"/>
            <a:ext cx="11681254" cy="54737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accent1">
                <a:lumMod val="60000"/>
                <a:lumOff val="40000"/>
              </a:schemeClr>
            </a:outerShdw>
          </a:effectLst>
        </p:spPr>
        <p:txBody>
          <a:bodyPr/>
          <a:lstStyle/>
          <a:p>
            <a:pPr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8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26828" y="107821"/>
            <a:ext cx="11977816" cy="649288"/>
          </a:xfrm>
        </p:spPr>
        <p:txBody>
          <a:bodyPr rtlCol="0">
            <a:noAutofit/>
          </a:bodyPr>
          <a:lstStyle/>
          <a:p>
            <a:pPr algn="l">
              <a:defRPr/>
            </a:pPr>
            <a:r>
              <a:rPr 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K</a:t>
            </a:r>
            <a:r>
              <a:rPr 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edvező fejlemény az is, </a:t>
            </a:r>
            <a:r>
              <a:rPr 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hogy a felárak az elmúlt évekhez képest csökkentek vagy alacsonyak maradtak</a:t>
            </a:r>
          </a:p>
        </p:txBody>
      </p:sp>
      <p:sp>
        <p:nvSpPr>
          <p:cNvPr id="34822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6748" y="6490816"/>
            <a:ext cx="5775325" cy="276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0" tIns="45625" rIns="91250" bIns="45625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Reuters</a:t>
            </a:r>
          </a:p>
        </p:txBody>
      </p:sp>
      <p:sp>
        <p:nvSpPr>
          <p:cNvPr id="34823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8164" y="860426"/>
            <a:ext cx="3271837" cy="3079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4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altLang="hu-HU" sz="1400" b="1" dirty="0" err="1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S-felár</a:t>
            </a:r>
            <a:r>
              <a:rPr lang="hu-HU" altLang="hu-HU" sz="14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akulása </a:t>
            </a:r>
            <a:r>
              <a:rPr lang="hu-HU" altLang="hu-HU" sz="1400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ázispont)</a:t>
            </a:r>
          </a:p>
        </p:txBody>
      </p:sp>
      <p:sp>
        <p:nvSpPr>
          <p:cNvPr id="18" name="Téglalap 17"/>
          <p:cNvSpPr/>
          <p:nvPr/>
        </p:nvSpPr>
        <p:spPr>
          <a:xfrm>
            <a:off x="7465325" y="1419367"/>
            <a:ext cx="1692323" cy="20471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12" name="Diagram 11"/>
          <p:cNvGraphicFramePr>
            <a:graphicFrameLocks noGrp="1"/>
          </p:cNvGraphicFramePr>
          <p:nvPr>
            <p:extLst/>
          </p:nvPr>
        </p:nvGraphicFramePr>
        <p:xfrm>
          <a:off x="387177" y="1095375"/>
          <a:ext cx="11604797" cy="5214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05476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ktum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11"/>
          <p:cNvSpPr>
            <a:spLocks noChangeArrowheads="1"/>
          </p:cNvSpPr>
          <p:nvPr/>
        </p:nvSpPr>
        <p:spPr bwMode="auto">
          <a:xfrm rot="10800000">
            <a:off x="146735" y="742382"/>
            <a:ext cx="11949672" cy="5828277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212" y="-6307"/>
            <a:ext cx="12060195" cy="75882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altLang="en-US" sz="2300" dirty="0">
                <a:solidFill>
                  <a:srgbClr val="002060"/>
                </a:solidFill>
                <a:latin typeface="Arial" panose="020B0604020202020204" pitchFamily="34" charset="0"/>
              </a:rPr>
              <a:t/>
            </a:r>
            <a:br>
              <a:rPr lang="en-US" altLang="en-US" sz="2300" dirty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hu-HU" altLang="en-US" sz="2300" b="1" spc="-60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trukturális tényezők mellett  ország-specifikus események és a gazdaságpolitika is befolyásolja az egyes országok relatív megítélését</a:t>
            </a:r>
            <a:br>
              <a:rPr lang="hu-HU" altLang="en-US" sz="2300" b="1" spc="-60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altLang="en-US" sz="2300" b="1" spc="-60" dirty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69" name="Szövegdoboz 6"/>
          <p:cNvSpPr txBox="1">
            <a:spLocks noChangeArrowheads="1"/>
          </p:cNvSpPr>
          <p:nvPr/>
        </p:nvSpPr>
        <p:spPr bwMode="auto">
          <a:xfrm>
            <a:off x="203329" y="6538912"/>
            <a:ext cx="86899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hu-HU" alt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Reuters, a CEE átlag a fenti országok átlaga, az egyes országok vonalai pedig a CEE átlagtól való eltérést ábrázolják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>
          <a:xfrm>
            <a:off x="9331584" y="6538912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pPr/>
              <a:t>18</a:t>
            </a:fld>
            <a:endParaRPr lang="hu-HU" dirty="0"/>
          </a:p>
        </p:txBody>
      </p:sp>
      <p:cxnSp>
        <p:nvCxnSpPr>
          <p:cNvPr id="13" name="Egyenes összekötő 12"/>
          <p:cNvCxnSpPr/>
          <p:nvPr/>
        </p:nvCxnSpPr>
        <p:spPr>
          <a:xfrm>
            <a:off x="148044" y="692150"/>
            <a:ext cx="11782698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</p:cxnSp>
      <p:sp>
        <p:nvSpPr>
          <p:cNvPr id="5" name="Szövegdoboz 4"/>
          <p:cNvSpPr txBox="1"/>
          <p:nvPr/>
        </p:nvSpPr>
        <p:spPr>
          <a:xfrm>
            <a:off x="228211" y="737400"/>
            <a:ext cx="10328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altLang="en-US" b="1" dirty="0">
                <a:solidFill>
                  <a:srgbClr val="002060"/>
                </a:solidFill>
                <a:latin typeface="Arial" panose="020B0604020202020204" pitchFamily="34" charset="0"/>
              </a:rPr>
              <a:t>A CEE térség átlagos </a:t>
            </a:r>
            <a:r>
              <a:rPr lang="hu-HU" altLang="en-US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CDS-felára</a:t>
            </a:r>
            <a:r>
              <a:rPr lang="hu-HU" altLang="en-US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hu-HU" altLang="en-US" b="1" dirty="0">
                <a:solidFill>
                  <a:srgbClr val="002060"/>
                </a:solidFill>
                <a:latin typeface="Arial" panose="020B0604020202020204" pitchFamily="34" charset="0"/>
              </a:rPr>
              <a:t>és az egyes országok relatív pozíciói </a:t>
            </a:r>
            <a:r>
              <a:rPr lang="hu-HU" altLang="en-US" dirty="0">
                <a:solidFill>
                  <a:srgbClr val="002060"/>
                </a:solidFill>
                <a:latin typeface="Arial" panose="020B0604020202020204" pitchFamily="34" charset="0"/>
              </a:rPr>
              <a:t>(</a:t>
            </a:r>
            <a:r>
              <a:rPr lang="hu-HU" altLang="en-US" dirty="0" smtClean="0">
                <a:solidFill>
                  <a:srgbClr val="002060"/>
                </a:solidFill>
                <a:latin typeface="Arial" panose="020B0604020202020204" pitchFamily="34" charset="0"/>
              </a:rPr>
              <a:t>bázispont)</a:t>
            </a:r>
            <a:endParaRPr lang="hu-HU" dirty="0"/>
          </a:p>
        </p:txBody>
      </p:sp>
      <p:pic>
        <p:nvPicPr>
          <p:cNvPr id="6187" name="Picture 4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79" y="1106732"/>
            <a:ext cx="11432124" cy="5370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0688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ím 8"/>
          <p:cNvSpPr>
            <a:spLocks noGrp="1"/>
          </p:cNvSpPr>
          <p:nvPr>
            <p:ph type="ctrTitle"/>
          </p:nvPr>
        </p:nvSpPr>
        <p:spPr>
          <a:xfrm>
            <a:off x="7407139" y="1004526"/>
            <a:ext cx="3288504" cy="380170"/>
          </a:xfrm>
        </p:spPr>
        <p:txBody>
          <a:bodyPr>
            <a:normAutofit/>
          </a:bodyPr>
          <a:lstStyle/>
          <a:p>
            <a:pPr algn="l"/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papír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zamok (%)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8688656" y="6435318"/>
            <a:ext cx="2743200" cy="365125"/>
          </a:xfrm>
        </p:spPr>
        <p:txBody>
          <a:bodyPr/>
          <a:lstStyle/>
          <a:p>
            <a:fld id="{3F82EC8C-9470-43EA-8919-60664C270462}" type="slidenum">
              <a:rPr lang="hu-HU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7598" y="6565214"/>
            <a:ext cx="79673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ÁKK              Megjegyzés</a:t>
            </a:r>
            <a:r>
              <a:rPr lang="hu-HU" sz="900" i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hu-HU" sz="900" dirty="0">
                <a:latin typeface="Arial" panose="020B0604020202020204" pitchFamily="34" charset="0"/>
                <a:cs typeface="Arial" panose="020B0604020202020204" pitchFamily="34" charset="0"/>
              </a:rPr>
              <a:t> *A devizaadósság a hónap utolsó munkanapján jegyzett MNB középárfolyamon kerül értékelésre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104776" y="107285"/>
            <a:ext cx="119116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ltségvetés olcsóbb finanszírozása a gazdaság és a társadalom számára forrásokat szabadít fel, növekedési tényező</a:t>
            </a:r>
            <a:endParaRPr lang="hu-H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artalom helye 5"/>
          <p:cNvSpPr txBox="1">
            <a:spLocks/>
          </p:cNvSpPr>
          <p:nvPr/>
        </p:nvSpPr>
        <p:spPr>
          <a:xfrm>
            <a:off x="150488" y="1427582"/>
            <a:ext cx="5715742" cy="504785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dirty="0">
              <a:solidFill>
                <a:srgbClr val="C00000"/>
              </a:solidFill>
            </a:endParaRPr>
          </a:p>
        </p:txBody>
      </p:sp>
      <p:sp>
        <p:nvSpPr>
          <p:cNvPr id="15" name="Tartalom helye 5"/>
          <p:cNvSpPr txBox="1">
            <a:spLocks/>
          </p:cNvSpPr>
          <p:nvPr/>
        </p:nvSpPr>
        <p:spPr>
          <a:xfrm>
            <a:off x="6060591" y="1427585"/>
            <a:ext cx="5981601" cy="506091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dirty="0">
              <a:solidFill>
                <a:srgbClr val="C00000"/>
              </a:solidFill>
            </a:endParaRPr>
          </a:p>
        </p:txBody>
      </p:sp>
      <p:graphicFrame>
        <p:nvGraphicFramePr>
          <p:cNvPr id="14" name="Diagram 13"/>
          <p:cNvGraphicFramePr>
            <a:graphicFrameLocks noGrp="1"/>
          </p:cNvGraphicFramePr>
          <p:nvPr>
            <p:extLst/>
          </p:nvPr>
        </p:nvGraphicFramePr>
        <p:xfrm>
          <a:off x="6060591" y="1481280"/>
          <a:ext cx="5981601" cy="49941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Jobbra nyíl 15"/>
          <p:cNvSpPr/>
          <p:nvPr/>
        </p:nvSpPr>
        <p:spPr>
          <a:xfrm rot="2146938">
            <a:off x="7001427" y="3709195"/>
            <a:ext cx="1706611" cy="484632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solidFill>
                <a:prstClr val="white"/>
              </a:solidFill>
            </a:endParaRPr>
          </a:p>
        </p:txBody>
      </p:sp>
      <p:sp>
        <p:nvSpPr>
          <p:cNvPr id="3" name="Téglalap 2"/>
          <p:cNvSpPr/>
          <p:nvPr/>
        </p:nvSpPr>
        <p:spPr>
          <a:xfrm>
            <a:off x="6824823" y="4512471"/>
            <a:ext cx="2582333" cy="9144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prstClr val="white"/>
                </a:solidFill>
              </a:rPr>
              <a:t>A költségvetés olcsóbb finanszírozása </a:t>
            </a:r>
            <a:endParaRPr lang="hu-HU" dirty="0">
              <a:solidFill>
                <a:prstClr val="white"/>
              </a:solidFill>
            </a:endParaRPr>
          </a:p>
        </p:txBody>
      </p:sp>
      <p:cxnSp>
        <p:nvCxnSpPr>
          <p:cNvPr id="13" name="Egyenes összekötő 12"/>
          <p:cNvCxnSpPr/>
          <p:nvPr/>
        </p:nvCxnSpPr>
        <p:spPr>
          <a:xfrm flipV="1">
            <a:off x="104776" y="938282"/>
            <a:ext cx="11937417" cy="0"/>
          </a:xfrm>
          <a:prstGeom prst="line">
            <a:avLst/>
          </a:prstGeom>
          <a:ln>
            <a:solidFill>
              <a:srgbClr val="0000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Diagram 17"/>
          <p:cNvGraphicFramePr>
            <a:graphicFrameLocks noGrp="1"/>
          </p:cNvGraphicFramePr>
          <p:nvPr>
            <p:extLst/>
          </p:nvPr>
        </p:nvGraphicFramePr>
        <p:xfrm>
          <a:off x="178395" y="1509833"/>
          <a:ext cx="5715742" cy="4979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178395" y="1027473"/>
            <a:ext cx="571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eviza alapú államadósság aránya (%)</a:t>
            </a:r>
            <a:endParaRPr lang="hu-HU" sz="2000" b="1" dirty="0"/>
          </a:p>
        </p:txBody>
      </p:sp>
    </p:spTree>
    <p:extLst>
      <p:ext uri="{BB962C8B-B14F-4D97-AF65-F5344CB8AC3E}">
        <p14:creationId xmlns:p14="http://schemas.microsoft.com/office/powerpoint/2010/main" val="334728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58484" y="383458"/>
            <a:ext cx="4164443" cy="397933"/>
          </a:xfrm>
          <a:noFill/>
        </p:spPr>
        <p:txBody>
          <a:bodyPr>
            <a:normAutofit fontScale="90000"/>
          </a:bodyPr>
          <a:lstStyle/>
          <a:p>
            <a:pPr marL="360363"/>
            <a:r>
              <a:rPr lang="hu-HU" sz="3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lőadás témái</a:t>
            </a:r>
            <a:endParaRPr lang="hu-HU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09678" y="849824"/>
            <a:ext cx="11916698" cy="5670716"/>
          </a:xfrm>
        </p:spPr>
        <p:txBody>
          <a:bodyPr>
            <a:normAutofit fontScale="25000" lnSpcReduction="20000"/>
          </a:bodyPr>
          <a:lstStyle/>
          <a:p>
            <a:pPr marL="541338" indent="-187325">
              <a:lnSpc>
                <a:spcPct val="120000"/>
              </a:lnSpc>
              <a:spcBef>
                <a:spcPts val="0"/>
              </a:spcBef>
              <a:buAutoNum type="arabicPeriod"/>
              <a:tabLst>
                <a:tab pos="354013" algn="l"/>
              </a:tabLst>
            </a:pP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akrogazdaság </a:t>
            </a: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az államháztartás várható, ma belátható pozíciói, konjunktúra </a:t>
            </a: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látások:</a:t>
            </a:r>
            <a:endParaRPr lang="hu-HU" sz="8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1338" indent="0">
              <a:lnSpc>
                <a:spcPct val="120000"/>
              </a:lnSpc>
              <a:spcBef>
                <a:spcPts val="0"/>
              </a:spcBef>
              <a:buNone/>
              <a:tabLst>
                <a:tab pos="354013" algn="l"/>
              </a:tabLst>
            </a:pP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l, hogy dinamikus </a:t>
            </a: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ensúly valósuljon meg a társadalmi igények teljesítése és a fenntartható fejlődés feltételeinek forrásbiztosítása között, aminek alapfeltétele</a:t>
            </a:r>
          </a:p>
          <a:p>
            <a:pPr marL="806450" indent="-187325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990600" algn="l"/>
              </a:tabLst>
            </a:pP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tabilitást és növekedést egyidejűleg eredményező társadalom- és gazdaságpolitika érvényesítése és </a:t>
            </a:r>
          </a:p>
          <a:p>
            <a:pPr marL="806450" indent="-187325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990600" algn="l"/>
              </a:tabLst>
            </a:pP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énzügypolitika, illetve a költségvetési célrendszer e kettős célnak való tartós megfeleltetése a </a:t>
            </a: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onló sorsú országok pályájának azonosságai és különbségei, a Visegrádi-csoport új jelentősége az EU-ban</a:t>
            </a:r>
          </a:p>
          <a:p>
            <a:pPr marL="806450" indent="-17780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806450" algn="l"/>
              </a:tabLst>
            </a:pP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, költségvetési pozíciók 2015 késő őszén, kilátások  2016-ra</a:t>
            </a:r>
          </a:p>
          <a:p>
            <a:pPr marL="806450" indent="-177800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Ø"/>
              <a:tabLst>
                <a:tab pos="806450" algn="l"/>
              </a:tabLst>
            </a:pP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ltségvetési politika sikereket hozó prioritásai és új kockázatai</a:t>
            </a:r>
          </a:p>
          <a:p>
            <a:pPr marL="541338" indent="-187325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  <a:tabLst>
                <a:tab pos="360363" algn="l"/>
              </a:tabLst>
            </a:pP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 fejlődés hajtóerői, a belátható időben bruttó módon nullszaldós költségvetés lehetősége</a:t>
            </a:r>
          </a:p>
          <a:p>
            <a:pPr marL="541338" indent="-187325">
              <a:lnSpc>
                <a:spcPct val="120000"/>
              </a:lnSpc>
              <a:spcBef>
                <a:spcPts val="0"/>
              </a:spcBef>
            </a:pP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edmények megvédése, a társadalmi igények és a fejlődés feltételei közötti dinamikus egyensúly biztosítása, mint </a:t>
            </a: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őség </a:t>
            </a: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tt, de feltételezi a jelenleg meglévő működési egyenetlenségek érdemi </a:t>
            </a: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rséklését, </a:t>
            </a:r>
            <a:r>
              <a:rPr lang="hu-HU" sz="8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amint a növekedés tartalékai mozgósítását</a:t>
            </a:r>
          </a:p>
          <a:p>
            <a:pPr marL="541338" indent="-187325">
              <a:lnSpc>
                <a:spcPct val="120000"/>
              </a:lnSpc>
              <a:spcBef>
                <a:spcPts val="0"/>
              </a:spcBef>
            </a:pPr>
            <a:r>
              <a:rPr lang="hu-HU" sz="8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lamháztartási kiadások kézbentartása, a fejlődés fenntarthatósága érdekében a gazdasági növekedéssel, illetve a csökkenő adósságszolgálattal felszabaduló forrásokat elsősorban a gazdasági-társadalmi fejlődés szolgálatában kell felhasználni. </a:t>
            </a:r>
          </a:p>
          <a:p>
            <a:pPr marL="541338" indent="-187325">
              <a:lnSpc>
                <a:spcPct val="120000"/>
              </a:lnSpc>
              <a:spcBef>
                <a:spcPts val="0"/>
              </a:spcBef>
              <a:buNone/>
            </a:pPr>
            <a:endParaRPr lang="hu-HU" sz="50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06388" indent="0">
              <a:lnSpc>
                <a:spcPct val="120000"/>
              </a:lnSpc>
              <a:spcBef>
                <a:spcPts val="0"/>
              </a:spcBef>
              <a:buNone/>
            </a:pPr>
            <a:endParaRPr lang="hu-HU" sz="6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11857043" y="6337978"/>
            <a:ext cx="169333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0740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06478" y="237305"/>
            <a:ext cx="11828206" cy="716423"/>
          </a:xfrm>
        </p:spPr>
        <p:txBody>
          <a:bodyPr>
            <a:normAutofit/>
          </a:bodyPr>
          <a:lstStyle/>
          <a:p>
            <a:pPr algn="ctr"/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Államháztartás bevételei </a:t>
            </a:r>
            <a:r>
              <a:rPr lang="hu-HU" sz="3200" b="1" dirty="0">
                <a:latin typeface="Arial" panose="020B0604020202020204" pitchFamily="34" charset="0"/>
                <a:cs typeface="Arial" panose="020B0604020202020204" pitchFamily="34" charset="0"/>
              </a:rPr>
              <a:t>2015. I-IX</a:t>
            </a:r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hu-H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20</a:t>
            </a:fld>
            <a:endParaRPr lang="hu-HU"/>
          </a:p>
        </p:txBody>
      </p:sp>
      <p:graphicFrame>
        <p:nvGraphicFramePr>
          <p:cNvPr id="5" name="Tartalom helye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03269741"/>
              </p:ext>
            </p:extLst>
          </p:nvPr>
        </p:nvGraphicFramePr>
        <p:xfrm>
          <a:off x="838200" y="953728"/>
          <a:ext cx="10515600" cy="5223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Szövegdoboz 6"/>
          <p:cNvSpPr txBox="1"/>
          <p:nvPr/>
        </p:nvSpPr>
        <p:spPr>
          <a:xfrm>
            <a:off x="786581" y="6440129"/>
            <a:ext cx="1248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Forrás: KSH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4610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églalap 3"/>
          <p:cNvSpPr/>
          <p:nvPr/>
        </p:nvSpPr>
        <p:spPr>
          <a:xfrm>
            <a:off x="178904" y="159026"/>
            <a:ext cx="11857382" cy="487506"/>
          </a:xfrm>
          <a:prstGeom prst="rect">
            <a:avLst/>
          </a:prstGeom>
          <a:gradFill>
            <a:gsLst>
              <a:gs pos="0">
                <a:schemeClr val="accent3">
                  <a:lumMod val="0"/>
                  <a:lumOff val="100000"/>
                </a:schemeClr>
              </a:gs>
              <a:gs pos="71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r="100000" b="100000"/>
            </a:path>
          </a:gradFill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hu-HU" sz="2400" b="1" dirty="0" smtClean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z államháztartás konszolidált funkcionális kiadásainak megoszlása (</a:t>
            </a:r>
            <a:r>
              <a:rPr lang="hu-HU" sz="2400" dirty="0" smtClean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)</a:t>
            </a:r>
            <a:endParaRPr lang="hu-HU" sz="2400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302211" y="6538912"/>
            <a:ext cx="8477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200" i="1" dirty="0">
                <a:solidFill>
                  <a:srgbClr val="00245D"/>
                </a:solidFill>
              </a:rPr>
              <a:t>Forrás: NGM, </a:t>
            </a:r>
            <a:r>
              <a:rPr lang="hu-HU" sz="1200" i="1" dirty="0" smtClean="0">
                <a:solidFill>
                  <a:srgbClr val="00245D"/>
                </a:solidFill>
              </a:rPr>
              <a:t>KSH, 2015-2018. évi Konvergencia Program, KT Titkárság </a:t>
            </a:r>
            <a:r>
              <a:rPr lang="hu-HU" sz="1200" i="1" dirty="0">
                <a:solidFill>
                  <a:srgbClr val="00245D"/>
                </a:solidFill>
              </a:rPr>
              <a:t>szerkesztés</a:t>
            </a:r>
          </a:p>
        </p:txBody>
      </p:sp>
      <p:sp>
        <p:nvSpPr>
          <p:cNvPr id="10" name="Dia számának helye 9"/>
          <p:cNvSpPr>
            <a:spLocks noGrp="1"/>
          </p:cNvSpPr>
          <p:nvPr>
            <p:ph type="sldNum" sz="quarter" idx="12"/>
          </p:nvPr>
        </p:nvSpPr>
        <p:spPr>
          <a:xfrm>
            <a:off x="8599842" y="6481564"/>
            <a:ext cx="2743200" cy="365125"/>
          </a:xfrm>
        </p:spPr>
        <p:txBody>
          <a:bodyPr/>
          <a:lstStyle/>
          <a:p>
            <a:fld id="{334D2023-4384-4D50-92F6-E5B72C3E344B}" type="slidenum">
              <a:rPr lang="hu-HU" smtClean="0"/>
              <a:pPr/>
              <a:t>21</a:t>
            </a:fld>
            <a:endParaRPr lang="hu-HU" dirty="0"/>
          </a:p>
        </p:txBody>
      </p:sp>
      <p:graphicFrame>
        <p:nvGraphicFramePr>
          <p:cNvPr id="2" name="Táblázat 1"/>
          <p:cNvGraphicFramePr>
            <a:graphicFrameLocks noGrp="1"/>
          </p:cNvGraphicFramePr>
          <p:nvPr>
            <p:extLst/>
          </p:nvPr>
        </p:nvGraphicFramePr>
        <p:xfrm>
          <a:off x="178904" y="6035361"/>
          <a:ext cx="11857384" cy="30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72980"/>
                <a:gridCol w="866274"/>
                <a:gridCol w="770021"/>
                <a:gridCol w="902368"/>
                <a:gridCol w="854242"/>
                <a:gridCol w="806116"/>
                <a:gridCol w="890337"/>
                <a:gridCol w="895046"/>
              </a:tblGrid>
              <a:tr h="269186">
                <a:tc>
                  <a:txBody>
                    <a:bodyPr/>
                    <a:lstStyle/>
                    <a:p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Államháztartási</a:t>
                      </a:r>
                      <a:r>
                        <a:rPr lang="hu-H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iadások összesen a GDP százalékában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,9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0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6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,8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1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,1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,3</a:t>
                      </a:r>
                      <a:endParaRPr lang="hu-H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áblázat 5"/>
          <p:cNvGraphicFramePr>
            <a:graphicFrameLocks noGrp="1"/>
          </p:cNvGraphicFramePr>
          <p:nvPr>
            <p:extLst/>
          </p:nvPr>
        </p:nvGraphicFramePr>
        <p:xfrm>
          <a:off x="178904" y="745619"/>
          <a:ext cx="11857384" cy="5218439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5872980"/>
                <a:gridCol w="842211"/>
                <a:gridCol w="806116"/>
                <a:gridCol w="866273"/>
                <a:gridCol w="854242"/>
                <a:gridCol w="830179"/>
                <a:gridCol w="866274"/>
                <a:gridCol w="919109"/>
              </a:tblGrid>
              <a:tr h="138377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 </a:t>
                      </a:r>
                      <a:endParaRPr lang="hu-HU" sz="18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Megnevezés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aseline="0" dirty="0">
                          <a:effectLst/>
                        </a:rPr>
                        <a:t>tény</a:t>
                      </a:r>
                      <a:endParaRPr lang="hu-HU" sz="1800" baseline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aseline="0" dirty="0">
                          <a:effectLst/>
                        </a:rPr>
                        <a:t>költségvetés</a:t>
                      </a:r>
                      <a:endParaRPr lang="hu-HU" sz="1800" baseline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59" marR="4459" marT="0" marB="0"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138377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>
                          <a:effectLst/>
                        </a:rPr>
                        <a:t>2010</a:t>
                      </a:r>
                      <a:endParaRPr lang="hu-HU" sz="18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>
                          <a:effectLst/>
                        </a:rPr>
                        <a:t>2011</a:t>
                      </a:r>
                      <a:endParaRPr lang="hu-HU" sz="18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 dirty="0">
                          <a:effectLst/>
                        </a:rPr>
                        <a:t>2012</a:t>
                      </a:r>
                      <a:endParaRPr lang="hu-HU" sz="18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 dirty="0">
                          <a:effectLst/>
                        </a:rPr>
                        <a:t>2013</a:t>
                      </a:r>
                      <a:endParaRPr lang="hu-HU" sz="18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 dirty="0">
                          <a:effectLst/>
                        </a:rPr>
                        <a:t>2014</a:t>
                      </a:r>
                      <a:endParaRPr lang="hu-HU" sz="18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 dirty="0">
                          <a:effectLst/>
                        </a:rPr>
                        <a:t>2015</a:t>
                      </a:r>
                      <a:endParaRPr lang="hu-HU" sz="18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b="1" dirty="0">
                          <a:effectLst/>
                        </a:rPr>
                        <a:t>2016</a:t>
                      </a:r>
                      <a:endParaRPr lang="hu-HU" sz="18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</a:tr>
              <a:tr h="2311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ÁLLAMI MŰKÖDÉSI FUNKCIÓK ÖSSZESEN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5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9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5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7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8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6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8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04537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Általános közösségi szolgáltatások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9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3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9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1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3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1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2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38377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Védelem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09971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Rendvédelem és közbiztonság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4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09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JÓLÉTI FUNKCIÓK ÖSSZESEN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61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7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8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6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4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6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6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99130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Oktatási tevékenységek és szolgáltatások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1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38377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Egészségügy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9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4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97940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Társadalombiztosítási és jóléti szolgáltatások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4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2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3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1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9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1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1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17189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Lakásügyek, települési és közösségi tevékenységek és szolgáltatások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39635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Szórakoztató, kulturális, vallási tevékenységek és szolgáltatások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3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925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GAZDASÁGI FUNKCIÓK ÖSSZESEN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4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3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5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7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8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9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6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348916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u="sng" dirty="0">
                          <a:effectLst/>
                        </a:rPr>
                        <a:t>Ebből kiemelve: </a:t>
                      </a:r>
                      <a:endParaRPr lang="hu-HU" sz="1800" dirty="0">
                        <a:effectLst/>
                      </a:endParaRPr>
                    </a:p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Mező-, erdő-, hal- és vadgazdálkodás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53615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Közlekedési és távközlési tevékenységek és szolgáltatások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5,9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6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7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7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7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39023"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Környezetvédelem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3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618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ÁLLAMADÓSSÁG-KEZELÉS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7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8,7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7,1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6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2033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Funkcióba nem sorolható tételek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0,4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2,4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8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0,6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0,2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,5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  <a:tr h="138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ÖSSZESEN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0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100,0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0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0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0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>
                          <a:effectLst/>
                        </a:rPr>
                        <a:t>100,0</a:t>
                      </a:r>
                      <a:endParaRPr lang="hu-HU" sz="1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100,0</a:t>
                      </a:r>
                      <a:endParaRPr lang="hu-HU" sz="1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8152" marR="48152" marT="0" marB="0" anchor="ctr"/>
                </a:tc>
              </a:tr>
            </a:tbl>
          </a:graphicData>
        </a:graphic>
      </p:graphicFrame>
      <p:sp>
        <p:nvSpPr>
          <p:cNvPr id="3" name="Ellipszis 2"/>
          <p:cNvSpPr/>
          <p:nvPr/>
        </p:nvSpPr>
        <p:spPr>
          <a:xfrm>
            <a:off x="11237495" y="2496936"/>
            <a:ext cx="608684" cy="59517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Ellipszis 4"/>
          <p:cNvSpPr/>
          <p:nvPr/>
        </p:nvSpPr>
        <p:spPr>
          <a:xfrm>
            <a:off x="11292189" y="5162604"/>
            <a:ext cx="553990" cy="24941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01566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75303" y="237306"/>
            <a:ext cx="11847870" cy="1325563"/>
          </a:xfrm>
        </p:spPr>
        <p:txBody>
          <a:bodyPr>
            <a:normAutofit/>
          </a:bodyPr>
          <a:lstStyle/>
          <a:p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ltségvetési egyensúllyal kapcsolatos társadalmi várakozások nem teszik könnyebbé a finanszírozás pozícióit </a:t>
            </a:r>
            <a:endParaRPr lang="hu-HU" sz="28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86813" y="1484671"/>
            <a:ext cx="11661058" cy="4692292"/>
          </a:xfrm>
        </p:spPr>
        <p:txBody>
          <a:bodyPr>
            <a:noAutofit/>
          </a:bodyPr>
          <a:lstStyle/>
          <a:p>
            <a:pPr marL="457200" indent="-457200">
              <a:lnSpc>
                <a:spcPct val="120000"/>
              </a:lnSpc>
              <a:spcBef>
                <a:spcPts val="0"/>
              </a:spcBef>
              <a:tabLst>
                <a:tab pos="0" algn="l"/>
              </a:tabLst>
            </a:pP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llami gondoskodás igénylésével kapcsolatos felmérések eredményei azt mutatják, hogy </a:t>
            </a: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 lakosság inkább az állami megoldásokat, mint a piaci alternatívákat részesíti a társadalmi szolgáltatásokban előnyben, s ez adottság </a:t>
            </a:r>
          </a:p>
          <a:p>
            <a:pPr marL="457200" indent="-457200">
              <a:lnSpc>
                <a:spcPct val="120000"/>
              </a:lnSpc>
              <a:spcBef>
                <a:spcPts val="0"/>
              </a:spcBef>
              <a:tabLst>
                <a:tab pos="0" algn="l"/>
              </a:tabLst>
            </a:pP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zimmetria 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z- és magánfinanszírozással kapcsolatos felelősségben</a:t>
            </a:r>
          </a:p>
          <a:p>
            <a:pPr marL="457200" indent="-457200">
              <a:lnSpc>
                <a:spcPct val="120000"/>
              </a:lnSpc>
              <a:spcBef>
                <a:spcPts val="0"/>
              </a:spcBef>
              <a:tabLst>
                <a:tab pos="0" algn="l"/>
              </a:tabLst>
            </a:pP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inte 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zdíthatatlan szerkezetű államháztartás, óriási a jövedelem-centralizáció,</a:t>
            </a:r>
          </a:p>
          <a:p>
            <a:pPr marL="457200" indent="-457200">
              <a:lnSpc>
                <a:spcPct val="120000"/>
              </a:lnSpc>
              <a:spcBef>
                <a:spcPts val="0"/>
              </a:spcBef>
              <a:tabLst>
                <a:tab pos="0" algn="l"/>
              </a:tabLst>
            </a:pP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tikai marketing célok túlzott súlya a különböző kezdeményezésekben (például a 40 éve nyugdíjkorhatár a férfiaknál több száz milliárdos költségvetési kiadást generált volna)</a:t>
            </a:r>
          </a:p>
          <a:p>
            <a:endParaRPr lang="hu-HU" sz="24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2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18483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rtalom helye 5"/>
          <p:cNvSpPr txBox="1">
            <a:spLocks/>
          </p:cNvSpPr>
          <p:nvPr/>
        </p:nvSpPr>
        <p:spPr>
          <a:xfrm>
            <a:off x="254000" y="936171"/>
            <a:ext cx="11689541" cy="562533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dirty="0">
              <a:solidFill>
                <a:srgbClr val="C00000"/>
              </a:solidFill>
            </a:endParaRPr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0" y="0"/>
            <a:ext cx="11943540" cy="9361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gyarországon az állami újraelosztás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értéke jóval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ghaladja az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ECD-átlagot,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egrádi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rsenytársainkhoz viszonyítva pedig kiugróan magasak a magyar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ányszámok</a:t>
            </a:r>
            <a:endParaRPr lang="hu-HU" sz="24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Cím 1"/>
          <p:cNvSpPr>
            <a:spLocks noGrp="1"/>
          </p:cNvSpPr>
          <p:nvPr>
            <p:ph type="title"/>
          </p:nvPr>
        </p:nvSpPr>
        <p:spPr>
          <a:xfrm>
            <a:off x="804333" y="936198"/>
            <a:ext cx="10014857" cy="648072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hu-HU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A GDP-arányos államháztartási bevételek és kiadások a Visegrádi országokban (2014) és az OECD-átlag (2013), (a GDP %-ában).</a:t>
            </a:r>
          </a:p>
        </p:txBody>
      </p:sp>
      <p:graphicFrame>
        <p:nvGraphicFramePr>
          <p:cNvPr id="3" name="Tartalom helye 2"/>
          <p:cNvGraphicFramePr>
            <a:graphicFrameLocks noGrp="1"/>
          </p:cNvGraphicFramePr>
          <p:nvPr>
            <p:ph idx="1"/>
            <p:extLst/>
          </p:nvPr>
        </p:nvGraphicFramePr>
        <p:xfrm>
          <a:off x="347132" y="1670308"/>
          <a:ext cx="11463867" cy="4741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0" y="6590561"/>
            <a:ext cx="79673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OECD, </a:t>
            </a:r>
            <a:r>
              <a:rPr lang="hu-HU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séfalvay</a:t>
            </a:r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Zoltán alapján részben KT Titkárság szerkesztés</a:t>
            </a:r>
            <a:endParaRPr lang="hu-H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9200340" y="6523414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23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96899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rtalom helye 5"/>
          <p:cNvSpPr txBox="1">
            <a:spLocks/>
          </p:cNvSpPr>
          <p:nvPr/>
        </p:nvSpPr>
        <p:spPr>
          <a:xfrm>
            <a:off x="0" y="936171"/>
            <a:ext cx="11943541" cy="5625334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dirty="0">
              <a:solidFill>
                <a:srgbClr val="C00000"/>
              </a:solidFill>
            </a:endParaRPr>
          </a:p>
        </p:txBody>
      </p:sp>
      <p:graphicFrame>
        <p:nvGraphicFramePr>
          <p:cNvPr id="4" name="Tartalom helye 3"/>
          <p:cNvGraphicFramePr>
            <a:graphicFrameLocks noGrp="1"/>
          </p:cNvGraphicFramePr>
          <p:nvPr>
            <p:ph idx="1"/>
            <p:extLst/>
          </p:nvPr>
        </p:nvGraphicFramePr>
        <p:xfrm>
          <a:off x="97971" y="1788320"/>
          <a:ext cx="11691258" cy="4579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ím 1"/>
          <p:cNvSpPr txBox="1">
            <a:spLocks/>
          </p:cNvSpPr>
          <p:nvPr/>
        </p:nvSpPr>
        <p:spPr>
          <a:xfrm>
            <a:off x="0" y="0"/>
            <a:ext cx="12192000" cy="9361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ECD szerint azonban nemcsak az újraelosztás mérete,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em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nak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zerkezete is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ndot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koz. Hatékonysági hiátusok miatt túl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kat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öltünk általános közszolgáltatásokra* és gazdaságfejlesztésre,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zont túl keveset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dítunk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ktatásra és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gészségügyre</a:t>
            </a:r>
            <a:endParaRPr lang="hu-HU" sz="21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Cím 1"/>
          <p:cNvSpPr>
            <a:spLocks noGrp="1"/>
          </p:cNvSpPr>
          <p:nvPr>
            <p:ph type="title"/>
          </p:nvPr>
        </p:nvSpPr>
        <p:spPr>
          <a:xfrm>
            <a:off x="1343429" y="945366"/>
            <a:ext cx="9200341" cy="92697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hu-HU" sz="2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őbb államháztartási kiadások a teljes államháztartási kiadások </a:t>
            </a:r>
            <a:r>
              <a:rPr lang="hu-HU" sz="20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ányában, </a:t>
            </a:r>
            <a:r>
              <a:rPr lang="hu-HU" sz="2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-ban</a:t>
            </a:r>
            <a:r>
              <a:rPr lang="hu-HU" sz="2000" b="1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az adósságszolgálatot is feltételezve a </a:t>
            </a:r>
            <a:r>
              <a:rPr lang="hu-HU" sz="2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egrádi országokban és az OECD-átlag, (2013).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9200341" y="6561505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24</a:t>
            </a:fld>
            <a:endParaRPr lang="hu-HU" dirty="0"/>
          </a:p>
        </p:txBody>
      </p:sp>
      <p:sp>
        <p:nvSpPr>
          <p:cNvPr id="10" name="TextBox 10"/>
          <p:cNvSpPr txBox="1"/>
          <p:nvPr/>
        </p:nvSpPr>
        <p:spPr>
          <a:xfrm>
            <a:off x="0" y="6590561"/>
            <a:ext cx="79673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OECD, </a:t>
            </a:r>
            <a:r>
              <a:rPr lang="hu-HU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séfalvay</a:t>
            </a:r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Zoltán alapján részben KT Titkárság szerkesztés</a:t>
            </a:r>
            <a:endParaRPr lang="hu-H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9324569" y="4974772"/>
            <a:ext cx="27432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/>
              <a:t>* Ez az adósságkezelési kiadással együtt 20,9%. Az adósságkezelés nélküli általános közszolgáltatás már OECD átlagot közelítő.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97537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rtalom helye 5"/>
          <p:cNvSpPr txBox="1">
            <a:spLocks/>
          </p:cNvSpPr>
          <p:nvPr/>
        </p:nvSpPr>
        <p:spPr>
          <a:xfrm>
            <a:off x="113343" y="1512980"/>
            <a:ext cx="11943541" cy="517901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hu-HU" dirty="0">
              <a:solidFill>
                <a:srgbClr val="C00000"/>
              </a:solidFill>
            </a:endParaRPr>
          </a:p>
        </p:txBody>
      </p:sp>
      <p:graphicFrame>
        <p:nvGraphicFramePr>
          <p:cNvPr id="4" name="Tartalom helye 3"/>
          <p:cNvGraphicFramePr>
            <a:graphicFrameLocks noGrp="1"/>
          </p:cNvGraphicFramePr>
          <p:nvPr>
            <p:ph idx="1"/>
            <p:extLst/>
          </p:nvPr>
        </p:nvGraphicFramePr>
        <p:xfrm>
          <a:off x="119743" y="1784439"/>
          <a:ext cx="11691257" cy="4616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églalap 5"/>
          <p:cNvSpPr/>
          <p:nvPr/>
        </p:nvSpPr>
        <p:spPr>
          <a:xfrm>
            <a:off x="-2" y="8848"/>
            <a:ext cx="12170229" cy="1409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ECD szerint a magas állami újraelosztásból és a közigazgatásban lezajlott centralizációból egyenesen következik,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 ma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r – a közszféra egészében lejátszódott jelentős reálbércsökkenés ellenére is </a:t>
            </a:r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n ötödik foglalkoztatott az állami szektorban  dolgozik…</a:t>
            </a:r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1850570" y="1207244"/>
            <a:ext cx="8258629" cy="75702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18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zszférában  foglalkoztatottak aránya (állami vállalatok nélkül) a foglalkoztatottak teljes létszámához viszonyítva (%) a Visegrádi országokban és az OECD-átlag, 2011</a:t>
            </a: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>
          <a:xfrm>
            <a:off x="9427029" y="6561504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25</a:t>
            </a:fld>
            <a:endParaRPr lang="hu-HU" dirty="0"/>
          </a:p>
        </p:txBody>
      </p:sp>
      <p:sp>
        <p:nvSpPr>
          <p:cNvPr id="10" name="TextBox 10"/>
          <p:cNvSpPr txBox="1"/>
          <p:nvPr/>
        </p:nvSpPr>
        <p:spPr>
          <a:xfrm>
            <a:off x="0" y="6590561"/>
            <a:ext cx="79673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OECD, </a:t>
            </a:r>
            <a:r>
              <a:rPr lang="hu-HU" sz="9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séfalvay</a:t>
            </a:r>
            <a:r>
              <a:rPr lang="hu-HU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Zoltán alapján részben KT Titkárság szerkesztés</a:t>
            </a:r>
            <a:endParaRPr lang="hu-H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375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10836" y="1510927"/>
            <a:ext cx="11857872" cy="4797796"/>
          </a:xfrm>
          <a:prstGeom prst="homePlate">
            <a:avLst>
              <a:gd name="adj" fmla="val 0"/>
            </a:avLst>
          </a:prstGeom>
          <a:solidFill>
            <a:srgbClr val="4F81BD">
              <a:lumMod val="20000"/>
              <a:lumOff val="80000"/>
            </a:srgbClr>
          </a:solidFill>
          <a:ln w="9525" algn="ctr">
            <a:solidFill>
              <a:srgbClr val="4F81BD">
                <a:lumMod val="20000"/>
                <a:lumOff val="80000"/>
              </a:srgb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3907" name="Szövegdoboz 13"/>
          <p:cNvSpPr txBox="1">
            <a:spLocks noChangeArrowheads="1"/>
          </p:cNvSpPr>
          <p:nvPr/>
        </p:nvSpPr>
        <p:spPr bwMode="auto">
          <a:xfrm>
            <a:off x="0" y="6462533"/>
            <a:ext cx="30572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dirty="0" err="1">
                <a:solidFill>
                  <a:srgbClr val="000000"/>
                </a:solidFill>
              </a:rPr>
              <a:t>Forrás</a:t>
            </a:r>
            <a:r>
              <a:rPr lang="en-US" sz="1000" dirty="0">
                <a:solidFill>
                  <a:srgbClr val="000000"/>
                </a:solidFill>
              </a:rPr>
              <a:t>: IMD World Competitiveness Yearbook rankings </a:t>
            </a:r>
          </a:p>
        </p:txBody>
      </p:sp>
      <p:sp>
        <p:nvSpPr>
          <p:cNvPr id="123908" name="Cím 1"/>
          <p:cNvSpPr txBox="1">
            <a:spLocks/>
          </p:cNvSpPr>
          <p:nvPr/>
        </p:nvSpPr>
        <p:spPr bwMode="auto">
          <a:xfrm>
            <a:off x="187017" y="23813"/>
            <a:ext cx="11866438" cy="1087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hu-HU" sz="2400" b="1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400" b="1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enyképesség megítélésének objektivitását deformálja, hogy a </a:t>
            </a:r>
            <a:r>
              <a:rPr lang="hu-HU" sz="2400" b="1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sadalmi </a:t>
            </a:r>
            <a:r>
              <a:rPr lang="hu-HU" sz="2400" b="1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jesítmények és a </a:t>
            </a:r>
            <a:r>
              <a:rPr lang="hu-HU" sz="2400" b="1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mányzati </a:t>
            </a:r>
            <a:r>
              <a:rPr lang="hu-HU" sz="2400" b="1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tékonyság többnyire szubjektív, érdekalapú megítélése is  visszatükröződik bennük, de így is komolyan kell őket venni  </a:t>
            </a:r>
            <a:endParaRPr lang="hu-HU" sz="2400" b="1" dirty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V="1">
            <a:off x="1624256" y="1150998"/>
            <a:ext cx="317023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777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hu-HU" sz="1600" b="1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Versenyképesség </a:t>
            </a:r>
            <a:r>
              <a:rPr lang="hu-HU" sz="1600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(helyezés)</a:t>
            </a:r>
            <a:endParaRPr lang="en-US" sz="1600" kern="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13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 flipV="1">
            <a:off x="6714836" y="1141842"/>
            <a:ext cx="399573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777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hu-HU" sz="1600" b="1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Kormányzati hatékonyság </a:t>
            </a:r>
            <a:r>
              <a:rPr lang="hu-HU" sz="1600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(helyezés)</a:t>
            </a:r>
            <a:endParaRPr lang="en-US" sz="1600" kern="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graphicFrame>
        <p:nvGraphicFramePr>
          <p:cNvPr id="18" name="Diagram 17"/>
          <p:cNvGraphicFramePr>
            <a:graphicFrameLocks/>
          </p:cNvGraphicFramePr>
          <p:nvPr>
            <p:extLst/>
          </p:nvPr>
        </p:nvGraphicFramePr>
        <p:xfrm>
          <a:off x="187018" y="1644072"/>
          <a:ext cx="5766512" cy="4480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Diagram 18"/>
          <p:cNvGraphicFramePr>
            <a:graphicFrameLocks/>
          </p:cNvGraphicFramePr>
          <p:nvPr>
            <p:extLst/>
          </p:nvPr>
        </p:nvGraphicFramePr>
        <p:xfrm>
          <a:off x="6234545" y="1644073"/>
          <a:ext cx="5652655" cy="4504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églalap 3"/>
          <p:cNvSpPr/>
          <p:nvPr/>
        </p:nvSpPr>
        <p:spPr>
          <a:xfrm>
            <a:off x="3070274" y="6053379"/>
            <a:ext cx="8987643" cy="469232"/>
          </a:xfrm>
          <a:prstGeom prst="rect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500" dirty="0" smtClean="0"/>
              <a:t>A felméréseken alapuló kormányzati és menedzsment-hatékonyságot tartalmazó rangsorok figyelembevételénél azt is látni  kell a szubjektív értékelés mellett, hogy az adatok valójában két évvel korábbi állapotot mutatnak.</a:t>
            </a:r>
            <a:endParaRPr lang="hu-HU" sz="1500" dirty="0"/>
          </a:p>
        </p:txBody>
      </p:sp>
      <p:sp>
        <p:nvSpPr>
          <p:cNvPr id="2" name="Szövegdoboz 1"/>
          <p:cNvSpPr txBox="1"/>
          <p:nvPr/>
        </p:nvSpPr>
        <p:spPr>
          <a:xfrm>
            <a:off x="480292" y="4246714"/>
            <a:ext cx="3112654" cy="124649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hu-HU" sz="1500" dirty="0" smtClean="0">
                <a:solidFill>
                  <a:schemeClr val="bg1"/>
                </a:solidFill>
              </a:rPr>
              <a:t>A stabilizálódó magyar mutatót az hozza, hogy ebben az </a:t>
            </a:r>
            <a:r>
              <a:rPr lang="hu-HU" sz="1500" dirty="0">
                <a:solidFill>
                  <a:schemeClr val="bg1"/>
                </a:solidFill>
              </a:rPr>
              <a:t>egyértelműen </a:t>
            </a:r>
            <a:r>
              <a:rPr lang="hu-HU" sz="1500" dirty="0" smtClean="0">
                <a:solidFill>
                  <a:schemeClr val="bg1"/>
                </a:solidFill>
              </a:rPr>
              <a:t>javuló ún. </a:t>
            </a:r>
            <a:r>
              <a:rPr lang="hu-HU" sz="1500" dirty="0" err="1" smtClean="0">
                <a:solidFill>
                  <a:schemeClr val="bg1"/>
                </a:solidFill>
              </a:rPr>
              <a:t>hard</a:t>
            </a:r>
            <a:r>
              <a:rPr lang="hu-HU" sz="1500" dirty="0">
                <a:solidFill>
                  <a:schemeClr val="bg1"/>
                </a:solidFill>
              </a:rPr>
              <a:t> </a:t>
            </a:r>
            <a:r>
              <a:rPr lang="hu-HU" sz="1500" dirty="0" smtClean="0">
                <a:solidFill>
                  <a:schemeClr val="bg1"/>
                </a:solidFill>
              </a:rPr>
              <a:t>adatok jobban megjelennek, mint a GDP, beruházás stb.</a:t>
            </a:r>
            <a:endParaRPr lang="hu-HU" sz="1500" dirty="0">
              <a:solidFill>
                <a:schemeClr val="bg1"/>
              </a:solidFill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2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5081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ktum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oShap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173895" y="1329266"/>
            <a:ext cx="11916913" cy="5240864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98831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200" b="1" spc="-6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övekedés egyik fő pillérjét jelentő uniós forrásbeáramlás a 2007-2013-as ciklusból származó pénzek idei kifutása után jövőre lassulna. A kormányzat mindent megtesz annak érdekében, hogy gyorsítsa a kifizetéseket.</a:t>
            </a:r>
            <a:endParaRPr lang="en-US" sz="2200" b="1" spc="-6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301" name="Szövegdoboz 6"/>
          <p:cNvSpPr txBox="1">
            <a:spLocks noChangeArrowheads="1"/>
          </p:cNvSpPr>
          <p:nvPr/>
        </p:nvSpPr>
        <p:spPr bwMode="auto">
          <a:xfrm>
            <a:off x="181833" y="6550025"/>
            <a:ext cx="41200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Forrás: </a:t>
            </a:r>
            <a:r>
              <a:rPr lang="hu-HU" altLang="hu-H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a </a:t>
            </a:r>
            <a:r>
              <a:rPr lang="hu-HU" altLang="hu-HU" sz="12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portfolio.hu</a:t>
            </a:r>
            <a:r>
              <a:rPr lang="hu-HU" altLang="hu-H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 gazdasági újság kalkulációja alapján</a:t>
            </a:r>
            <a:endParaRPr lang="en-US" altLang="hu-HU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5303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8333" y="983006"/>
            <a:ext cx="7504112" cy="3079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ós forrásbeáramlás a GDP arányában </a:t>
            </a:r>
            <a:r>
              <a:rPr lang="hu-HU" altLang="hu-H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  <a:endParaRPr lang="hu-HU" altLang="hu-HU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a számának helye 14"/>
          <p:cNvSpPr>
            <a:spLocks noGrp="1"/>
          </p:cNvSpPr>
          <p:nvPr>
            <p:ph type="sldNum" sz="quarter" idx="12"/>
          </p:nvPr>
        </p:nvSpPr>
        <p:spPr>
          <a:xfrm>
            <a:off x="8729307" y="6517241"/>
            <a:ext cx="2743200" cy="365125"/>
          </a:xfrm>
        </p:spPr>
        <p:txBody>
          <a:bodyPr/>
          <a:lstStyle/>
          <a:p>
            <a:fld id="{334D2023-4384-4D50-92F6-E5B72C3E344B}" type="slidenum">
              <a:rPr lang="hu-HU" smtClean="0"/>
              <a:pPr/>
              <a:t>27</a:t>
            </a:fld>
            <a:endParaRPr lang="hu-HU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99283" y="963956"/>
            <a:ext cx="11782698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</p:cxnSp>
      <p:graphicFrame>
        <p:nvGraphicFramePr>
          <p:cNvPr id="12" name="Diagram 11"/>
          <p:cNvGraphicFramePr>
            <a:graphicFrameLocks/>
          </p:cNvGraphicFramePr>
          <p:nvPr>
            <p:extLst/>
          </p:nvPr>
        </p:nvGraphicFramePr>
        <p:xfrm>
          <a:off x="250451" y="1423191"/>
          <a:ext cx="11631530" cy="5044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Lefelé nyíl 2"/>
          <p:cNvSpPr/>
          <p:nvPr/>
        </p:nvSpPr>
        <p:spPr>
          <a:xfrm>
            <a:off x="6666310" y="1912143"/>
            <a:ext cx="170857" cy="714375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Lefelé nyíl 15"/>
          <p:cNvSpPr/>
          <p:nvPr/>
        </p:nvSpPr>
        <p:spPr>
          <a:xfrm>
            <a:off x="5951936" y="1928812"/>
            <a:ext cx="180415" cy="1395413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Szövegdoboz 4"/>
          <p:cNvSpPr txBox="1"/>
          <p:nvPr/>
        </p:nvSpPr>
        <p:spPr>
          <a:xfrm>
            <a:off x="6837167" y="2076450"/>
            <a:ext cx="1040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rgbClr val="FF0000"/>
                </a:solidFill>
              </a:rPr>
              <a:t>-1,8%</a:t>
            </a:r>
            <a:endParaRPr lang="hu-HU" b="1" dirty="0">
              <a:solidFill>
                <a:srgbClr val="FF0000"/>
              </a:solidFill>
            </a:endParaRPr>
          </a:p>
        </p:txBody>
      </p:sp>
      <p:cxnSp>
        <p:nvCxnSpPr>
          <p:cNvPr id="7" name="Egyenes összekötő 6"/>
          <p:cNvCxnSpPr/>
          <p:nvPr/>
        </p:nvCxnSpPr>
        <p:spPr>
          <a:xfrm>
            <a:off x="5990632" y="3400425"/>
            <a:ext cx="624167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zövegdoboz 19"/>
          <p:cNvSpPr txBox="1"/>
          <p:nvPr/>
        </p:nvSpPr>
        <p:spPr>
          <a:xfrm>
            <a:off x="5262707" y="2475190"/>
            <a:ext cx="10400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rgbClr val="FF0000"/>
                </a:solidFill>
              </a:rPr>
              <a:t>-3,2%</a:t>
            </a:r>
            <a:endParaRPr lang="hu-H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094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>
                <a:lumMod val="85000"/>
              </a:schemeClr>
            </a:gs>
            <a:gs pos="74000">
              <a:srgbClr val="A5A5A5">
                <a:lumMod val="45000"/>
                <a:lumOff val="55000"/>
              </a:srgbClr>
            </a:gs>
            <a:gs pos="83000">
              <a:srgbClr val="A5A5A5">
                <a:lumMod val="45000"/>
                <a:lumOff val="55000"/>
              </a:srgbClr>
            </a:gs>
            <a:gs pos="100000">
              <a:srgbClr val="A5A5A5">
                <a:lumMod val="30000"/>
                <a:lumOff val="70000"/>
              </a:srgb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599" y="6535112"/>
            <a:ext cx="2937933" cy="263621"/>
          </a:xfrm>
        </p:spPr>
        <p:txBody>
          <a:bodyPr/>
          <a:lstStyle/>
          <a:p>
            <a:fld id="{3F82EC8C-9470-43EA-8919-60664C270462}" type="slidenum">
              <a:rPr lang="hu-HU" smtClean="0"/>
              <a:pPr/>
              <a:t>28</a:t>
            </a:fld>
            <a:endParaRPr lang="hu-HU" dirty="0"/>
          </a:p>
        </p:txBody>
      </p:sp>
      <p:sp>
        <p:nvSpPr>
          <p:cNvPr id="8" name="Title 5"/>
          <p:cNvSpPr txBox="1">
            <a:spLocks/>
          </p:cNvSpPr>
          <p:nvPr/>
        </p:nvSpPr>
        <p:spPr>
          <a:xfrm>
            <a:off x="338667" y="533958"/>
            <a:ext cx="11743266" cy="532842"/>
          </a:xfrm>
          <a:prstGeom prst="rect">
            <a:avLst/>
          </a:prstGeom>
        </p:spPr>
        <p:txBody>
          <a:bodyPr vert="horz" lIns="36000" tIns="45720" rIns="0" bIns="45720" rtlCol="0" anchor="ctr">
            <a:normAutofit/>
          </a:bodyPr>
          <a:lstStyle/>
          <a:p>
            <a:pPr lvl="0">
              <a:spcBef>
                <a:spcPct val="0"/>
              </a:spcBef>
              <a:defRPr/>
            </a:pPr>
            <a:r>
              <a:rPr lang="hu-HU" sz="2000" b="1" dirty="0">
                <a:solidFill>
                  <a:srgbClr val="00245D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Vállalati </a:t>
            </a:r>
            <a:r>
              <a:rPr lang="hu-HU" sz="2000" b="1" dirty="0" smtClean="0">
                <a:solidFill>
                  <a:srgbClr val="00245D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hitelpiac: az </a:t>
            </a:r>
            <a:r>
              <a:rPr lang="hu-HU" sz="2000" b="1" dirty="0">
                <a:solidFill>
                  <a:srgbClr val="00245D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NHP megállította a negatív trendet</a:t>
            </a:r>
            <a:r>
              <a:rPr lang="en-US" sz="2000" b="1" dirty="0">
                <a:solidFill>
                  <a:srgbClr val="00245D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,</a:t>
            </a:r>
            <a:r>
              <a:rPr lang="hu-HU" sz="2000" b="1" dirty="0">
                <a:solidFill>
                  <a:srgbClr val="00245D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de gyenge a piaci alapú hitelezés</a:t>
            </a:r>
            <a:endParaRPr lang="en-US" sz="2000" b="1" dirty="0">
              <a:solidFill>
                <a:srgbClr val="00245D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48420" y="2591626"/>
            <a:ext cx="64878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80" b="1" i="0" u="none" strike="noStrike" kern="1200" baseline="0">
                <a:solidFill>
                  <a:srgbClr val="00245D"/>
                </a:solidFill>
                <a:latin typeface="+mn-lt"/>
                <a:ea typeface="+mn-ea"/>
                <a:cs typeface="+mn-cs"/>
              </a:defRPr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Támogatott hitelek és az NHP összesített állomány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23541" y="2607499"/>
            <a:ext cx="44642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080" b="1" i="0" u="none" strike="noStrike" kern="1200" baseline="0">
                <a:solidFill>
                  <a:srgbClr val="00245D"/>
                </a:solidFill>
                <a:latin typeface="+mn-lt"/>
                <a:ea typeface="+mn-ea"/>
                <a:cs typeface="+mn-cs"/>
              </a:defRPr>
            </a:pPr>
            <a:r>
              <a:rPr 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lalati</a:t>
            </a:r>
            <a:r>
              <a:rPr lang="hu-HU" sz="2000" dirty="0"/>
              <a:t> és </a:t>
            </a:r>
            <a:r>
              <a:rPr lang="hu-HU" sz="2000" dirty="0" smtClean="0"/>
              <a:t>kkv </a:t>
            </a:r>
            <a:r>
              <a:rPr lang="hu-HU" sz="2000" dirty="0"/>
              <a:t>hitelek éves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változása</a:t>
            </a:r>
            <a:r>
              <a:rPr lang="hu-HU" sz="2000" dirty="0"/>
              <a:t> </a:t>
            </a:r>
            <a:endParaRPr lang="en-US" sz="2000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143" y="2991736"/>
            <a:ext cx="5410923" cy="3543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4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334" y="3076854"/>
            <a:ext cx="6324600" cy="345825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0" name="TextBox 19"/>
          <p:cNvSpPr txBox="1"/>
          <p:nvPr/>
        </p:nvSpPr>
        <p:spPr>
          <a:xfrm>
            <a:off x="1516885" y="5969966"/>
            <a:ext cx="2048933" cy="565146"/>
          </a:xfrm>
          <a:prstGeom prst="rect">
            <a:avLst/>
          </a:prstGeom>
          <a:solidFill>
            <a:srgbClr val="EEECE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hu-HU" sz="1600" dirty="0"/>
              <a:t>Vállalati hitelek összesen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068121" y="6068203"/>
            <a:ext cx="1007128" cy="318924"/>
          </a:xfrm>
          <a:prstGeom prst="rect">
            <a:avLst/>
          </a:prstGeom>
          <a:solidFill>
            <a:srgbClr val="EEECE1"/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hu-HU" sz="1600" dirty="0"/>
              <a:t>KKV hitelek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38667" y="989798"/>
            <a:ext cx="117432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7243" defTabSz="911307" eaLnBrk="0" hangingPunct="0">
              <a:buClr>
                <a:srgbClr val="FF0000"/>
              </a:buClr>
              <a:buFont typeface="Arial" pitchFamily="34" charset="0"/>
              <a:buChar char="■"/>
            </a:pPr>
            <a:r>
              <a:rPr lang="hu-HU" sz="2000" dirty="0">
                <a:solidFill>
                  <a:srgbClr val="000000"/>
                </a:solidFill>
              </a:rPr>
              <a:t>2008 óta a vállalati hitelek negyede „eltűnt”, ezt törte meg az NHP</a:t>
            </a:r>
          </a:p>
          <a:p>
            <a:pPr indent="177243" defTabSz="911307" eaLnBrk="0" hangingPunct="0">
              <a:buClr>
                <a:srgbClr val="FF0000"/>
              </a:buClr>
              <a:buFont typeface="Arial" pitchFamily="34" charset="0"/>
              <a:buChar char="■"/>
            </a:pPr>
            <a:r>
              <a:rPr lang="hu-HU" sz="2000" dirty="0">
                <a:solidFill>
                  <a:srgbClr val="000000"/>
                </a:solidFill>
              </a:rPr>
              <a:t>A refinanszírozott hitelek mellett </a:t>
            </a:r>
            <a:r>
              <a:rPr lang="en-GB" sz="2000" dirty="0">
                <a:solidFill>
                  <a:srgbClr val="000000"/>
                </a:solidFill>
              </a:rPr>
              <a:t>(</a:t>
            </a:r>
            <a:r>
              <a:rPr lang="en-GB" sz="2000" dirty="0" err="1">
                <a:solidFill>
                  <a:srgbClr val="000000"/>
                </a:solidFill>
              </a:rPr>
              <a:t>Exim</a:t>
            </a:r>
            <a:r>
              <a:rPr lang="en-GB" sz="2000" dirty="0">
                <a:solidFill>
                  <a:srgbClr val="000000"/>
                </a:solidFill>
              </a:rPr>
              <a:t>, </a:t>
            </a:r>
            <a:r>
              <a:rPr lang="hu-HU" sz="2000" dirty="0">
                <a:solidFill>
                  <a:srgbClr val="000000"/>
                </a:solidFill>
              </a:rPr>
              <a:t>NHP</a:t>
            </a:r>
            <a:r>
              <a:rPr lang="en-GB" sz="2000" dirty="0">
                <a:solidFill>
                  <a:srgbClr val="000000"/>
                </a:solidFill>
              </a:rPr>
              <a:t>) </a:t>
            </a:r>
            <a:r>
              <a:rPr lang="hu-HU" sz="2000" dirty="0">
                <a:solidFill>
                  <a:srgbClr val="000000"/>
                </a:solidFill>
              </a:rPr>
              <a:t>azonban csak lassan növekszik a piaci alapú hitelezés</a:t>
            </a:r>
            <a:endParaRPr lang="en-GB" sz="2000" dirty="0">
              <a:solidFill>
                <a:srgbClr val="000000"/>
              </a:solidFill>
            </a:endParaRPr>
          </a:p>
          <a:p>
            <a:pPr indent="177243" defTabSz="911307" eaLnBrk="0" hangingPunct="0">
              <a:buClr>
                <a:srgbClr val="FF0000"/>
              </a:buClr>
              <a:buFont typeface="Arial" pitchFamily="34" charset="0"/>
              <a:buChar char="■"/>
            </a:pPr>
            <a:r>
              <a:rPr lang="hu-HU" sz="2000" dirty="0">
                <a:solidFill>
                  <a:srgbClr val="000000"/>
                </a:solidFill>
              </a:rPr>
              <a:t>Javuló gazdasági kilátásokkal és új EU-s forrásokkal a hitelezés élénkülhet, de elmarad a válság előtti szintektől</a:t>
            </a:r>
          </a:p>
          <a:p>
            <a:pPr indent="177243" defTabSz="911307" eaLnBrk="0" hangingPunct="0">
              <a:buClr>
                <a:srgbClr val="FF0000"/>
              </a:buClr>
              <a:buFont typeface="Arial" pitchFamily="34" charset="0"/>
              <a:buChar char="■"/>
            </a:pPr>
            <a:r>
              <a:rPr lang="hu-HU" sz="2000" dirty="0" smtClean="0">
                <a:solidFill>
                  <a:srgbClr val="000000"/>
                </a:solidFill>
              </a:rPr>
              <a:t>„Finomhangolt” </a:t>
            </a:r>
            <a:r>
              <a:rPr lang="hu-HU" sz="2000" dirty="0">
                <a:solidFill>
                  <a:srgbClr val="000000"/>
                </a:solidFill>
              </a:rPr>
              <a:t>NHP </a:t>
            </a:r>
            <a:endParaRPr lang="hu-HU" sz="2000" dirty="0" smtClean="0">
              <a:solidFill>
                <a:srgbClr val="000000"/>
              </a:solidFill>
            </a:endParaRPr>
          </a:p>
          <a:p>
            <a:pPr indent="177243" defTabSz="911307" eaLnBrk="0" hangingPunct="0">
              <a:buClr>
                <a:srgbClr val="FF0000"/>
              </a:buClr>
              <a:buFont typeface="Arial" pitchFamily="34" charset="0"/>
              <a:buChar char="■"/>
            </a:pPr>
            <a:r>
              <a:rPr lang="hu-HU" sz="2000" dirty="0" smtClean="0">
                <a:solidFill>
                  <a:srgbClr val="000000"/>
                </a:solidFill>
              </a:rPr>
              <a:t>A </a:t>
            </a:r>
            <a:r>
              <a:rPr lang="hu-HU" sz="2000" dirty="0">
                <a:solidFill>
                  <a:srgbClr val="000000"/>
                </a:solidFill>
              </a:rPr>
              <a:t>bankok mérlegének kitisztítása </a:t>
            </a:r>
            <a:r>
              <a:rPr lang="en-GB" sz="2000" dirty="0">
                <a:solidFill>
                  <a:srgbClr val="000000"/>
                </a:solidFill>
              </a:rPr>
              <a:t>(</a:t>
            </a:r>
            <a:r>
              <a:rPr lang="hu-HU" sz="2000" dirty="0">
                <a:solidFill>
                  <a:srgbClr val="000000"/>
                </a:solidFill>
              </a:rPr>
              <a:t>MNB</a:t>
            </a:r>
            <a:r>
              <a:rPr lang="en-GB" sz="2000" dirty="0">
                <a:solidFill>
                  <a:srgbClr val="000000"/>
                </a:solidFill>
              </a:rPr>
              <a:t> </a:t>
            </a:r>
            <a:r>
              <a:rPr lang="hu-HU" sz="2000" i="1" dirty="0">
                <a:solidFill>
                  <a:srgbClr val="000000"/>
                </a:solidFill>
              </a:rPr>
              <a:t>„Rossz bank”</a:t>
            </a:r>
            <a:r>
              <a:rPr lang="en-GB" sz="2000" dirty="0">
                <a:solidFill>
                  <a:srgbClr val="000000"/>
                </a:solidFill>
              </a:rPr>
              <a:t>) </a:t>
            </a:r>
            <a:r>
              <a:rPr lang="hu-HU" sz="2000" dirty="0">
                <a:solidFill>
                  <a:srgbClr val="000000"/>
                </a:solidFill>
              </a:rPr>
              <a:t>segítheti a hitelezési képességet</a:t>
            </a: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23" name="Text Box 5"/>
          <p:cNvSpPr txBox="1">
            <a:spLocks noChangeArrowheads="1"/>
          </p:cNvSpPr>
          <p:nvPr/>
        </p:nvSpPr>
        <p:spPr bwMode="auto">
          <a:xfrm>
            <a:off x="262782" y="6585756"/>
            <a:ext cx="4072466" cy="2822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6661" tIns="48331" rIns="96661" bIns="48331">
            <a:spAutoFit/>
          </a:bodyPr>
          <a:lstStyle/>
          <a:p>
            <a:pPr>
              <a:spcBef>
                <a:spcPct val="50000"/>
              </a:spcBef>
              <a:buClr>
                <a:srgbClr val="FF0000"/>
              </a:buClr>
            </a:pPr>
            <a:r>
              <a:rPr lang="hu-HU" sz="1200" i="1" dirty="0">
                <a:solidFill>
                  <a:srgbClr val="00245D"/>
                </a:solidFill>
              </a:rPr>
              <a:t>Forrás:  MNB, </a:t>
            </a:r>
            <a:r>
              <a:rPr lang="hu-HU" sz="1200" i="1" dirty="0" err="1">
                <a:solidFill>
                  <a:srgbClr val="00245D"/>
                </a:solidFill>
              </a:rPr>
              <a:t>UniCredit</a:t>
            </a:r>
            <a:r>
              <a:rPr lang="hu-HU" sz="1200" i="1" dirty="0">
                <a:solidFill>
                  <a:srgbClr val="00245D"/>
                </a:solidFill>
              </a:rPr>
              <a:t> Research/Patai  2015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1390114" y="77667"/>
            <a:ext cx="862236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állalati hitelezés megindulása hajtóerő lehet 1.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81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" y="98323"/>
            <a:ext cx="12113341" cy="855407"/>
          </a:xfrm>
        </p:spPr>
        <p:txBody>
          <a:bodyPr>
            <a:normAutofit fontScale="90000"/>
          </a:bodyPr>
          <a:lstStyle/>
          <a:p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lalati hitelezés megindulása hajtóerő lehet </a:t>
            </a: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67147" y="953730"/>
            <a:ext cx="11602065" cy="5402620"/>
          </a:xfrm>
        </p:spPr>
        <p:txBody>
          <a:bodyPr>
            <a:normAutofit/>
          </a:bodyPr>
          <a:lstStyle/>
          <a:p>
            <a:r>
              <a:rPr lang="hu-HU" dirty="0"/>
              <a:t>A háztartási hitelfelvételi hajlandósághoz hasonlóan </a:t>
            </a:r>
            <a:r>
              <a:rPr lang="hu-HU" dirty="0" smtClean="0"/>
              <a:t>a válságban és azt követően a </a:t>
            </a:r>
            <a:r>
              <a:rPr lang="hu-HU" dirty="0"/>
              <a:t>vállalati hitelfelvétel is megtört, melynek köszönhetően a vállalati hitelállomány az elmúlt 10 évben nem volt hasonlóan alacsony szinten. </a:t>
            </a:r>
            <a:endParaRPr lang="hu-HU" dirty="0" smtClean="0"/>
          </a:p>
          <a:p>
            <a:r>
              <a:rPr lang="hu-HU" dirty="0" smtClean="0"/>
              <a:t>A </a:t>
            </a:r>
            <a:r>
              <a:rPr lang="hu-HU" dirty="0"/>
              <a:t>vállalatok még alacsony kockázatot sem mernek vállalni, így korlátozza a gazdaság fejlődési lehetőségeit. </a:t>
            </a:r>
            <a:endParaRPr lang="hu-HU" dirty="0" smtClean="0"/>
          </a:p>
          <a:p>
            <a:r>
              <a:rPr lang="hu-HU" dirty="0" smtClean="0"/>
              <a:t>A </a:t>
            </a:r>
            <a:r>
              <a:rPr lang="hu-HU" dirty="0"/>
              <a:t>jegybank számításai szerint a fenntartható gazdasági növekedéshez 5-10%-os vállalati hitelezési dinamika szükséges, amely évi 250-400 milliárd forintos nettó hitelnövekményt jelent, azonban jelenleg a komoly keresleti korlát miatt ez messze nem teljesül. A keresleti korlát elsősorban a gazdasági és jogi bizonytalanság valamint a hiteltermékektől és piacoktól való félelem. Ezt kezelendő a jegybank a Növekedési Hitelprogramot indított, mely azonban </a:t>
            </a:r>
            <a:r>
              <a:rPr lang="hu-HU" dirty="0" smtClean="0"/>
              <a:t>csak ösztönző hatású lehet, önmagában nem hozhat </a:t>
            </a:r>
            <a:r>
              <a:rPr lang="hu-HU" dirty="0"/>
              <a:t>növekedési </a:t>
            </a:r>
            <a:r>
              <a:rPr lang="hu-HU" dirty="0" smtClean="0"/>
              <a:t>fordulatot.</a:t>
            </a:r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2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97191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77510" y="766124"/>
            <a:ext cx="11782697" cy="5758501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48044" y="113082"/>
            <a:ext cx="11939451" cy="649288"/>
          </a:xfrm>
        </p:spPr>
        <p:txBody>
          <a:bodyPr rtlCol="0">
            <a:noAutofit/>
          </a:bodyPr>
          <a:lstStyle/>
          <a:p>
            <a:pPr algn="l">
              <a:defRPr/>
            </a:pPr>
            <a:r>
              <a:rPr 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Az USA GDP-je 2,5% felett növekedhet 2016-ban, az eurózóna növekedése 1,5% lehet, a külső környezet tehát alapvetően rendben van  </a:t>
            </a:r>
            <a:endParaRPr lang="hu-HU" sz="2400" b="1" dirty="0">
              <a:solidFill>
                <a:srgbClr val="000064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9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1321" y="860425"/>
            <a:ext cx="11535079" cy="559371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accent1">
                <a:lumMod val="60000"/>
                <a:lumOff val="40000"/>
              </a:schemeClr>
            </a:outerShdw>
          </a:effectLst>
        </p:spPr>
        <p:txBody>
          <a:bodyPr/>
          <a:lstStyle/>
          <a:p>
            <a:pPr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800" kern="0" dirty="0">
              <a:solidFill>
                <a:sysClr val="windowText" lastClr="000000"/>
              </a:solidFill>
              <a:latin typeface="Calibri"/>
            </a:endParaRPr>
          </a:p>
        </p:txBody>
      </p:sp>
      <p:cxnSp>
        <p:nvCxnSpPr>
          <p:cNvPr id="5" name="Egyenes összekötő 4"/>
          <p:cNvCxnSpPr/>
          <p:nvPr/>
        </p:nvCxnSpPr>
        <p:spPr>
          <a:xfrm>
            <a:off x="148044" y="692150"/>
            <a:ext cx="11782698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</p:cxnSp>
      <p:sp>
        <p:nvSpPr>
          <p:cNvPr id="28677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6802" y="6524626"/>
            <a:ext cx="5775325" cy="276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0" tIns="45625" rIns="91250" bIns="45625">
            <a:spAutoFit/>
          </a:bodyPr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en-US" altLang="hu-H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nsus Economics</a:t>
            </a:r>
          </a:p>
        </p:txBody>
      </p:sp>
      <p:sp>
        <p:nvSpPr>
          <p:cNvPr id="28679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1321" y="863600"/>
            <a:ext cx="7785100" cy="33813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6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-növekedési várakozások </a:t>
            </a:r>
            <a:r>
              <a:rPr lang="hu-HU" altLang="hu-HU" sz="1600" b="1" dirty="0" smtClean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-ra </a:t>
            </a:r>
            <a:r>
              <a:rPr lang="hu-HU" altLang="hu-HU" sz="16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gymást követő hónapokban </a:t>
            </a:r>
            <a:r>
              <a:rPr lang="hu-HU" altLang="hu-HU" sz="1600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</a:p>
        </p:txBody>
      </p:sp>
      <p:graphicFrame>
        <p:nvGraphicFramePr>
          <p:cNvPr id="12" name="Diagram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67623"/>
              </p:ext>
            </p:extLst>
          </p:nvPr>
        </p:nvGraphicFramePr>
        <p:xfrm>
          <a:off x="376802" y="1201737"/>
          <a:ext cx="11357997" cy="5016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785640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42000">
              <a:schemeClr val="bg1">
                <a:lumMod val="75000"/>
              </a:schemeClr>
            </a:gs>
            <a:gs pos="99000">
              <a:schemeClr val="accent3">
                <a:lumMod val="0"/>
                <a:lumOff val="100000"/>
              </a:schemeClr>
            </a:gs>
            <a:gs pos="74000">
              <a:schemeClr val="accent3">
                <a:lumMod val="10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68941" y="1092200"/>
            <a:ext cx="5624963" cy="699882"/>
          </a:xfrm>
          <a:noFill/>
        </p:spPr>
        <p:txBody>
          <a:bodyPr>
            <a:normAutofit/>
          </a:bodyPr>
          <a:lstStyle/>
          <a:p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kv-k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ámának alakulása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1-2014 között havi bontásban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3019602"/>
              </p:ext>
            </p:extLst>
          </p:nvPr>
        </p:nvGraphicFramePr>
        <p:xfrm>
          <a:off x="255364" y="1888067"/>
          <a:ext cx="5608723" cy="4534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Szövegdoboz 4"/>
          <p:cNvSpPr txBox="1"/>
          <p:nvPr/>
        </p:nvSpPr>
        <p:spPr>
          <a:xfrm>
            <a:off x="268941" y="6422315"/>
            <a:ext cx="4044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i="1" dirty="0">
                <a:solidFill>
                  <a:srgbClr val="00245D"/>
                </a:solidFill>
              </a:rPr>
              <a:t>Forrás: </a:t>
            </a:r>
            <a:r>
              <a:rPr lang="hu-HU" sz="1200" i="1" dirty="0" smtClean="0">
                <a:solidFill>
                  <a:srgbClr val="00245D"/>
                </a:solidFill>
              </a:rPr>
              <a:t>KSH, KT Titkárság</a:t>
            </a:r>
            <a:endParaRPr lang="hu-HU" sz="1200" i="1" dirty="0">
              <a:solidFill>
                <a:srgbClr val="00245D"/>
              </a:solidFill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3E11-76C8-45F0-82E5-C8EAC8DA5DFA}" type="slidenum">
              <a:rPr lang="hu-HU" smtClean="0"/>
              <a:t>30</a:t>
            </a:fld>
            <a:endParaRPr lang="hu-HU"/>
          </a:p>
        </p:txBody>
      </p:sp>
      <p:sp>
        <p:nvSpPr>
          <p:cNvPr id="6" name="Téglalap 5"/>
          <p:cNvSpPr/>
          <p:nvPr/>
        </p:nvSpPr>
        <p:spPr>
          <a:xfrm>
            <a:off x="268941" y="84667"/>
            <a:ext cx="11707711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kv-k teljesítményének növekedése, versenyképesebbé válása </a:t>
            </a:r>
          </a:p>
          <a:p>
            <a:pPr algn="ctr"/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övekedés egyik lehetséges motorja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Diagra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4699059"/>
              </p:ext>
            </p:extLst>
          </p:nvPr>
        </p:nvGraphicFramePr>
        <p:xfrm>
          <a:off x="6092687" y="1896534"/>
          <a:ext cx="5883966" cy="4525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églalap 7"/>
          <p:cNvSpPr/>
          <p:nvPr/>
        </p:nvSpPr>
        <p:spPr>
          <a:xfrm>
            <a:off x="6112564" y="1092200"/>
            <a:ext cx="5864088" cy="6998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kv-k részesedése a gazdaságban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10226843" y="6094740"/>
            <a:ext cx="1419726" cy="2616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hu-H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DP-ben</a:t>
            </a:r>
            <a:endParaRPr lang="hu-H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183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Cím 7"/>
          <p:cNvSpPr>
            <a:spLocks noGrp="1"/>
          </p:cNvSpPr>
          <p:nvPr>
            <p:ph type="title"/>
          </p:nvPr>
        </p:nvSpPr>
        <p:spPr>
          <a:xfrm>
            <a:off x="0" y="0"/>
            <a:ext cx="12191999" cy="1125538"/>
          </a:xfrm>
          <a:noFill/>
        </p:spPr>
        <p:txBody>
          <a:bodyPr>
            <a:normAutofit fontScale="90000"/>
          </a:bodyPr>
          <a:lstStyle/>
          <a:p>
            <a:r>
              <a:rPr lang="hu-HU" altLang="en-US" sz="2400" b="1" dirty="0">
                <a:solidFill>
                  <a:srgbClr val="002060"/>
                </a:solidFill>
                <a:latin typeface="Arial Narrow" panose="020B0606020202030204" pitchFamily="34" charset="0"/>
              </a:rPr>
              <a:t>2012  év elején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pesszimista </a:t>
            </a:r>
            <a:r>
              <a:rPr lang="hu-HU" altLang="en-US" sz="2400" b="1" dirty="0">
                <a:solidFill>
                  <a:srgbClr val="002060"/>
                </a:solidFill>
                <a:latin typeface="Arial Narrow" panose="020B0606020202030204" pitchFamily="34" charset="0"/>
              </a:rPr>
              <a:t>hangulat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uralkodott. </a:t>
            </a:r>
            <a:r>
              <a:rPr lang="hu-HU" altLang="en-US" sz="2400" b="1" smtClean="0">
                <a:solidFill>
                  <a:srgbClr val="002060"/>
                </a:solidFill>
                <a:latin typeface="Arial Narrow" panose="020B0606020202030204" pitchFamily="34" charset="0"/>
              </a:rPr>
              <a:t>Szakértői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várakozás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hu-HU" altLang="en-US" sz="2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volt, hogy a bizalomhiány miatt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ég javuló reálgazdasági eredmények mellett is nemcsak </a:t>
            </a:r>
            <a:r>
              <a:rPr lang="hu-HU" altLang="en-US" sz="2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„újratermelődik” az adósság,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anem aránya is gyorsan növekszik, mert </a:t>
            </a:r>
            <a:r>
              <a:rPr lang="hu-HU" altLang="en-US" sz="24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z alkalmazkodás </a:t>
            </a:r>
            <a: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lmarad: folyamatos a csődveszély, a stabilitás-hiány. </a:t>
            </a:r>
            <a:br>
              <a:rPr lang="hu-HU" altLang="en-US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hu-HU" altLang="en-US" sz="2400" b="1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rendforduló következett be, </a:t>
            </a:r>
            <a:r>
              <a:rPr lang="hu-HU" altLang="en-US" sz="24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de </a:t>
            </a:r>
            <a:r>
              <a:rPr lang="hu-HU" altLang="en-US" sz="2400" b="1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z elkövetkező években sem lehet hátradőlni!</a:t>
            </a:r>
            <a:endParaRPr lang="hu-HU" altLang="en-US" sz="24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Tartalom helye 2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524001" y="1825626"/>
            <a:ext cx="9104313" cy="4475163"/>
          </a:xfrm>
          <a:solidFill>
            <a:schemeClr val="accent1">
              <a:lumMod val="20000"/>
              <a:lumOff val="80000"/>
            </a:schemeClr>
          </a:solidFill>
        </p:spPr>
      </p:pic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31</a:t>
            </a:fld>
            <a:endParaRPr lang="hu-HU"/>
          </a:p>
        </p:txBody>
      </p:sp>
      <p:graphicFrame>
        <p:nvGraphicFramePr>
          <p:cNvPr id="5" name="Diagram 4"/>
          <p:cNvGraphicFramePr/>
          <p:nvPr>
            <p:extLst/>
          </p:nvPr>
        </p:nvGraphicFramePr>
        <p:xfrm>
          <a:off x="101600" y="1196752"/>
          <a:ext cx="12038545" cy="5524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Curved Right Arrow 8"/>
          <p:cNvSpPr/>
          <p:nvPr/>
        </p:nvSpPr>
        <p:spPr>
          <a:xfrm rot="10800000">
            <a:off x="7957369" y="1514780"/>
            <a:ext cx="4048653" cy="4786009"/>
          </a:xfrm>
          <a:prstGeom prst="curvedRightArrow">
            <a:avLst>
              <a:gd name="adj1" fmla="val 4842"/>
              <a:gd name="adj2" fmla="val 11010"/>
              <a:gd name="adj3" fmla="val 16978"/>
            </a:avLst>
          </a:prstGeom>
          <a:gradFill>
            <a:gsLst>
              <a:gs pos="0">
                <a:schemeClr val="accent1">
                  <a:lumMod val="50000"/>
                </a:schemeClr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 dirty="0">
              <a:solidFill>
                <a:schemeClr val="tx1"/>
              </a:solidFill>
            </a:endParaRPr>
          </a:p>
        </p:txBody>
      </p:sp>
      <p:cxnSp>
        <p:nvCxnSpPr>
          <p:cNvPr id="7" name="Straight Arrow Connector 15"/>
          <p:cNvCxnSpPr/>
          <p:nvPr/>
        </p:nvCxnSpPr>
        <p:spPr>
          <a:xfrm flipH="1">
            <a:off x="4235450" y="2276476"/>
            <a:ext cx="781052" cy="665224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17"/>
          <p:cNvCxnSpPr/>
          <p:nvPr/>
        </p:nvCxnSpPr>
        <p:spPr>
          <a:xfrm>
            <a:off x="7319963" y="2276476"/>
            <a:ext cx="647700" cy="576263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19"/>
          <p:cNvCxnSpPr/>
          <p:nvPr/>
        </p:nvCxnSpPr>
        <p:spPr>
          <a:xfrm>
            <a:off x="6124046" y="2420144"/>
            <a:ext cx="0" cy="288925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21"/>
          <p:cNvCxnSpPr/>
          <p:nvPr/>
        </p:nvCxnSpPr>
        <p:spPr>
          <a:xfrm>
            <a:off x="6107113" y="3973514"/>
            <a:ext cx="0" cy="433387"/>
          </a:xfrm>
          <a:prstGeom prst="straightConnector1">
            <a:avLst/>
          </a:prstGeom>
          <a:ln w="5397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24"/>
          <p:cNvCxnSpPr/>
          <p:nvPr/>
        </p:nvCxnSpPr>
        <p:spPr>
          <a:xfrm flipV="1">
            <a:off x="7502614" y="3513470"/>
            <a:ext cx="719137" cy="746125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26"/>
          <p:cNvCxnSpPr/>
          <p:nvPr/>
        </p:nvCxnSpPr>
        <p:spPr>
          <a:xfrm flipH="1">
            <a:off x="7692421" y="3686370"/>
            <a:ext cx="744537" cy="792163"/>
          </a:xfrm>
          <a:prstGeom prst="straightConnector1">
            <a:avLst/>
          </a:prstGeom>
          <a:ln w="50800">
            <a:solidFill>
              <a:srgbClr val="C00000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28"/>
          <p:cNvCxnSpPr/>
          <p:nvPr/>
        </p:nvCxnSpPr>
        <p:spPr>
          <a:xfrm>
            <a:off x="4207402" y="3552827"/>
            <a:ext cx="544515" cy="990599"/>
          </a:xfrm>
          <a:prstGeom prst="straightConnector1">
            <a:avLst/>
          </a:prstGeom>
          <a:ln w="50800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30"/>
          <p:cNvCxnSpPr>
            <a:endCxn id="32" idx="1"/>
          </p:cNvCxnSpPr>
          <p:nvPr/>
        </p:nvCxnSpPr>
        <p:spPr>
          <a:xfrm>
            <a:off x="3843337" y="3765284"/>
            <a:ext cx="981844" cy="1928851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33"/>
          <p:cNvCxnSpPr>
            <a:endCxn id="32" idx="7"/>
          </p:cNvCxnSpPr>
          <p:nvPr/>
        </p:nvCxnSpPr>
        <p:spPr>
          <a:xfrm flipH="1">
            <a:off x="7389044" y="3666660"/>
            <a:ext cx="1367005" cy="2027475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34"/>
          <p:cNvCxnSpPr/>
          <p:nvPr/>
        </p:nvCxnSpPr>
        <p:spPr>
          <a:xfrm flipH="1">
            <a:off x="6096000" y="5332288"/>
            <a:ext cx="28046" cy="350963"/>
          </a:xfrm>
          <a:prstGeom prst="straightConnector1">
            <a:avLst/>
          </a:prstGeom>
          <a:ln w="508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urved Left Arrow 9"/>
          <p:cNvSpPr/>
          <p:nvPr/>
        </p:nvSpPr>
        <p:spPr>
          <a:xfrm rot="10800000">
            <a:off x="465665" y="1576382"/>
            <a:ext cx="3758144" cy="4749801"/>
          </a:xfrm>
          <a:prstGeom prst="curvedLeftArrow">
            <a:avLst>
              <a:gd name="adj1" fmla="val 4612"/>
              <a:gd name="adj2" fmla="val 9178"/>
              <a:gd name="adj3" fmla="val 12753"/>
            </a:avLst>
          </a:prstGeom>
          <a:gradFill>
            <a:gsLst>
              <a:gs pos="0">
                <a:schemeClr val="accent1">
                  <a:lumMod val="50000"/>
                </a:schemeClr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>
              <a:solidFill>
                <a:schemeClr val="tx1"/>
              </a:solidFill>
            </a:endParaRPr>
          </a:p>
        </p:txBody>
      </p:sp>
      <p:sp>
        <p:nvSpPr>
          <p:cNvPr id="32" name="Oval 6"/>
          <p:cNvSpPr/>
          <p:nvPr/>
        </p:nvSpPr>
        <p:spPr>
          <a:xfrm>
            <a:off x="4294187" y="5500031"/>
            <a:ext cx="3625851" cy="1325424"/>
          </a:xfrm>
          <a:prstGeom prst="ellipse">
            <a:avLst/>
          </a:prstGeom>
          <a:solidFill>
            <a:schemeClr val="tx1"/>
          </a:solidFill>
          <a:ln w="38100">
            <a:solidFill>
              <a:srgbClr val="000076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hu-HU" sz="2000" b="1" dirty="0">
                <a:latin typeface="Arial Narrow" pitchFamily="34" charset="0"/>
              </a:rPr>
              <a:t>2012 várakozás: az </a:t>
            </a:r>
            <a:r>
              <a:rPr lang="hu-HU" sz="2000" b="1" dirty="0" smtClean="0">
                <a:latin typeface="Arial Narrow" pitchFamily="34" charset="0"/>
              </a:rPr>
              <a:t>adósság/GDP arányos adósság </a:t>
            </a:r>
            <a:r>
              <a:rPr lang="hu-HU" sz="2000" b="1" dirty="0">
                <a:latin typeface="Arial Narrow" pitchFamily="34" charset="0"/>
              </a:rPr>
              <a:t>tovább emelkedik</a:t>
            </a:r>
          </a:p>
        </p:txBody>
      </p:sp>
      <p:cxnSp>
        <p:nvCxnSpPr>
          <p:cNvPr id="24" name="Egyenes összekötő nyíllal 23"/>
          <p:cNvCxnSpPr/>
          <p:nvPr/>
        </p:nvCxnSpPr>
        <p:spPr>
          <a:xfrm flipV="1">
            <a:off x="2592454" y="3956799"/>
            <a:ext cx="89034" cy="370334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zövegdoboz 24"/>
          <p:cNvSpPr txBox="1"/>
          <p:nvPr/>
        </p:nvSpPr>
        <p:spPr>
          <a:xfrm>
            <a:off x="1075651" y="4357300"/>
            <a:ext cx="3041648" cy="707886"/>
          </a:xfrm>
          <a:prstGeom prst="rect">
            <a:avLst/>
          </a:prstGeom>
          <a:gradFill>
            <a:gsLst>
              <a:gs pos="0">
                <a:srgbClr val="A5A5A5">
                  <a:lumMod val="5000"/>
                  <a:lumOff val="95000"/>
                </a:srgbClr>
              </a:gs>
              <a:gs pos="74000">
                <a:srgbClr val="A5A5A5">
                  <a:lumMod val="45000"/>
                  <a:lumOff val="55000"/>
                </a:srgbClr>
              </a:gs>
              <a:gs pos="83000">
                <a:srgbClr val="A5A5A5">
                  <a:lumMod val="45000"/>
                  <a:lumOff val="55000"/>
                </a:srgbClr>
              </a:gs>
              <a:gs pos="100000">
                <a:srgbClr val="A5A5A5">
                  <a:lumMod val="30000"/>
                  <a:lumOff val="70000"/>
                </a:srgbClr>
              </a:gs>
            </a:gsLst>
            <a:lin ang="5400000" scaled="1"/>
          </a:gradFill>
          <a:ln w="5715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hu-HU" sz="2000" b="1" spc="-150" dirty="0">
                <a:solidFill>
                  <a:srgbClr val="C00000"/>
                </a:solidFill>
                <a:latin typeface="Arial" charset="0"/>
              </a:rPr>
              <a:t>2015 tény: jelentősen </a:t>
            </a:r>
            <a:r>
              <a:rPr lang="hu-HU" sz="2000" b="1" spc="-150" dirty="0" smtClean="0">
                <a:solidFill>
                  <a:srgbClr val="C00000"/>
                </a:solidFill>
                <a:latin typeface="Arial" charset="0"/>
              </a:rPr>
              <a:t>csök-kenő </a:t>
            </a:r>
            <a:r>
              <a:rPr lang="hu-HU" sz="2000" b="1" spc="-150" dirty="0">
                <a:solidFill>
                  <a:srgbClr val="C00000"/>
                </a:solidFill>
                <a:latin typeface="Arial" charset="0"/>
              </a:rPr>
              <a:t>finanszírozási költség</a:t>
            </a:r>
          </a:p>
        </p:txBody>
      </p:sp>
      <p:cxnSp>
        <p:nvCxnSpPr>
          <p:cNvPr id="27" name="Egyenes összekötő nyíllal 26"/>
          <p:cNvCxnSpPr/>
          <p:nvPr/>
        </p:nvCxnSpPr>
        <p:spPr>
          <a:xfrm flipH="1">
            <a:off x="7180264" y="1323421"/>
            <a:ext cx="2197890" cy="150495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Szövegdoboz 28"/>
          <p:cNvSpPr txBox="1"/>
          <p:nvPr/>
        </p:nvSpPr>
        <p:spPr>
          <a:xfrm>
            <a:off x="9104456" y="892342"/>
            <a:ext cx="2988735" cy="147732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hu-HU" b="1" dirty="0">
                <a:solidFill>
                  <a:srgbClr val="C00000"/>
                </a:solidFill>
                <a:latin typeface="Arial" charset="0"/>
              </a:rPr>
              <a:t>2015 tény: lassú javulás,  </a:t>
            </a:r>
            <a:r>
              <a:rPr lang="hu-HU" b="1" dirty="0" smtClean="0">
                <a:solidFill>
                  <a:srgbClr val="C00000"/>
                </a:solidFill>
                <a:latin typeface="Arial" charset="0"/>
              </a:rPr>
              <a:t>piactartás </a:t>
            </a:r>
            <a:r>
              <a:rPr lang="hu-HU" b="1" dirty="0">
                <a:solidFill>
                  <a:srgbClr val="C00000"/>
                </a:solidFill>
                <a:latin typeface="Arial" charset="0"/>
              </a:rPr>
              <a:t>miatt a </a:t>
            </a:r>
            <a:r>
              <a:rPr lang="hu-HU" b="1" dirty="0" smtClean="0">
                <a:solidFill>
                  <a:srgbClr val="C00000"/>
                </a:solidFill>
                <a:latin typeface="Arial" charset="0"/>
              </a:rPr>
              <a:t>bank-szektorban jelentős tőke-bevonás</a:t>
            </a:r>
            <a:r>
              <a:rPr lang="hu-HU" b="1" dirty="0">
                <a:solidFill>
                  <a:srgbClr val="C00000"/>
                </a:solidFill>
                <a:latin typeface="Arial" charset="0"/>
              </a:rPr>
              <a:t>, </a:t>
            </a:r>
            <a:r>
              <a:rPr lang="hu-HU" b="1" dirty="0" smtClean="0">
                <a:solidFill>
                  <a:srgbClr val="C00000"/>
                </a:solidFill>
                <a:latin typeface="Arial" charset="0"/>
              </a:rPr>
              <a:t>a hitelezést állami eszközök segítik</a:t>
            </a:r>
            <a:endParaRPr lang="hu-HU" b="1" dirty="0">
              <a:solidFill>
                <a:srgbClr val="C00000"/>
              </a:solidFill>
              <a:latin typeface="Arial" charset="0"/>
            </a:endParaRPr>
          </a:p>
        </p:txBody>
      </p:sp>
      <p:cxnSp>
        <p:nvCxnSpPr>
          <p:cNvPr id="34" name="Egyenes összekötő nyíllal 33"/>
          <p:cNvCxnSpPr/>
          <p:nvPr/>
        </p:nvCxnSpPr>
        <p:spPr>
          <a:xfrm flipH="1" flipV="1">
            <a:off x="7620000" y="6471512"/>
            <a:ext cx="623887" cy="149422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nyíllal 40"/>
          <p:cNvCxnSpPr/>
          <p:nvPr/>
        </p:nvCxnSpPr>
        <p:spPr>
          <a:xfrm flipH="1" flipV="1">
            <a:off x="7777162" y="5065186"/>
            <a:ext cx="466725" cy="117475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gyenes összekötő nyíllal 43"/>
          <p:cNvCxnSpPr/>
          <p:nvPr/>
        </p:nvCxnSpPr>
        <p:spPr>
          <a:xfrm flipH="1" flipV="1">
            <a:off x="9488680" y="3748357"/>
            <a:ext cx="73625" cy="441058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zövegdoboz 45"/>
          <p:cNvSpPr txBox="1"/>
          <p:nvPr/>
        </p:nvSpPr>
        <p:spPr>
          <a:xfrm>
            <a:off x="8462963" y="4189414"/>
            <a:ext cx="2820989" cy="7080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hu-HU" sz="2000" b="1" spc="-150" dirty="0">
                <a:solidFill>
                  <a:srgbClr val="C00000"/>
                </a:solidFill>
                <a:latin typeface="Arial" charset="0"/>
              </a:rPr>
              <a:t>2015 tény: gyengülő,  de stabil árfolyam</a:t>
            </a:r>
          </a:p>
        </p:txBody>
      </p:sp>
      <p:sp>
        <p:nvSpPr>
          <p:cNvPr id="51227" name="Szövegdoboz 48"/>
          <p:cNvSpPr txBox="1">
            <a:spLocks noChangeArrowheads="1"/>
          </p:cNvSpPr>
          <p:nvPr/>
        </p:nvSpPr>
        <p:spPr bwMode="auto">
          <a:xfrm>
            <a:off x="8288336" y="5154088"/>
            <a:ext cx="2595563" cy="6461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rgbClr val="0070C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1800" b="1" dirty="0">
                <a:solidFill>
                  <a:srgbClr val="C00000"/>
                </a:solidFill>
                <a:latin typeface="Arial" charset="0"/>
              </a:rPr>
              <a:t>2015 tény: jelentősen javuló kilátások</a:t>
            </a:r>
          </a:p>
        </p:txBody>
      </p:sp>
      <p:sp>
        <p:nvSpPr>
          <p:cNvPr id="51228" name="Szövegdoboz 51"/>
          <p:cNvSpPr txBox="1">
            <a:spLocks noChangeArrowheads="1"/>
          </p:cNvSpPr>
          <p:nvPr/>
        </p:nvSpPr>
        <p:spPr bwMode="auto">
          <a:xfrm>
            <a:off x="7920038" y="6117569"/>
            <a:ext cx="4260323" cy="7078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2000" b="1" dirty="0" smtClean="0">
                <a:solidFill>
                  <a:srgbClr val="C00000"/>
                </a:solidFill>
                <a:latin typeface="Arial" charset="0"/>
              </a:rPr>
              <a:t>2015:nominálisan még növekszik, 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2000" b="1" dirty="0" smtClean="0">
                <a:solidFill>
                  <a:srgbClr val="C00000"/>
                </a:solidFill>
                <a:latin typeface="Arial" charset="0"/>
              </a:rPr>
              <a:t>de aránya csökken</a:t>
            </a:r>
            <a:endParaRPr lang="hu-HU" altLang="en-US" sz="2000" b="1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60445" name="Szövegdoboz 1"/>
          <p:cNvSpPr txBox="1">
            <a:spLocks noChangeArrowheads="1"/>
          </p:cNvSpPr>
          <p:nvPr/>
        </p:nvSpPr>
        <p:spPr bwMode="auto">
          <a:xfrm>
            <a:off x="-15678" y="6009847"/>
            <a:ext cx="26287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200" i="1" dirty="0">
                <a:solidFill>
                  <a:srgbClr val="00245D"/>
                </a:solidFill>
                <a:latin typeface="+mn-lt"/>
              </a:rPr>
              <a:t>Forrás: </a:t>
            </a:r>
            <a:r>
              <a:rPr lang="hu-HU" altLang="en-US" sz="1200" i="1" dirty="0" err="1">
                <a:solidFill>
                  <a:srgbClr val="00245D"/>
                </a:solidFill>
                <a:latin typeface="+mn-lt"/>
              </a:rPr>
              <a:t>Simor</a:t>
            </a:r>
            <a:r>
              <a:rPr lang="hu-HU" altLang="en-US" sz="1200" i="1" dirty="0">
                <a:solidFill>
                  <a:srgbClr val="00245D"/>
                </a:solidFill>
                <a:latin typeface="+mn-lt"/>
              </a:rPr>
              <a:t> András 2012 január,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200" i="1" dirty="0">
                <a:solidFill>
                  <a:srgbClr val="00245D"/>
                </a:solidFill>
                <a:latin typeface="+mn-lt"/>
              </a:rPr>
              <a:t>Illetve 2015 saját szerkesztés</a:t>
            </a:r>
          </a:p>
        </p:txBody>
      </p:sp>
      <p:sp>
        <p:nvSpPr>
          <p:cNvPr id="51" name="Téglalap 50"/>
          <p:cNvSpPr/>
          <p:nvPr/>
        </p:nvSpPr>
        <p:spPr>
          <a:xfrm>
            <a:off x="107743" y="1258845"/>
            <a:ext cx="2309416" cy="67804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u-HU" sz="2000" b="1" dirty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C00000"/>
                </a:solidFill>
                <a:latin typeface="Arial Narrow" pitchFamily="34" charset="0"/>
              </a:rPr>
              <a:t>2015 tény: </a:t>
            </a:r>
            <a:r>
              <a:rPr lang="hu-HU" sz="2000" b="1" dirty="0" smtClean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rgbClr val="C00000"/>
                </a:solidFill>
                <a:latin typeface="Arial Narrow" pitchFamily="34" charset="0"/>
              </a:rPr>
              <a:t>oldódó bizalomhiány</a:t>
            </a:r>
            <a:endParaRPr lang="hu-HU" sz="2000" b="1" dirty="0">
              <a:ln>
                <a:solidFill>
                  <a:schemeClr val="bg1">
                    <a:lumMod val="75000"/>
                  </a:schemeClr>
                </a:solidFill>
              </a:ln>
              <a:solidFill>
                <a:srgbClr val="C00000"/>
              </a:solidFill>
              <a:latin typeface="Arial Narrow" pitchFamily="34" charset="0"/>
            </a:endParaRPr>
          </a:p>
        </p:txBody>
      </p:sp>
      <p:cxnSp>
        <p:nvCxnSpPr>
          <p:cNvPr id="53" name="Egyenes összekötő nyíllal 52"/>
          <p:cNvCxnSpPr/>
          <p:nvPr/>
        </p:nvCxnSpPr>
        <p:spPr>
          <a:xfrm>
            <a:off x="2454490" y="1514779"/>
            <a:ext cx="2240144" cy="178240"/>
          </a:xfrm>
          <a:prstGeom prst="straightConnector1">
            <a:avLst/>
          </a:prstGeom>
          <a:ln w="5715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038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0"/>
    </mc:Choice>
    <mc:Fallback xmlns="">
      <p:transition spd="slow" advClick="0" advTm="3000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13705" y="1098708"/>
            <a:ext cx="11935884" cy="5460471"/>
          </a:xfrm>
          <a:prstGeom prst="homePlate">
            <a:avLst>
              <a:gd name="adj" fmla="val 0"/>
            </a:avLst>
          </a:prstGeom>
          <a:solidFill>
            <a:schemeClr val="accent1">
              <a:alpha val="5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315" name="Cím 1"/>
          <p:cNvSpPr>
            <a:spLocks noGrp="1"/>
          </p:cNvSpPr>
          <p:nvPr>
            <p:ph type="ctrTitle"/>
          </p:nvPr>
        </p:nvSpPr>
        <p:spPr>
          <a:xfrm>
            <a:off x="113705" y="90867"/>
            <a:ext cx="11935884" cy="994173"/>
          </a:xfrm>
          <a:noFill/>
        </p:spPr>
        <p:txBody>
          <a:bodyPr>
            <a:noAutofit/>
          </a:bodyPr>
          <a:lstStyle/>
          <a:p>
            <a:r>
              <a:rPr lang="hu-HU" altLang="en-US" sz="2400" b="1" dirty="0" smtClean="0">
                <a:solidFill>
                  <a:srgbClr val="000064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lőretekintve: a GDP-arányos államadósság fenntartható csökkentéséhez elsősorban a növekedési képesség erősítésére van szükség.</a:t>
            </a:r>
            <a:r>
              <a:rPr lang="hu-HU" sz="24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hu-HU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 felzárkózás egyetlen útja, ha magasabb hozzáadott értékekkel tudunk becsatlakozni a globális termelési láncba. </a:t>
            </a:r>
            <a:endParaRPr lang="hu-HU" altLang="en-US" sz="2400" b="1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316" name="Text Box 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6417" y="6542088"/>
            <a:ext cx="9717616" cy="276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0" tIns="45625" rIns="91250" bIns="45625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ct val="50000"/>
              </a:spcBef>
              <a:buFontTx/>
              <a:buNone/>
            </a:pPr>
            <a:r>
              <a:rPr lang="hu-HU" altLang="en-US" sz="1200" i="1" dirty="0">
                <a:solidFill>
                  <a:srgbClr val="00245D"/>
                </a:solidFill>
                <a:latin typeface="+mn-lt"/>
              </a:rPr>
              <a:t>Forrás: KT Titkárság</a:t>
            </a:r>
            <a:endParaRPr lang="en-US" altLang="en-US" sz="1200" i="1" dirty="0">
              <a:solidFill>
                <a:srgbClr val="00245D"/>
              </a:solidFill>
              <a:latin typeface="+mn-lt"/>
            </a:endParaRPr>
          </a:p>
        </p:txBody>
      </p:sp>
      <p:sp>
        <p:nvSpPr>
          <p:cNvPr id="10" name="Ötszög 9"/>
          <p:cNvSpPr/>
          <p:nvPr/>
        </p:nvSpPr>
        <p:spPr>
          <a:xfrm>
            <a:off x="147305" y="1542124"/>
            <a:ext cx="4933951" cy="4764997"/>
          </a:xfrm>
          <a:prstGeom prst="homePlate">
            <a:avLst>
              <a:gd name="adj" fmla="val 6856"/>
            </a:avLst>
          </a:prstGeom>
          <a:solidFill>
            <a:schemeClr val="bg2">
              <a:lumMod val="40000"/>
              <a:lumOff val="60000"/>
              <a:alpha val="80000"/>
            </a:schemeClr>
          </a:solidFill>
          <a:ln>
            <a:solidFill>
              <a:srgbClr val="00206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 dirty="0"/>
          </a:p>
        </p:txBody>
      </p:sp>
      <p:cxnSp>
        <p:nvCxnSpPr>
          <p:cNvPr id="11" name="Egyenes összekötő 10"/>
          <p:cNvCxnSpPr/>
          <p:nvPr/>
        </p:nvCxnSpPr>
        <p:spPr>
          <a:xfrm flipV="1">
            <a:off x="268815" y="2856564"/>
            <a:ext cx="4591052" cy="1534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/>
          <p:cNvCxnSpPr/>
          <p:nvPr/>
        </p:nvCxnSpPr>
        <p:spPr>
          <a:xfrm flipV="1">
            <a:off x="187870" y="3378325"/>
            <a:ext cx="4770108" cy="1398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21" name="Szövegdoboz 14"/>
          <p:cNvSpPr txBox="1">
            <a:spLocks noChangeArrowheads="1"/>
          </p:cNvSpPr>
          <p:nvPr/>
        </p:nvSpPr>
        <p:spPr bwMode="auto">
          <a:xfrm>
            <a:off x="290446" y="1826005"/>
            <a:ext cx="516466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800" dirty="0"/>
              <a:t>A beruházási ráta </a:t>
            </a:r>
            <a:r>
              <a:rPr lang="hu-HU" altLang="en-US" sz="1800" dirty="0" smtClean="0"/>
              <a:t>fenntartása, a </a:t>
            </a:r>
            <a:r>
              <a:rPr lang="hu-HU" altLang="en-US" sz="1800" dirty="0"/>
              <a:t>hitelezési </a:t>
            </a:r>
            <a:endParaRPr lang="hu-HU" altLang="en-US" sz="1800" dirty="0" smtClean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800" dirty="0" smtClean="0"/>
              <a:t>aktivitás </a:t>
            </a:r>
            <a:r>
              <a:rPr lang="hu-HU" altLang="en-US" sz="1800" dirty="0"/>
              <a:t>javítása, a KKV-szektor vállalkozó-képességének fejlesztése.</a:t>
            </a:r>
          </a:p>
        </p:txBody>
      </p:sp>
      <p:sp>
        <p:nvSpPr>
          <p:cNvPr id="13322" name="Szövegdoboz 16"/>
          <p:cNvSpPr txBox="1">
            <a:spLocks noChangeArrowheads="1"/>
          </p:cNvSpPr>
          <p:nvPr/>
        </p:nvSpPr>
        <p:spPr bwMode="auto">
          <a:xfrm>
            <a:off x="222249" y="2978167"/>
            <a:ext cx="5441951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800" dirty="0"/>
              <a:t>A K+F tevékenység további erősítése. </a:t>
            </a:r>
          </a:p>
        </p:txBody>
      </p:sp>
      <p:sp>
        <p:nvSpPr>
          <p:cNvPr id="13323" name="Szövegdoboz 17"/>
          <p:cNvSpPr txBox="1">
            <a:spLocks noChangeArrowheads="1"/>
          </p:cNvSpPr>
          <p:nvPr/>
        </p:nvSpPr>
        <p:spPr bwMode="auto">
          <a:xfrm>
            <a:off x="310844" y="4468304"/>
            <a:ext cx="672253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en-US" sz="1800"/>
              <a:t>   </a:t>
            </a:r>
          </a:p>
        </p:txBody>
      </p:sp>
      <p:sp>
        <p:nvSpPr>
          <p:cNvPr id="13324" name="Szövegdoboz 19"/>
          <p:cNvSpPr txBox="1">
            <a:spLocks noChangeArrowheads="1"/>
          </p:cNvSpPr>
          <p:nvPr/>
        </p:nvSpPr>
        <p:spPr bwMode="auto">
          <a:xfrm>
            <a:off x="195764" y="3495933"/>
            <a:ext cx="488681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hu-HU" altLang="en-US" sz="1800" dirty="0"/>
              <a:t>További befektetés a humán tőkébe, </a:t>
            </a:r>
            <a:r>
              <a:rPr lang="hu-HU" alt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 menedzsment képességek további </a:t>
            </a:r>
            <a:r>
              <a:rPr lang="hu-HU" alt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rősítése, a </a:t>
            </a:r>
            <a:r>
              <a:rPr lang="hu-HU" altLang="en-US" sz="1800" dirty="0" smtClean="0"/>
              <a:t>képzettebb </a:t>
            </a:r>
            <a:r>
              <a:rPr lang="hu-HU" altLang="en-US" sz="1800" dirty="0"/>
              <a:t>munkaerő-kínálat </a:t>
            </a:r>
            <a:r>
              <a:rPr lang="hu-HU" altLang="en-US" sz="1800" dirty="0" smtClean="0"/>
              <a:t>biztosítása, a reformintézkedések mielőbbi érvényesítése.  </a:t>
            </a:r>
            <a:endParaRPr lang="hu-HU" altLang="en-US" sz="1800" dirty="0"/>
          </a:p>
        </p:txBody>
      </p:sp>
      <p:sp>
        <p:nvSpPr>
          <p:cNvPr id="22" name="Ellipszis 21"/>
          <p:cNvSpPr/>
          <p:nvPr/>
        </p:nvSpPr>
        <p:spPr>
          <a:xfrm>
            <a:off x="5402596" y="3122614"/>
            <a:ext cx="2954867" cy="1584325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solidFill>
              <a:srgbClr val="00206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/>
          </a:p>
        </p:txBody>
      </p:sp>
      <p:sp>
        <p:nvSpPr>
          <p:cNvPr id="13326" name="Szövegdoboz 20"/>
          <p:cNvSpPr txBox="1">
            <a:spLocks noChangeArrowheads="1"/>
          </p:cNvSpPr>
          <p:nvPr/>
        </p:nvSpPr>
        <p:spPr bwMode="auto">
          <a:xfrm>
            <a:off x="5639858" y="3587006"/>
            <a:ext cx="280246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hu-HU" altLang="en-US" sz="1800" dirty="0"/>
              <a:t>A GDP fenntartható növekedése</a:t>
            </a:r>
          </a:p>
        </p:txBody>
      </p:sp>
      <p:sp>
        <p:nvSpPr>
          <p:cNvPr id="9231" name="Szövegdoboz 22"/>
          <p:cNvSpPr txBox="1">
            <a:spLocks noChangeArrowheads="1"/>
          </p:cNvSpPr>
          <p:nvPr/>
        </p:nvSpPr>
        <p:spPr bwMode="auto">
          <a:xfrm>
            <a:off x="116417" y="1098708"/>
            <a:ext cx="4906433" cy="369332"/>
          </a:xfrm>
          <a:prstGeom prst="rect">
            <a:avLst/>
          </a:prstGeom>
          <a:solidFill>
            <a:schemeClr val="bg2">
              <a:lumMod val="40000"/>
              <a:lumOff val="60000"/>
              <a:alpha val="79999"/>
            </a:schemeClr>
          </a:solidFill>
          <a:ln w="9525">
            <a:solidFill>
              <a:srgbClr val="002060">
                <a:alpha val="79999"/>
              </a:srgb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1800" b="1" dirty="0" smtClean="0"/>
              <a:t>A növekedési képesség erősítése</a:t>
            </a:r>
          </a:p>
        </p:txBody>
      </p:sp>
      <p:sp>
        <p:nvSpPr>
          <p:cNvPr id="21" name="Ellipszis 20"/>
          <p:cNvSpPr/>
          <p:nvPr/>
        </p:nvSpPr>
        <p:spPr>
          <a:xfrm>
            <a:off x="8961965" y="3012385"/>
            <a:ext cx="2956983" cy="1581150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5">
                <a:lumMod val="25000"/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/>
          </a:p>
        </p:txBody>
      </p:sp>
      <p:sp>
        <p:nvSpPr>
          <p:cNvPr id="13330" name="Szövegdoboz 20"/>
          <p:cNvSpPr txBox="1">
            <a:spLocks noChangeArrowheads="1"/>
          </p:cNvSpPr>
          <p:nvPr/>
        </p:nvSpPr>
        <p:spPr bwMode="auto">
          <a:xfrm>
            <a:off x="9038166" y="3319651"/>
            <a:ext cx="280458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hu-HU" altLang="en-US" sz="1800" dirty="0"/>
              <a:t>Fenntartható GDP-arányos államadósság-csökkentés</a:t>
            </a:r>
          </a:p>
        </p:txBody>
      </p:sp>
      <p:sp>
        <p:nvSpPr>
          <p:cNvPr id="24" name="Jobbra nyíl 23"/>
          <p:cNvSpPr/>
          <p:nvPr/>
        </p:nvSpPr>
        <p:spPr>
          <a:xfrm>
            <a:off x="8587888" y="3732899"/>
            <a:ext cx="287867" cy="360363"/>
          </a:xfrm>
          <a:prstGeom prst="rightArrow">
            <a:avLst/>
          </a:prstGeom>
          <a:solidFill>
            <a:srgbClr val="C000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/>
          </a:p>
        </p:txBody>
      </p:sp>
      <p:cxnSp>
        <p:nvCxnSpPr>
          <p:cNvPr id="3" name="Egyenes összekötő 2"/>
          <p:cNvCxnSpPr/>
          <p:nvPr/>
        </p:nvCxnSpPr>
        <p:spPr>
          <a:xfrm flipV="1">
            <a:off x="156801" y="4645949"/>
            <a:ext cx="4738618" cy="1271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églalap 6"/>
          <p:cNvSpPr/>
          <p:nvPr/>
        </p:nvSpPr>
        <p:spPr>
          <a:xfrm>
            <a:off x="268816" y="4660899"/>
            <a:ext cx="4591052" cy="1593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u-H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ersenyképesség </a:t>
            </a:r>
            <a:r>
              <a:rPr lang="hu-H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ítása</a:t>
            </a:r>
            <a:r>
              <a:rPr lang="hu-HU" alt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alt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üzleti </a:t>
            </a:r>
            <a:r>
              <a:rPr lang="hu-HU" alt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almat erősítő szabályozási lépésekkel,  kiszámíthatóság növelése, bürokrácia csökkentése, terhek felszámolása pl. kintlévőségek ügye, stb.</a:t>
            </a:r>
            <a:r>
              <a:rPr lang="hu-H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llipszis 3"/>
          <p:cNvSpPr/>
          <p:nvPr/>
        </p:nvSpPr>
        <p:spPr>
          <a:xfrm>
            <a:off x="8775304" y="1085040"/>
            <a:ext cx="3016251" cy="1512887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hu-H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szabaduló forrás a gazdaság-fejlesztésre</a:t>
            </a:r>
          </a:p>
        </p:txBody>
      </p:sp>
      <p:sp>
        <p:nvSpPr>
          <p:cNvPr id="6" name="Lefelé nyíl 5"/>
          <p:cNvSpPr/>
          <p:nvPr/>
        </p:nvSpPr>
        <p:spPr>
          <a:xfrm rot="10800000">
            <a:off x="10087948" y="2632413"/>
            <a:ext cx="565151" cy="280988"/>
          </a:xfrm>
          <a:prstGeom prst="downArrow">
            <a:avLst>
              <a:gd name="adj1" fmla="val 50000"/>
              <a:gd name="adj2" fmla="val 47551"/>
            </a:avLst>
          </a:prstGeom>
          <a:solidFill>
            <a:srgbClr val="C000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/>
          </a:p>
        </p:txBody>
      </p:sp>
      <p:sp>
        <p:nvSpPr>
          <p:cNvPr id="8" name="Ellipszis 7"/>
          <p:cNvSpPr/>
          <p:nvPr/>
        </p:nvSpPr>
        <p:spPr>
          <a:xfrm>
            <a:off x="8914257" y="4949825"/>
            <a:ext cx="2992967" cy="1474788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hu-H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bil, forrásaiban javuló költségvetés</a:t>
            </a:r>
          </a:p>
        </p:txBody>
      </p:sp>
      <p:sp>
        <p:nvSpPr>
          <p:cNvPr id="12" name="Lefelé nyíl 11"/>
          <p:cNvSpPr/>
          <p:nvPr/>
        </p:nvSpPr>
        <p:spPr>
          <a:xfrm>
            <a:off x="10087948" y="4660899"/>
            <a:ext cx="645583" cy="260350"/>
          </a:xfrm>
          <a:prstGeom prst="downArrow">
            <a:avLst/>
          </a:prstGeom>
          <a:solidFill>
            <a:srgbClr val="C000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/>
          </a:p>
        </p:txBody>
      </p:sp>
      <p:sp>
        <p:nvSpPr>
          <p:cNvPr id="2" name="Jobb oldali kapcsos zárójel 1"/>
          <p:cNvSpPr/>
          <p:nvPr/>
        </p:nvSpPr>
        <p:spPr>
          <a:xfrm>
            <a:off x="5056089" y="1654902"/>
            <a:ext cx="462062" cy="4416289"/>
          </a:xfrm>
          <a:prstGeom prst="rightBrace">
            <a:avLst>
              <a:gd name="adj1" fmla="val 30958"/>
              <a:gd name="adj2" fmla="val 16315"/>
            </a:avLst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Lefelé nyíl 12"/>
          <p:cNvSpPr/>
          <p:nvPr/>
        </p:nvSpPr>
        <p:spPr>
          <a:xfrm rot="5400000">
            <a:off x="6502321" y="864698"/>
            <a:ext cx="1378690" cy="2959101"/>
          </a:xfrm>
          <a:prstGeom prst="downArrow">
            <a:avLst>
              <a:gd name="adj1" fmla="val 81993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hu-HU" b="1" dirty="0"/>
              <a:t>A </a:t>
            </a:r>
            <a:r>
              <a:rPr lang="hu-HU" b="1" dirty="0" smtClean="0"/>
              <a:t>gazdaságfejlesztésre </a:t>
            </a:r>
            <a:r>
              <a:rPr lang="hu-HU" b="1" dirty="0"/>
              <a:t>fordított források </a:t>
            </a:r>
            <a:r>
              <a:rPr lang="hu-HU" b="1" dirty="0" smtClean="0"/>
              <a:t>költségvetésen belüli arányának a növelése</a:t>
            </a:r>
            <a:endParaRPr lang="hu-HU" b="1" dirty="0"/>
          </a:p>
        </p:txBody>
      </p:sp>
      <p:sp>
        <p:nvSpPr>
          <p:cNvPr id="5" name="Szövegdoboz 4"/>
          <p:cNvSpPr txBox="1"/>
          <p:nvPr/>
        </p:nvSpPr>
        <p:spPr>
          <a:xfrm>
            <a:off x="11389936" y="6541896"/>
            <a:ext cx="4016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8</a:t>
            </a:r>
            <a:endParaRPr lang="hu-HU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73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22000">
              <a:schemeClr val="bg1">
                <a:lumMod val="75000"/>
              </a:schemeClr>
            </a:gs>
            <a:gs pos="66000">
              <a:schemeClr val="bg2">
                <a:lumMod val="92000"/>
              </a:schemeClr>
            </a:gs>
            <a:gs pos="95000">
              <a:schemeClr val="bg1">
                <a:lumMod val="8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52755"/>
          </a:xfrm>
        </p:spPr>
        <p:txBody>
          <a:bodyPr>
            <a:normAutofit fontScale="90000"/>
          </a:bodyPr>
          <a:lstStyle/>
          <a:p>
            <a:pPr marL="174625" indent="-174625" algn="ctr">
              <a:tabLst>
                <a:tab pos="92075" algn="l"/>
              </a:tabLst>
            </a:pPr>
            <a:r>
              <a:rPr lang="hu-HU" sz="36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3100" b="1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jlődés hajtóerői, a megteendő fontosabb </a:t>
            </a:r>
            <a:r>
              <a:rPr lang="hu-HU" sz="3100" b="1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hu-HU" sz="3100" b="1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korlati lépések</a:t>
            </a:r>
            <a:br>
              <a:rPr lang="hu-HU" sz="3100" b="1" dirty="0" smtClean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3100" b="1" dirty="0">
              <a:solidFill>
                <a:srgbClr val="0000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06166" y="847619"/>
            <a:ext cx="11979667" cy="5513867"/>
          </a:xfrm>
          <a:gradFill>
            <a:gsLst>
              <a:gs pos="22000">
                <a:schemeClr val="bg1">
                  <a:lumMod val="75000"/>
                </a:schemeClr>
              </a:gs>
              <a:gs pos="66000">
                <a:schemeClr val="bg2">
                  <a:lumMod val="92000"/>
                </a:schemeClr>
              </a:gs>
              <a:gs pos="95000">
                <a:schemeClr val="bg1">
                  <a:lumMod val="8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Autofit/>
          </a:bodyPr>
          <a:lstStyle/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háztartási kiadások kézbentartása, a fejlődés fenntarthatósága érdekében a gazdasági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kedéssel,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letve a csökkenő adósságszolgálattal felszabaduló forrásokat elsősorban a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-társadalmi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és szolgálatában kell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használni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kedés meghatározó tényezője a kkv szektor versenyképességének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entős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sztése, ami feltételezi az e területre irányított támogatások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lését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ugyanakkor a tapasztalható „járadékvadász” magatartás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látozását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lalati hitelezés megindulása hajtóerő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,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azgatási kiadások jelenlegi mértékének jelentős csökkentése: a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érjellegű juttatások teljesítményekhez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csolása,  a feladat-ellátási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ndanciák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entős mértékű és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ors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rséklése, a bürokratikus szabályok kiiktatása, </a:t>
            </a:r>
          </a:p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észségügyben és a felsőoktatásban megindult modernizációs folyamatokkal nyugvópontra kell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tni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tabil finanszírozási feltételek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teremtése érdekében, 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 adóztatás egyszerűsítése, hatékonyságának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vábbi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ítása; a hátralékállományból a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ajthatatlan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z kiemelésével jobban kellene élni,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indent="-34290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tabLst>
                <a:tab pos="360363" algn="l"/>
                <a:tab pos="452438" algn="l"/>
              </a:tabLst>
            </a:pP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„jó kormány” társadalmi bázisának kiépítése az alulról nyitott felemelkedést kínáló „közép” tudatos létrehozásával, s ennek megfelelő </a:t>
            </a: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tétel-teremtéssel </a:t>
            </a:r>
            <a:r>
              <a:rPr 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ltségvetés bevételi és kiadási oldalán.</a:t>
            </a:r>
            <a:endParaRPr lang="hu-HU" sz="20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3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5318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4"/>
          <p:cNvSpPr>
            <a:spLocks noChangeArrowheads="1"/>
          </p:cNvSpPr>
          <p:nvPr/>
        </p:nvSpPr>
        <p:spPr bwMode="auto">
          <a:xfrm>
            <a:off x="1524000" y="2276476"/>
            <a:ext cx="9036050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hu-HU" altLang="en-US" sz="4000" b="1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SZÖNÖM A MEGTISZTELŐ FIGYELMET!</a:t>
            </a: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3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86685248"/>
      </p:ext>
    </p:extLst>
  </p:cSld>
  <p:clrMapOvr>
    <a:masterClrMapping/>
  </p:clrMapOvr>
  <p:transition spd="med">
    <p:cover dir="r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11591694" y="6398346"/>
            <a:ext cx="417502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4</a:t>
            </a:fld>
            <a:endParaRPr lang="hu-HU" dirty="0"/>
          </a:p>
        </p:txBody>
      </p:sp>
      <p:sp>
        <p:nvSpPr>
          <p:cNvPr id="9" name="Szövegdoboz 8"/>
          <p:cNvSpPr txBox="1"/>
          <p:nvPr/>
        </p:nvSpPr>
        <p:spPr>
          <a:xfrm>
            <a:off x="135852" y="6242001"/>
            <a:ext cx="118529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hu-HU" altLang="hu-HU" sz="1200" dirty="0">
                <a:latin typeface="Arial" panose="020B0604020202020204" pitchFamily="34" charset="0"/>
                <a:cs typeface="Arial" panose="020B0604020202020204" pitchFamily="34" charset="0"/>
              </a:rPr>
              <a:t>Forrás</a:t>
            </a:r>
            <a:r>
              <a:rPr lang="hu-HU" altLang="hu-H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: KT Titkárság</a:t>
            </a:r>
            <a:endParaRPr lang="hu-HU" sz="1200" dirty="0"/>
          </a:p>
        </p:txBody>
      </p:sp>
      <p:sp>
        <p:nvSpPr>
          <p:cNvPr id="10" name="Text Box 30"/>
          <p:cNvSpPr txBox="1"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3975" y="235686"/>
            <a:ext cx="11698570" cy="42473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hu-HU" altLang="hu-HU" sz="2400" b="1" dirty="0" smtClean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agy jegybankok politikája továbbra is támogató lesz</a:t>
            </a:r>
            <a:endParaRPr lang="hu-HU" altLang="hu-HU" sz="2400" dirty="0">
              <a:solidFill>
                <a:srgbClr val="2540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ábláza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582103"/>
              </p:ext>
            </p:extLst>
          </p:nvPr>
        </p:nvGraphicFramePr>
        <p:xfrm>
          <a:off x="218974" y="738907"/>
          <a:ext cx="11769831" cy="55809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81774"/>
                <a:gridCol w="4953325"/>
                <a:gridCol w="4734732"/>
              </a:tblGrid>
              <a:tr h="455083">
                <a:tc>
                  <a:txBody>
                    <a:bodyPr/>
                    <a:lstStyle/>
                    <a:p>
                      <a:pPr algn="l" fontAlgn="b"/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2000" b="1" u="sng" strike="noStrike" dirty="0">
                          <a:solidFill>
                            <a:srgbClr val="002060"/>
                          </a:solidFill>
                          <a:effectLst/>
                        </a:rPr>
                        <a:t>USA</a:t>
                      </a:r>
                      <a:endParaRPr lang="hu-HU" sz="2000" b="1" i="0" u="sng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800" b="1" u="sng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rózóna</a:t>
                      </a:r>
                      <a:endParaRPr lang="hu-HU" sz="1800" b="1" i="0" u="sng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281466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1" u="none" strike="noStrike" dirty="0">
                          <a:effectLst/>
                        </a:rPr>
                        <a:t>növekedés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egyensúly feletti, a szolgáltatások jól teljesítenek, </a:t>
                      </a: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erős </a:t>
                      </a:r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az ingatlanszektor, de az erős dollár </a:t>
                      </a:r>
                      <a:endParaRPr lang="hu-HU" sz="2000" b="1" u="none" strike="noStrike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algn="l" fontAlgn="b"/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miatt </a:t>
                      </a:r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gyengén teljesít az ipar</a:t>
                      </a:r>
                      <a:endParaRPr lang="hu-HU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gyensúly alatti , </a:t>
                      </a: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áadásul</a:t>
                      </a:r>
                      <a:r>
                        <a:rPr lang="hu-HU" sz="18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 </a:t>
                      </a:r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ajár eséséből és az euró leértékelődéséből származó egyszeri pozitív sokk lassan kikerül a rendszerből</a:t>
                      </a:r>
                      <a:endParaRPr lang="hu-H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281466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1" u="none" strike="noStrike" dirty="0">
                          <a:effectLst/>
                        </a:rPr>
                        <a:t>foglalkoztatottság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5,1%-ra, a hosszú távú átlagra süllyedt a munkanélküliség, emelkednek a bérek, </a:t>
                      </a: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a </a:t>
                      </a:r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költségoldali nyomás erősíti az inflációt</a:t>
                      </a:r>
                      <a:endParaRPr lang="hu-HU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ndszerűen csökken, de még mindig magas a növekedés, a magas szabad munkakínálat </a:t>
                      </a: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sszafogja </a:t>
                      </a:r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bérnövekedést</a:t>
                      </a:r>
                      <a:endParaRPr lang="hu-H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281466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1" u="none" strike="noStrike" dirty="0">
                          <a:effectLst/>
                        </a:rPr>
                        <a:t>infláció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az infláció 0%, de ez csak az olajár-esés </a:t>
                      </a:r>
                      <a:endParaRPr lang="hu-HU" sz="2000" b="1" u="none" strike="noStrike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algn="l" fontAlgn="b"/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miatti </a:t>
                      </a:r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átmeneti üzemanyagár-csökkenésből fakad, </a:t>
                      </a: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az </a:t>
                      </a:r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elmúlt hónapok gyorsulást hoztak</a:t>
                      </a:r>
                      <a:endParaRPr lang="hu-HU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költségoldali nyomás hiányában alacsony </a:t>
                      </a: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z </a:t>
                      </a:r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láció, akár a teljes, akár az </a:t>
                      </a: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ajárak </a:t>
                      </a:r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iszűrésével számított mutatót nézzük</a:t>
                      </a:r>
                      <a:endParaRPr lang="hu-H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1281466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1" u="none" strike="noStrike" dirty="0">
                          <a:effectLst/>
                        </a:rPr>
                        <a:t>jegybanki politika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2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óvatos kamatemelési ciklus várható, </a:t>
                      </a: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a Fed várhatóan nagyon lassan halad majd </a:t>
                      </a:r>
                      <a:b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hu-HU" sz="2000" b="1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előre a kamatemeléssel</a:t>
                      </a:r>
                      <a:endParaRPr lang="hu-HU" sz="2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vábbi lazítás: az euró gyengülésének hiányában az EKB várhatóan 60-ról 80 mrd EUR-ra emeli </a:t>
                      </a:r>
                      <a:r>
                        <a:rPr lang="hu-H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</a:t>
                      </a:r>
                      <a:r>
                        <a:rPr lang="hu-H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vi pénznyomtatást</a:t>
                      </a:r>
                      <a:endParaRPr lang="hu-H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cxnSp>
        <p:nvCxnSpPr>
          <p:cNvPr id="17" name="Egyenes összekötő 16"/>
          <p:cNvCxnSpPr/>
          <p:nvPr/>
        </p:nvCxnSpPr>
        <p:spPr>
          <a:xfrm>
            <a:off x="92364" y="738909"/>
            <a:ext cx="11951857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253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6050" y="-63500"/>
            <a:ext cx="118999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 gazdaságpolitika külső sérülékenysége jelentős mértékben </a:t>
            </a: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ökkent</a:t>
            </a:r>
            <a:endParaRPr lang="hu-H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73024" y="1205707"/>
            <a:ext cx="12118975" cy="5270500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érülékenység csökkenését a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politikai intézkedések (fegyelmezett </a:t>
            </a: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ltségvetés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vizaadósság probléma rendezése, EU források gyors felhasználása) részben pedig a magánszektor alkalmazkodása (erőteljes mérleg alkalmazkodás, kedvező export-versenyképesség) miatt következett be. </a:t>
            </a:r>
            <a:endParaRPr lang="hu-H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nnek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vetkeztében az utóbbi időszak nagy jelentőségű világpolitikai eseményei </a:t>
            </a: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krán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ság, a ciprusi bankválság vagy a görög adósságmentő folyamat zökkenői) érezhetően kisebb sokkokat okoztak a hazai gazdaságban. </a:t>
            </a:r>
            <a:endParaRPr lang="hu-H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ív világgazdasági forgatókönyvek rövid távon érdemben megváltoztathatják ugyan a magyar gazdaság külső feltételrendszerét, de közép távon kezelhető helyzetekhez vezetnek, és nem térítik el a magyar fiskális politikát a trendszerű adósságcsökkentéstől. </a:t>
            </a:r>
            <a:endParaRPr lang="hu-H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g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álgazdasági integráltságunk az európai gazdaságba folyamatosan nő, addig külső sérülékenységünk trendszerűen csökken. </a:t>
            </a:r>
            <a:endParaRPr lang="hu-H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ország </a:t>
            </a:r>
            <a:r>
              <a:rPr lang="hu-H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minősítése újabb lépés lehet a pénzpiaci eredetű külső sokkokkal szembeni ellenállósság növelésére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4891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ktum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oShap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0800000">
            <a:off x="173895" y="1329266"/>
            <a:ext cx="11916913" cy="5240864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pPr eaLnBrk="1" hangingPunct="1">
              <a:defRPr/>
            </a:pPr>
            <a:endParaRPr lang="en-GB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98831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200" b="1" spc="-6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200" b="1" spc="-6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i növekedés idén magas, de 2016-ban a kormány és a piaci </a:t>
            </a:r>
            <a:r>
              <a:rPr lang="hu-HU" sz="2200" b="1" spc="-6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rejelzők is a hazai növekedés </a:t>
            </a:r>
            <a:r>
              <a:rPr lang="hu-HU" sz="2200" b="1" spc="-6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sulásával számolnak. A folyamatok ma lehetőséget kínálnak további szerkezeti reformokra. </a:t>
            </a:r>
            <a:endParaRPr lang="en-US" sz="2200" b="1" spc="-6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301" name="Szövegdoboz 6"/>
          <p:cNvSpPr txBox="1">
            <a:spLocks noChangeArrowheads="1"/>
          </p:cNvSpPr>
          <p:nvPr/>
        </p:nvSpPr>
        <p:spPr bwMode="auto">
          <a:xfrm>
            <a:off x="181833" y="6550025"/>
            <a:ext cx="52619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Forrás: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Focus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hu-HU" altLang="hu-HU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Economics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hu-HU" altLang="hu-HU" sz="1200" dirty="0" smtClean="0">
                <a:solidFill>
                  <a:srgbClr val="000000"/>
                </a:solidFill>
                <a:latin typeface="Arial" panose="020B0604020202020204" pitchFamily="34" charset="0"/>
              </a:rPr>
              <a:t>Költségvetési Tanács Titkársága, üzleti elemzők</a:t>
            </a:r>
            <a:endParaRPr lang="en-US" altLang="hu-HU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5303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8333" y="983006"/>
            <a:ext cx="7504112" cy="3079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-növekedés, </a:t>
            </a:r>
            <a:r>
              <a:rPr lang="hu-HU" altLang="hu-HU" sz="14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sz="14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s</a:t>
            </a:r>
            <a:r>
              <a:rPr lang="hu-HU" altLang="hu-H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lmérés </a:t>
            </a:r>
            <a:r>
              <a:rPr lang="hu-HU" altLang="hu-H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%)</a:t>
            </a:r>
          </a:p>
        </p:txBody>
      </p:sp>
      <p:sp>
        <p:nvSpPr>
          <p:cNvPr id="15" name="Dia számának helye 14"/>
          <p:cNvSpPr>
            <a:spLocks noGrp="1"/>
          </p:cNvSpPr>
          <p:nvPr>
            <p:ph type="sldNum" sz="quarter" idx="12"/>
          </p:nvPr>
        </p:nvSpPr>
        <p:spPr>
          <a:xfrm>
            <a:off x="8729307" y="6517241"/>
            <a:ext cx="2743200" cy="365125"/>
          </a:xfrm>
        </p:spPr>
        <p:txBody>
          <a:bodyPr/>
          <a:lstStyle/>
          <a:p>
            <a:fld id="{334D2023-4384-4D50-92F6-E5B72C3E344B}" type="slidenum">
              <a:rPr lang="hu-HU" smtClean="0"/>
              <a:pPr/>
              <a:t>6</a:t>
            </a:fld>
            <a:endParaRPr lang="hu-HU"/>
          </a:p>
        </p:txBody>
      </p:sp>
      <p:cxnSp>
        <p:nvCxnSpPr>
          <p:cNvPr id="21" name="Egyenes összekötő 20"/>
          <p:cNvCxnSpPr/>
          <p:nvPr/>
        </p:nvCxnSpPr>
        <p:spPr>
          <a:xfrm>
            <a:off x="99283" y="963956"/>
            <a:ext cx="11782698" cy="0"/>
          </a:xfrm>
          <a:prstGeom prst="line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</p:cxnSp>
      <p:graphicFrame>
        <p:nvGraphicFramePr>
          <p:cNvPr id="24" name="Diagram 23"/>
          <p:cNvGraphicFramePr>
            <a:graphicFrameLocks noGrp="1"/>
          </p:cNvGraphicFramePr>
          <p:nvPr>
            <p:extLst/>
          </p:nvPr>
        </p:nvGraphicFramePr>
        <p:xfrm>
          <a:off x="266701" y="1409699"/>
          <a:ext cx="11753850" cy="5140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73969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2EC8C-9470-43EA-8919-60664C270462}" type="slidenum">
              <a:rPr lang="hu-HU" smtClean="0"/>
              <a:pPr/>
              <a:t>7</a:t>
            </a:fld>
            <a:endParaRPr lang="hu-HU" dirty="0"/>
          </a:p>
        </p:txBody>
      </p:sp>
      <p:sp>
        <p:nvSpPr>
          <p:cNvPr id="8" name="Rectangle 7"/>
          <p:cNvSpPr/>
          <p:nvPr/>
        </p:nvSpPr>
        <p:spPr>
          <a:xfrm>
            <a:off x="5604355" y="2789383"/>
            <a:ext cx="65114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sz="2000" b="1" spc="-150" dirty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 GDP növekedés vs. Periféria- és Visegrádi </a:t>
            </a:r>
            <a:r>
              <a:rPr lang="hu-HU" sz="2000" b="1" spc="-150" dirty="0" smtClean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szágok</a:t>
            </a:r>
            <a:endParaRPr lang="hu-HU" sz="2000" b="1" spc="-150" dirty="0">
              <a:solidFill>
                <a:srgbClr val="0024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0" y="6513251"/>
            <a:ext cx="10832535" cy="4669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6661" tIns="48331" rIns="96661" bIns="48331">
            <a:spAutoFit/>
          </a:bodyPr>
          <a:lstStyle/>
          <a:p>
            <a:pPr marL="361950" indent="-361950" defTabSz="965200">
              <a:buClr>
                <a:srgbClr val="FF0000"/>
              </a:buClr>
              <a:tabLst>
                <a:tab pos="0" algn="l"/>
              </a:tabLst>
            </a:pPr>
            <a:r>
              <a:rPr lang="hu-HU" sz="1200" i="1" dirty="0">
                <a:solidFill>
                  <a:srgbClr val="00245D"/>
                </a:solidFill>
                <a:ea typeface="Osaka" pitchFamily="1" charset="-128"/>
              </a:rPr>
              <a:t>Forrás</a:t>
            </a:r>
            <a:r>
              <a:rPr lang="en-US" sz="1200" i="1" dirty="0">
                <a:solidFill>
                  <a:srgbClr val="00245D"/>
                </a:solidFill>
                <a:ea typeface="Osaka" pitchFamily="1" charset="-128"/>
              </a:rPr>
              <a:t>:</a:t>
            </a:r>
            <a:r>
              <a:rPr lang="hu-HU" sz="1200" i="1" dirty="0">
                <a:solidFill>
                  <a:srgbClr val="00245D"/>
                </a:solidFill>
              </a:rPr>
              <a:t>  </a:t>
            </a:r>
            <a:r>
              <a:rPr lang="hu-HU" sz="1200" i="1" dirty="0" smtClean="0">
                <a:solidFill>
                  <a:srgbClr val="00245D"/>
                </a:solidFill>
              </a:rPr>
              <a:t>KSH, NGM, Európai Bizottság, Nemzeti Konvergencia Programok alapján Költségvetési Tanács (KT) Titkárság számítás</a:t>
            </a:r>
          </a:p>
          <a:p>
            <a:pPr marL="361950" indent="-361950" defTabSz="965200">
              <a:buClr>
                <a:srgbClr val="FF0000"/>
              </a:buClr>
              <a:tabLst>
                <a:tab pos="0" algn="l"/>
              </a:tabLst>
            </a:pPr>
            <a:endParaRPr lang="en-US" sz="1200" i="1" dirty="0">
              <a:solidFill>
                <a:srgbClr val="00245D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12003" y="2787116"/>
            <a:ext cx="39959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sz="2000" b="1" dirty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DP növekedés </a:t>
            </a:r>
            <a:r>
              <a:rPr lang="hu-HU" sz="2000" b="1" dirty="0" smtClean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kezete</a:t>
            </a:r>
            <a:endParaRPr lang="en-US" sz="2000" b="1" dirty="0">
              <a:solidFill>
                <a:srgbClr val="0024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42674" y="888015"/>
            <a:ext cx="12073126" cy="18149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36000" tIns="45235" rIns="36000" bIns="45235">
            <a:spAutoFit/>
          </a:bodyPr>
          <a:lstStyle/>
          <a:p>
            <a:pPr marL="144000" indent="-154807" defTabSz="810450" eaLnBrk="0" fontAlgn="base" hangingPunct="0"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 GDP a 2014-es 3.6%-os növekedés után az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. félévben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 % körül bővült, lassulás az év második felében, a jövő év 2 - </a:t>
            </a:r>
            <a:r>
              <a:rPr lang="hu-H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5 % körül 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000" indent="-154807" defTabSz="810450" eaLnBrk="0" fontAlgn="base" hangingPunct="0"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 beruházások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gyszeri hatása mellett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 fogyasztás bővülése is visszatért (javuló munkaerőpiac,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álbér-emelkedés)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000" indent="-154807" defTabSz="810450" eaLnBrk="0" fontAlgn="base" hangingPunct="0"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 vártnál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jobb nyugat-európai fellendülés és a gyengébb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URO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segíti az ipari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egrendeléseket,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így az exportot</a:t>
            </a:r>
          </a:p>
          <a:p>
            <a:pPr marL="144000" indent="-154807" defTabSz="810450" eaLnBrk="0" fontAlgn="base" hangingPunct="0"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állam jelentős szereplő marad: korábbi beruházások helyett vissza- és részesedésvásárlások (pl. energia szektor és bankok)</a:t>
            </a:r>
          </a:p>
          <a:p>
            <a:pPr marL="144000" indent="-154807" defTabSz="810450" eaLnBrk="0" fontAlgn="base" hangingPunct="0"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lacsony inflációs környezet további kamatcsökkentést és tartósan laza monetáris feltételeket tesz lehetővé</a:t>
            </a:r>
          </a:p>
          <a:p>
            <a:pPr marL="144000" indent="-154807" defTabSz="810450" eaLnBrk="0" fontAlgn="base" hangingPunct="0">
              <a:spcAft>
                <a:spcPct val="0"/>
              </a:spcAft>
              <a:buClr>
                <a:srgbClr val="FF0000"/>
              </a:buClr>
              <a:buFont typeface="Arial" pitchFamily="34" charset="0"/>
              <a:buChar char="■"/>
            </a:pP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z éves várható magyarországi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növekedés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lamivel a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régiós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átlag alatt, 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de messze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z EU-átlag felet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5" name="Cím 1"/>
          <p:cNvSpPr>
            <a:spLocks noGrp="1"/>
          </p:cNvSpPr>
          <p:nvPr>
            <p:ph type="title"/>
          </p:nvPr>
        </p:nvSpPr>
        <p:spPr>
          <a:xfrm>
            <a:off x="1837792" y="38708"/>
            <a:ext cx="8229232" cy="855624"/>
          </a:xfrm>
          <a:noFill/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 GDP-növekedés Európa élmezőnyében</a:t>
            </a:r>
            <a:r>
              <a:rPr 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Szélesebb bázisú 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növekedé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Diagra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6131137"/>
              </p:ext>
            </p:extLst>
          </p:nvPr>
        </p:nvGraphicFramePr>
        <p:xfrm>
          <a:off x="5408142" y="3171779"/>
          <a:ext cx="6707658" cy="301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Diagram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1168581"/>
              </p:ext>
            </p:extLst>
          </p:nvPr>
        </p:nvGraphicFramePr>
        <p:xfrm>
          <a:off x="118874" y="3187225"/>
          <a:ext cx="5135514" cy="3063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Lekerekített téglalap 1"/>
          <p:cNvSpPr/>
          <p:nvPr/>
        </p:nvSpPr>
        <p:spPr>
          <a:xfrm>
            <a:off x="8610600" y="3187226"/>
            <a:ext cx="1939119" cy="2940619"/>
          </a:xfrm>
          <a:prstGeom prst="roundRect">
            <a:avLst/>
          </a:prstGeom>
          <a:solidFill>
            <a:srgbClr val="92D050">
              <a:alpha val="4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hu-HU" dirty="0" smtClean="0">
                <a:solidFill>
                  <a:schemeClr val="tx1"/>
                </a:solidFill>
              </a:rPr>
              <a:t>Előrejelzés</a:t>
            </a:r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601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02742" y="1"/>
            <a:ext cx="5876818" cy="647271"/>
          </a:xfrm>
        </p:spPr>
        <p:txBody>
          <a:bodyPr>
            <a:normAutofit/>
          </a:bodyPr>
          <a:lstStyle/>
          <a:p>
            <a:r>
              <a:rPr lang="hu-H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fláció és államadósság</a:t>
            </a:r>
            <a:endParaRPr lang="hu-H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102742" y="667819"/>
            <a:ext cx="5804898" cy="945223"/>
          </a:xfrm>
        </p:spPr>
        <p:txBody>
          <a:bodyPr>
            <a:normAutofit fontScale="85000" lnSpcReduction="10000"/>
          </a:bodyPr>
          <a:lstStyle/>
          <a:p>
            <a:pPr algn="ctr"/>
            <a:r>
              <a:rPr lang="hu-HU" dirty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Az </a:t>
            </a:r>
            <a:r>
              <a:rPr lang="hu-HU" dirty="0" smtClean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infláció várhatóan </a:t>
            </a:r>
            <a:r>
              <a:rPr lang="hu-HU" dirty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továbbra is alacsony marad a közép-kelet-európai országokban, elsősorban az olajár csökkenése miatt</a:t>
            </a:r>
            <a:endParaRPr lang="hu-HU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224855" y="235315"/>
            <a:ext cx="5682893" cy="1295533"/>
          </a:xfrm>
        </p:spPr>
        <p:txBody>
          <a:bodyPr>
            <a:normAutofit fontScale="92500" lnSpcReduction="20000"/>
          </a:bodyPr>
          <a:lstStyle/>
          <a:p>
            <a:pPr algn="ctr" defTabSz="900113"/>
            <a:r>
              <a:rPr lang="hu-HU" sz="2200" dirty="0" smtClean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Magyarország: a bruttó államadósság csökkenése és annak olcsóbbá váló finanszírozása következtében a kamatkiadások egyre kisebb terhet jelentenek, nő a fiskális mozgástér </a:t>
            </a:r>
            <a:endParaRPr lang="hu-HU" sz="2200" dirty="0">
              <a:solidFill>
                <a:srgbClr val="00006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681272" y="6471824"/>
            <a:ext cx="2743200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8</a:t>
            </a:fld>
            <a:endParaRPr lang="hu-HU"/>
          </a:p>
        </p:txBody>
      </p:sp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2196047"/>
              </p:ext>
            </p:extLst>
          </p:nvPr>
        </p:nvGraphicFramePr>
        <p:xfrm>
          <a:off x="102742" y="1613042"/>
          <a:ext cx="5804897" cy="4883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Szövegdoboz 3"/>
          <p:cNvSpPr txBox="1"/>
          <p:nvPr/>
        </p:nvSpPr>
        <p:spPr>
          <a:xfrm>
            <a:off x="2428477" y="2261386"/>
            <a:ext cx="19661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hu-HU" sz="1200" dirty="0" smtClean="0">
                <a:solidFill>
                  <a:srgbClr val="FF0000"/>
                </a:solidFill>
              </a:rPr>
              <a:t>Magyarország 2015-ös költségvetésénél </a:t>
            </a:r>
          </a:p>
          <a:p>
            <a:r>
              <a:rPr lang="hu-HU" sz="1200" dirty="0" smtClean="0">
                <a:solidFill>
                  <a:srgbClr val="FF0000"/>
                </a:solidFill>
              </a:rPr>
              <a:t>figyelembe vett </a:t>
            </a:r>
          </a:p>
          <a:p>
            <a:r>
              <a:rPr lang="hu-HU" sz="1200" dirty="0" smtClean="0">
                <a:solidFill>
                  <a:srgbClr val="FF0000"/>
                </a:solidFill>
              </a:rPr>
              <a:t>mérték: 1,8%</a:t>
            </a:r>
            <a:endParaRPr lang="hu-HU" sz="1200" dirty="0">
              <a:solidFill>
                <a:srgbClr val="FF0000"/>
              </a:solidFill>
            </a:endParaRPr>
          </a:p>
        </p:txBody>
      </p:sp>
      <p:sp>
        <p:nvSpPr>
          <p:cNvPr id="11" name="Folyamatábra: Bekötés 10"/>
          <p:cNvSpPr/>
          <p:nvPr/>
        </p:nvSpPr>
        <p:spPr>
          <a:xfrm>
            <a:off x="3615980" y="3833171"/>
            <a:ext cx="174773" cy="250751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hu-HU"/>
          </a:p>
        </p:txBody>
      </p:sp>
      <p:cxnSp>
        <p:nvCxnSpPr>
          <p:cNvPr id="12" name="Egyenes összekötő nyíllal 11"/>
          <p:cNvCxnSpPr/>
          <p:nvPr/>
        </p:nvCxnSpPr>
        <p:spPr>
          <a:xfrm>
            <a:off x="3703367" y="2866030"/>
            <a:ext cx="1" cy="967141"/>
          </a:xfrm>
          <a:prstGeom prst="straightConnector1">
            <a:avLst/>
          </a:prstGeom>
          <a:ln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0" y="6513251"/>
            <a:ext cx="10832535" cy="2822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6661" tIns="48331" rIns="96661" bIns="48331">
            <a:spAutoFit/>
          </a:bodyPr>
          <a:lstStyle/>
          <a:p>
            <a:pPr marL="361950" indent="-361950" defTabSz="965200">
              <a:buClr>
                <a:srgbClr val="FF0000"/>
              </a:buClr>
              <a:tabLst>
                <a:tab pos="0" algn="l"/>
              </a:tabLst>
            </a:pPr>
            <a:r>
              <a:rPr lang="hu-HU" sz="1200" i="1" dirty="0">
                <a:solidFill>
                  <a:srgbClr val="00245D"/>
                </a:solidFill>
                <a:ea typeface="Osaka" pitchFamily="1" charset="-128"/>
              </a:rPr>
              <a:t>Forrás</a:t>
            </a:r>
            <a:r>
              <a:rPr lang="en-US" sz="1200" i="1" dirty="0">
                <a:solidFill>
                  <a:srgbClr val="00245D"/>
                </a:solidFill>
                <a:ea typeface="Osaka" pitchFamily="1" charset="-128"/>
              </a:rPr>
              <a:t>:</a:t>
            </a:r>
            <a:r>
              <a:rPr lang="hu-HU" sz="1200" i="1" dirty="0">
                <a:solidFill>
                  <a:srgbClr val="00245D"/>
                </a:solidFill>
              </a:rPr>
              <a:t>  </a:t>
            </a:r>
            <a:r>
              <a:rPr lang="hu-HU" sz="1200" i="1" dirty="0" smtClean="0">
                <a:solidFill>
                  <a:srgbClr val="00245D"/>
                </a:solidFill>
              </a:rPr>
              <a:t>Világbank</a:t>
            </a:r>
            <a:r>
              <a:rPr lang="hu-HU" sz="1200" i="1" dirty="0">
                <a:solidFill>
                  <a:srgbClr val="00245D"/>
                </a:solidFill>
              </a:rPr>
              <a:t>, Európai </a:t>
            </a:r>
            <a:r>
              <a:rPr lang="hu-HU" sz="1200" i="1" dirty="0" smtClean="0">
                <a:solidFill>
                  <a:srgbClr val="00245D"/>
                </a:solidFill>
              </a:rPr>
              <a:t>Bizottság, KSH, NGM, Nemzeti Konvergencia Programok alapján KT Titkárság számítás</a:t>
            </a:r>
          </a:p>
        </p:txBody>
      </p:sp>
      <p:graphicFrame>
        <p:nvGraphicFramePr>
          <p:cNvPr id="14" name="Diagra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1500949"/>
              </p:ext>
            </p:extLst>
          </p:nvPr>
        </p:nvGraphicFramePr>
        <p:xfrm>
          <a:off x="6224855" y="1633817"/>
          <a:ext cx="5791554" cy="4879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86315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143838" y="722930"/>
            <a:ext cx="5838414" cy="696599"/>
          </a:xfrm>
        </p:spPr>
        <p:txBody>
          <a:bodyPr>
            <a:normAutofit fontScale="70000" lnSpcReduction="20000"/>
          </a:bodyPr>
          <a:lstStyle/>
          <a:p>
            <a:pPr algn="ctr"/>
            <a:r>
              <a:rPr lang="hu-HU" dirty="0">
                <a:solidFill>
                  <a:srgbClr val="000064"/>
                </a:solidFill>
                <a:latin typeface="Arial" pitchFamily="34" charset="0"/>
                <a:cs typeface="Arial" pitchFamily="34" charset="0"/>
              </a:rPr>
              <a:t>Az Európai Bizottság szerint az államadósság aránya – Magyarországot kivéve – várhatóan minden közép-kelet-európai országban emelkedni fog 2015-ben</a:t>
            </a:r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11591694" y="6398346"/>
            <a:ext cx="417502" cy="365125"/>
          </a:xfrm>
        </p:spPr>
        <p:txBody>
          <a:bodyPr/>
          <a:lstStyle/>
          <a:p>
            <a:fld id="{A71CBA4C-5495-469B-96C4-162BC84B9C29}" type="slidenum">
              <a:rPr lang="hu-HU" smtClean="0"/>
              <a:t>9</a:t>
            </a:fld>
            <a:endParaRPr lang="hu-HU" dirty="0"/>
          </a:p>
        </p:txBody>
      </p:sp>
      <p:sp>
        <p:nvSpPr>
          <p:cNvPr id="9" name="Szövegdoboz 8"/>
          <p:cNvSpPr txBox="1"/>
          <p:nvPr/>
        </p:nvSpPr>
        <p:spPr>
          <a:xfrm>
            <a:off x="339047" y="6229037"/>
            <a:ext cx="118529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hu-HU" altLang="hu-HU" sz="1200" i="1" dirty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Európai </a:t>
            </a:r>
            <a:r>
              <a:rPr lang="hu-HU" altLang="hu-HU" sz="1200" i="1" dirty="0" smtClean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ottság, Nemzeti Konvergencia Programok, </a:t>
            </a:r>
            <a:r>
              <a:rPr lang="hu-HU" altLang="hu-HU" sz="1200" i="1" dirty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gazdasági Minisztérium, </a:t>
            </a:r>
            <a:r>
              <a:rPr lang="hu-HU" sz="1200" i="1" dirty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adósságkezelő </a:t>
            </a:r>
            <a:r>
              <a:rPr lang="hu-HU" sz="1200" i="1" dirty="0" smtClean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pont </a:t>
            </a:r>
            <a:r>
              <a:rPr lang="hu-HU" altLang="hu-HU" sz="1200" i="1" dirty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pján KT </a:t>
            </a:r>
            <a:r>
              <a:rPr lang="hu-HU" altLang="hu-HU" sz="1200" i="1" dirty="0" smtClean="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kárság</a:t>
            </a:r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hu-HU" altLang="hu-HU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sz="12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ópai Bizottság 2015. tavaszi előrejelzés (megj.: a Bizottság viszonylag erős technikai EURHUF árfolyammal számolt előrejelzésében</a:t>
            </a:r>
            <a:r>
              <a:rPr lang="hu-HU" altLang="hu-HU" sz="12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hu-HU" sz="12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endParaRPr lang="hu-HU" sz="1200" i="1" dirty="0">
              <a:solidFill>
                <a:srgbClr val="00245D"/>
              </a:solidFill>
            </a:endParaRPr>
          </a:p>
        </p:txBody>
      </p:sp>
      <p:sp>
        <p:nvSpPr>
          <p:cNvPr id="10" name="Text Box 30"/>
          <p:cNvSpPr txBox="1"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43838" y="256207"/>
            <a:ext cx="5838414" cy="480131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hu-HU" altLang="hu-HU" sz="28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adósság </a:t>
            </a:r>
            <a:r>
              <a:rPr lang="hu-HU" altLang="hu-HU" sz="2800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 GDP %-ában</a:t>
            </a:r>
            <a:r>
              <a:rPr lang="hu-HU" altLang="hu-HU" sz="2800" dirty="0" smtClean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hu-HU" altLang="hu-HU" sz="2800" dirty="0">
              <a:solidFill>
                <a:srgbClr val="2540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Diagra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6521065"/>
              </p:ext>
            </p:extLst>
          </p:nvPr>
        </p:nvGraphicFramePr>
        <p:xfrm>
          <a:off x="143838" y="1445732"/>
          <a:ext cx="5630660" cy="4778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Lekerekített téglalap 13"/>
          <p:cNvSpPr/>
          <p:nvPr/>
        </p:nvSpPr>
        <p:spPr>
          <a:xfrm>
            <a:off x="3510297" y="1570110"/>
            <a:ext cx="2163993" cy="3465472"/>
          </a:xfrm>
          <a:prstGeom prst="roundRect">
            <a:avLst/>
          </a:prstGeom>
          <a:solidFill>
            <a:srgbClr val="92D050">
              <a:alpha val="4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u-HU" sz="2000" dirty="0" smtClean="0">
                <a:solidFill>
                  <a:schemeClr val="tx1"/>
                </a:solidFill>
              </a:rPr>
              <a:t>Előrejelzés</a:t>
            </a:r>
            <a:endParaRPr lang="hu-HU" sz="2000" dirty="0">
              <a:solidFill>
                <a:schemeClr val="tx1"/>
              </a:solidFill>
            </a:endParaRPr>
          </a:p>
        </p:txBody>
      </p:sp>
      <p:sp>
        <p:nvSpPr>
          <p:cNvPr id="2" name="Ellipszis 1"/>
          <p:cNvSpPr/>
          <p:nvPr/>
        </p:nvSpPr>
        <p:spPr>
          <a:xfrm>
            <a:off x="1512126" y="2191240"/>
            <a:ext cx="132359" cy="137786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Ellipszis 3"/>
          <p:cNvSpPr/>
          <p:nvPr/>
        </p:nvSpPr>
        <p:spPr>
          <a:xfrm>
            <a:off x="2200157" y="2924070"/>
            <a:ext cx="134112" cy="168254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Ellipszis 5"/>
          <p:cNvSpPr/>
          <p:nvPr/>
        </p:nvSpPr>
        <p:spPr>
          <a:xfrm>
            <a:off x="1170432" y="3428546"/>
            <a:ext cx="121920" cy="10828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Ellipszis 7"/>
          <p:cNvSpPr/>
          <p:nvPr/>
        </p:nvSpPr>
        <p:spPr>
          <a:xfrm>
            <a:off x="1501526" y="2793523"/>
            <a:ext cx="116119" cy="10777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Ellipszis 10"/>
          <p:cNvSpPr/>
          <p:nvPr/>
        </p:nvSpPr>
        <p:spPr>
          <a:xfrm>
            <a:off x="1387279" y="3619075"/>
            <a:ext cx="108745" cy="11077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aphicFrame>
        <p:nvGraphicFramePr>
          <p:cNvPr id="16" name="Diagram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1388680"/>
              </p:ext>
            </p:extLst>
          </p:nvPr>
        </p:nvGraphicFramePr>
        <p:xfrm>
          <a:off x="5969707" y="1419529"/>
          <a:ext cx="6039489" cy="4804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Szövegdoboz 14"/>
          <p:cNvSpPr txBox="1"/>
          <p:nvPr/>
        </p:nvSpPr>
        <p:spPr>
          <a:xfrm>
            <a:off x="5962389" y="207987"/>
            <a:ext cx="6046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agyar államadósság nominális </a:t>
            </a:r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kulása </a:t>
            </a:r>
            <a:r>
              <a:rPr lang="hu-H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rd Ft)</a:t>
            </a:r>
            <a:endParaRPr lang="hu-HU" sz="2800" dirty="0"/>
          </a:p>
        </p:txBody>
      </p:sp>
    </p:spTree>
    <p:extLst>
      <p:ext uri="{BB962C8B-B14F-4D97-AF65-F5344CB8AC3E}">
        <p14:creationId xmlns:p14="http://schemas.microsoft.com/office/powerpoint/2010/main" val="264102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9pGpUOukWfiTAbScLu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9pGpUOukWfiTAbScLu4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9pGpUOukWfiTAbScLu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L6VesAl06OGK7u2Yn6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L6VesAl06OGK7u2Yn6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65</TotalTime>
  <Words>3383</Words>
  <Application>Microsoft Office PowerPoint</Application>
  <PresentationFormat>Szélesvásznú</PresentationFormat>
  <Paragraphs>516</Paragraphs>
  <Slides>34</Slides>
  <Notes>25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9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4</vt:i4>
      </vt:variant>
    </vt:vector>
  </HeadingPairs>
  <TitlesOfParts>
    <vt:vector size="45" baseType="lpstr">
      <vt:lpstr>Arial</vt:lpstr>
      <vt:lpstr>Arial Narrow</vt:lpstr>
      <vt:lpstr>Calibri</vt:lpstr>
      <vt:lpstr>Calibri Light</vt:lpstr>
      <vt:lpstr>Osaka</vt:lpstr>
      <vt:lpstr>Symbol</vt:lpstr>
      <vt:lpstr>Times New Roman</vt:lpstr>
      <vt:lpstr>Verdana</vt:lpstr>
      <vt:lpstr>Wingdings</vt:lpstr>
      <vt:lpstr>Office-téma</vt:lpstr>
      <vt:lpstr>think-cell Slide</vt:lpstr>
      <vt:lpstr>VÁRAKOZÁSOK 2015 KÉSŐ ŐSZÉN      2015. NOVEMBER    </vt:lpstr>
      <vt:lpstr>Az előadás témái</vt:lpstr>
      <vt:lpstr>Az USA GDP-je 2,5% felett növekedhet 2016-ban, az eurózóna növekedése 1,5% lehet, a külső környezet tehát alapvetően rendben van  </vt:lpstr>
      <vt:lpstr>A nagy jegybankok politikája továbbra is támogató lesz</vt:lpstr>
      <vt:lpstr>A magyar gazdaságpolitika külső sérülékenysége jelentős mértékben csökkent</vt:lpstr>
      <vt:lpstr>A hazai növekedés idén magas, de 2016-ban a kormány és a piaci előrejelzők is a hazai növekedés lassulásával számolnak. A folyamatok ma lehetőséget kínálnak további szerkezeti reformokra. </vt:lpstr>
      <vt:lpstr>Magyar GDP-növekedés Európa élmezőnyében Szélesebb bázisú növekedés</vt:lpstr>
      <vt:lpstr>Infláció és államadósság</vt:lpstr>
      <vt:lpstr>Államadósság (a GDP %-ában)</vt:lpstr>
      <vt:lpstr>A hazai növekedés idén magas, de 2016-ban a kormány és a piaci előrejelzők is a hazai növekedés lassulásával számolnak. A folyamatok ma lehetőséget kínálnak további szerkezeti reformokra. </vt:lpstr>
      <vt:lpstr>Idén és tavaly jelentős pozitív egyszeri tételek húzták a növekedést, azonban 2016-ban a negatív tényezők dominálhatnak </vt:lpstr>
      <vt:lpstr>Mivel a költségvetési szigorítás nem folytatódott, a fogyasztás közel 3%-kal nőtt, és a dinamika kevéssel e szint alatt stabilizálódhat</vt:lpstr>
      <vt:lpstr>Bruttó államadósság a DGP százalékában</vt:lpstr>
      <vt:lpstr>A kormányzás, valamint az államadósság alakulása a GDP %-ában</vt:lpstr>
      <vt:lpstr>PowerPoint bemutató</vt:lpstr>
      <vt:lpstr>A költségvetések szempontjából előnyös, hogy az állampapír hozamok alacsony szintre csökkentek, 2016-ban alacsonyan maradhatnak a hosszú hozamok</vt:lpstr>
      <vt:lpstr>Kedvező fejlemény az is, hogy a felárak az elmúlt évekhez képest csökkentek vagy alacsonyak maradtak</vt:lpstr>
      <vt:lpstr> A strukturális tényezők mellett  ország-specifikus események és a gazdaságpolitika is befolyásolja az egyes országok relatív megítélését </vt:lpstr>
      <vt:lpstr>Állampapír hozamok (%)</vt:lpstr>
      <vt:lpstr>Államháztartás bevételei 2015. I-IX.</vt:lpstr>
      <vt:lpstr>PowerPoint bemutató</vt:lpstr>
      <vt:lpstr>A költségvetési egyensúllyal kapcsolatos társadalmi várakozások nem teszik könnyebbé a finanszírozás pozícióit </vt:lpstr>
      <vt:lpstr>A GDP-arányos államháztartási bevételek és kiadások a Visegrádi országokban (2014) és az OECD-átlag (2013), (a GDP %-ában).</vt:lpstr>
      <vt:lpstr>A főbb államháztartási kiadások a teljes államháztartási kiadások arányában, (%-ban), az adósságszolgálatot is feltételezve a Visegrádi országokban és az OECD-átlag, (2013).</vt:lpstr>
      <vt:lpstr>PowerPoint bemutató</vt:lpstr>
      <vt:lpstr>PowerPoint bemutató</vt:lpstr>
      <vt:lpstr>A növekedés egyik fő pillérjét jelentő uniós forrásbeáramlás a 2007-2013-as ciklusból származó pénzek idei kifutása után jövőre lassulna. A kormányzat mindent megtesz annak érdekében, hogy gyorsítsa a kifizetéseket.</vt:lpstr>
      <vt:lpstr>PowerPoint bemutató</vt:lpstr>
      <vt:lpstr> A vállalati hitelezés megindulása hajtóerő lehet 2. </vt:lpstr>
      <vt:lpstr>A kkv-k számának alakulása 2011-2014 között havi bontásban</vt:lpstr>
      <vt:lpstr>2012  év elején pesszimista hangulat uralkodott. Szakértői várakozás volt, hogy a bizalomhiány miatt még javuló reálgazdasági eredmények mellett is nemcsak „újratermelődik” az adósság, hanem aránya is gyorsan növekszik, mert az alkalmazkodás elmarad: folyamatos a csődveszély, a stabilitás-hiány.  Trendforduló következett be, de az elkövetkező években sem lehet hátradőlni!</vt:lpstr>
      <vt:lpstr>Előretekintve: a GDP-arányos államadósság fenntartható csökkentéséhez elsősorban a növekedési képesség erősítésére van szükség. A felzárkózás egyetlen útja, ha magasabb hozzáadott értékekkel tudunk becsatlakozni a globális termelési láncba. </vt:lpstr>
      <vt:lpstr> A fejlődés hajtóerői, a megteendő fontosabb gyakorlati lépések </vt:lpstr>
      <vt:lpstr>PowerPoint bemutató</vt:lpstr>
    </vt:vector>
  </TitlesOfParts>
  <Company>Országgyűlés Hivatal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ÁRSADALMI HALADÁS, KÖZJÓ, INNOVATÍV GAZDASÁGFEJLESZTÉS</dc:title>
  <dc:creator>gergicst</dc:creator>
  <cp:lastModifiedBy>Vargha Ildikó</cp:lastModifiedBy>
  <cp:revision>357</cp:revision>
  <cp:lastPrinted>2015-08-11T08:20:53Z</cp:lastPrinted>
  <dcterms:created xsi:type="dcterms:W3CDTF">2015-01-19T10:15:02Z</dcterms:created>
  <dcterms:modified xsi:type="dcterms:W3CDTF">2016-02-10T16:24:41Z</dcterms:modified>
</cp:coreProperties>
</file>